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Lst>
  <p:notesMasterIdLst>
    <p:notesMasterId r:id="rId51"/>
  </p:notesMasterIdLst>
  <p:sldIdLst>
    <p:sldId id="335" r:id="rId3"/>
    <p:sldId id="2147376943" r:id="rId4"/>
    <p:sldId id="2147376945" r:id="rId5"/>
    <p:sldId id="336" r:id="rId6"/>
    <p:sldId id="456" r:id="rId7"/>
    <p:sldId id="457" r:id="rId8"/>
    <p:sldId id="458" r:id="rId9"/>
    <p:sldId id="469" r:id="rId10"/>
    <p:sldId id="465" r:id="rId11"/>
    <p:sldId id="459" r:id="rId12"/>
    <p:sldId id="460" r:id="rId13"/>
    <p:sldId id="461" r:id="rId14"/>
    <p:sldId id="479" r:id="rId15"/>
    <p:sldId id="462" r:id="rId16"/>
    <p:sldId id="403" r:id="rId17"/>
    <p:sldId id="463" r:id="rId18"/>
    <p:sldId id="464" r:id="rId19"/>
    <p:sldId id="466" r:id="rId20"/>
    <p:sldId id="400" r:id="rId21"/>
    <p:sldId id="379" r:id="rId22"/>
    <p:sldId id="394" r:id="rId23"/>
    <p:sldId id="473" r:id="rId24"/>
    <p:sldId id="381" r:id="rId25"/>
    <p:sldId id="395" r:id="rId26"/>
    <p:sldId id="475" r:id="rId27"/>
    <p:sldId id="474" r:id="rId28"/>
    <p:sldId id="396" r:id="rId29"/>
    <p:sldId id="398" r:id="rId30"/>
    <p:sldId id="401" r:id="rId31"/>
    <p:sldId id="481" r:id="rId32"/>
    <p:sldId id="446" r:id="rId33"/>
    <p:sldId id="405" r:id="rId34"/>
    <p:sldId id="406" r:id="rId35"/>
    <p:sldId id="407" r:id="rId36"/>
    <p:sldId id="472" r:id="rId37"/>
    <p:sldId id="410" r:id="rId38"/>
    <p:sldId id="408" r:id="rId39"/>
    <p:sldId id="478" r:id="rId40"/>
    <p:sldId id="409" r:id="rId41"/>
    <p:sldId id="411" r:id="rId42"/>
    <p:sldId id="412" r:id="rId43"/>
    <p:sldId id="418" r:id="rId44"/>
    <p:sldId id="413" r:id="rId45"/>
    <p:sldId id="414" r:id="rId46"/>
    <p:sldId id="419" r:id="rId47"/>
    <p:sldId id="259" r:id="rId48"/>
    <p:sldId id="261" r:id="rId49"/>
    <p:sldId id="467" r:id="rId50"/>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ción predeterminada" id="{058D3148-464A-4A31-B2A9-B7CC9006337E}">
          <p14:sldIdLst>
            <p14:sldId id="335"/>
            <p14:sldId id="2147376943"/>
            <p14:sldId id="2147376945"/>
            <p14:sldId id="336"/>
            <p14:sldId id="456"/>
            <p14:sldId id="457"/>
            <p14:sldId id="458"/>
            <p14:sldId id="469"/>
            <p14:sldId id="465"/>
            <p14:sldId id="459"/>
            <p14:sldId id="460"/>
            <p14:sldId id="461"/>
            <p14:sldId id="479"/>
            <p14:sldId id="462"/>
            <p14:sldId id="403"/>
            <p14:sldId id="463"/>
            <p14:sldId id="464"/>
            <p14:sldId id="466"/>
            <p14:sldId id="400"/>
            <p14:sldId id="379"/>
            <p14:sldId id="394"/>
            <p14:sldId id="473"/>
            <p14:sldId id="381"/>
            <p14:sldId id="395"/>
            <p14:sldId id="475"/>
            <p14:sldId id="474"/>
            <p14:sldId id="396"/>
            <p14:sldId id="398"/>
            <p14:sldId id="401"/>
            <p14:sldId id="481"/>
            <p14:sldId id="446"/>
            <p14:sldId id="405"/>
            <p14:sldId id="406"/>
            <p14:sldId id="407"/>
            <p14:sldId id="472"/>
            <p14:sldId id="410"/>
            <p14:sldId id="408"/>
            <p14:sldId id="478"/>
            <p14:sldId id="409"/>
            <p14:sldId id="411"/>
            <p14:sldId id="412"/>
            <p14:sldId id="418"/>
            <p14:sldId id="413"/>
            <p14:sldId id="414"/>
            <p14:sldId id="419"/>
            <p14:sldId id="259"/>
            <p14:sldId id="261"/>
            <p14:sldId id="467"/>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A60CA8B-7368-FE31-B099-84936CBAABCC}" name="Paula Anglada Ribé" initials="PAR" userId="S::panglada@almirall.com::9bbe7ec5-1ff8-416c-920b-04c2bda2ee26" providerId="AD"/>
  <p188:author id="{106EA7E6-A61C-C66B-E2D2-8E4CCED44921}" name="Sonia Palenzuela Larrarte" initials="SPL" userId="S::spalenzuela@almirall.com::5ee5d680-5efb-451b-ace2-83a55dba345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CDD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C0C93A-151D-491C-820A-A0149EA65AE2}" v="1" dt="2026-01-08T10:51:23.697"/>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017" autoAdjust="0"/>
    <p:restoredTop sz="96283" autoAdjust="0"/>
  </p:normalViewPr>
  <p:slideViewPr>
    <p:cSldViewPr snapToGrid="0">
      <p:cViewPr varScale="1">
        <p:scale>
          <a:sx n="153" d="100"/>
          <a:sy n="153" d="100"/>
        </p:scale>
        <p:origin x="852" y="144"/>
      </p:cViewPr>
      <p:guideLst/>
    </p:cSldViewPr>
  </p:slideViewPr>
  <p:notesTextViewPr>
    <p:cViewPr>
      <p:scale>
        <a:sx n="150" d="100"/>
        <a:sy n="150" d="100"/>
      </p:scale>
      <p:origin x="0" y="0"/>
    </p:cViewPr>
  </p:notesTextViewPr>
  <p:sorterViewPr>
    <p:cViewPr>
      <p:scale>
        <a:sx n="100" d="100"/>
        <a:sy n="100" d="100"/>
      </p:scale>
      <p:origin x="0" y="-9306"/>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viewProps" Target="viewProps.xml"/><Relationship Id="rId58" Type="http://schemas.microsoft.com/office/2018/10/relationships/authors" Target="authors.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microsoft.com/office/2016/11/relationships/changesInfo" Target="changesInfos/changesInfo1.xml"/><Relationship Id="rId8" Type="http://schemas.openxmlformats.org/officeDocument/2006/relationships/slide" Target="slides/slide6.xml"/><Relationship Id="rId51" Type="http://schemas.openxmlformats.org/officeDocument/2006/relationships/notesMaster" Target="notesMasters/notesMaster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microsoft.com/office/2015/10/relationships/revisionInfo" Target="revisionInfo.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va Parisi Tria" userId="79b09202-394d-4e2d-bcbc-186dc936d36f" providerId="ADAL" clId="{1EF2A93B-595E-4E39-AAA2-55AE1E6911AA}"/>
    <pc:docChg chg="addSld modSld">
      <pc:chgData name="Eva Parisi Tria" userId="79b09202-394d-4e2d-bcbc-186dc936d36f" providerId="ADAL" clId="{1EF2A93B-595E-4E39-AAA2-55AE1E6911AA}" dt="2026-01-08T10:51:23.688" v="0"/>
      <pc:docMkLst>
        <pc:docMk/>
      </pc:docMkLst>
      <pc:sldChg chg="add">
        <pc:chgData name="Eva Parisi Tria" userId="79b09202-394d-4e2d-bcbc-186dc936d36f" providerId="ADAL" clId="{1EF2A93B-595E-4E39-AAA2-55AE1E6911AA}" dt="2026-01-08T10:51:23.688" v="0"/>
        <pc:sldMkLst>
          <pc:docMk/>
          <pc:sldMk cId="3149729878" sldId="259"/>
        </pc:sldMkLst>
      </pc:sldChg>
      <pc:sldChg chg="add">
        <pc:chgData name="Eva Parisi Tria" userId="79b09202-394d-4e2d-bcbc-186dc936d36f" providerId="ADAL" clId="{1EF2A93B-595E-4E39-AAA2-55AE1E6911AA}" dt="2026-01-08T10:51:23.688" v="0"/>
        <pc:sldMkLst>
          <pc:docMk/>
          <pc:sldMk cId="2980358209" sldId="261"/>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9D9A4B1-102C-4B67-AD78-72974350B50C}" type="doc">
      <dgm:prSet loTypeId="urn:microsoft.com/office/officeart/2005/8/layout/vProcess5" loCatId="process" qsTypeId="urn:microsoft.com/office/officeart/2005/8/quickstyle/simple4" qsCatId="simple" csTypeId="urn:microsoft.com/office/officeart/2005/8/colors/accent3_2" csCatId="accent3" phldr="1"/>
      <dgm:spPr/>
      <dgm:t>
        <a:bodyPr/>
        <a:lstStyle/>
        <a:p>
          <a:endParaRPr lang="en-US"/>
        </a:p>
      </dgm:t>
    </dgm:pt>
    <dgm:pt modelId="{0EDE634A-5B5A-48C0-9134-09804E6BB0C1}">
      <dgm:prSet/>
      <dgm:spPr/>
      <dgm:t>
        <a:bodyPr/>
        <a:lstStyle/>
        <a:p>
          <a:r>
            <a:rPr lang="es-ES" dirty="0"/>
            <a:t>1. </a:t>
          </a:r>
          <a:r>
            <a:rPr lang="es-ES_tradnl" dirty="0"/>
            <a:t>Guías para el manejo de los síndromes coronarios crónicos</a:t>
          </a:r>
          <a:endParaRPr lang="en-US" dirty="0"/>
        </a:p>
      </dgm:t>
    </dgm:pt>
    <dgm:pt modelId="{943118AA-8F45-42BB-A321-A80912982EC1}" type="parTrans" cxnId="{F108CB58-6ECD-4758-9D83-1E33E15B47DA}">
      <dgm:prSet/>
      <dgm:spPr/>
      <dgm:t>
        <a:bodyPr/>
        <a:lstStyle/>
        <a:p>
          <a:endParaRPr lang="en-US"/>
        </a:p>
      </dgm:t>
    </dgm:pt>
    <dgm:pt modelId="{923093BC-0C2C-481A-AE57-03BA4C4A4D04}" type="sibTrans" cxnId="{F108CB58-6ECD-4758-9D83-1E33E15B47DA}">
      <dgm:prSet/>
      <dgm:spPr>
        <a:noFill/>
        <a:ln>
          <a:noFill/>
        </a:ln>
      </dgm:spPr>
      <dgm:t>
        <a:bodyPr/>
        <a:lstStyle/>
        <a:p>
          <a:endParaRPr lang="en-US"/>
        </a:p>
      </dgm:t>
    </dgm:pt>
    <dgm:pt modelId="{EBF2D2D5-B905-4446-818B-697E5C74DCC5}">
      <dgm:prSet/>
      <dgm:spPr>
        <a:solidFill>
          <a:schemeClr val="accent5"/>
        </a:solidFill>
      </dgm:spPr>
      <dgm:t>
        <a:bodyPr/>
        <a:lstStyle/>
        <a:p>
          <a:r>
            <a:rPr lang="es-ES" dirty="0"/>
            <a:t>2. </a:t>
          </a:r>
          <a:r>
            <a:rPr lang="es-ES_tradnl" dirty="0"/>
            <a:t>Guías para el manejo de la presión arterial elevada e hipertensión.</a:t>
          </a:r>
          <a:endParaRPr lang="en-US" dirty="0"/>
        </a:p>
      </dgm:t>
    </dgm:pt>
    <dgm:pt modelId="{89D42742-7947-4F41-8D58-687A6A0B158D}" type="parTrans" cxnId="{BC41BAAA-2D44-45B0-BFED-6DF352A72DD8}">
      <dgm:prSet/>
      <dgm:spPr/>
      <dgm:t>
        <a:bodyPr/>
        <a:lstStyle/>
        <a:p>
          <a:endParaRPr lang="en-US"/>
        </a:p>
      </dgm:t>
    </dgm:pt>
    <dgm:pt modelId="{32B5F668-5D80-4A9A-8C01-F2ADA13A1943}" type="sibTrans" cxnId="{BC41BAAA-2D44-45B0-BFED-6DF352A72DD8}">
      <dgm:prSet/>
      <dgm:spPr>
        <a:noFill/>
        <a:ln>
          <a:noFill/>
        </a:ln>
      </dgm:spPr>
      <dgm:t>
        <a:bodyPr/>
        <a:lstStyle/>
        <a:p>
          <a:endParaRPr lang="en-US"/>
        </a:p>
      </dgm:t>
    </dgm:pt>
    <dgm:pt modelId="{96B788F8-6996-4CAE-A6B2-8A3C3B8FCF2E}">
      <dgm:prSet/>
      <dgm:spPr/>
      <dgm:t>
        <a:bodyPr/>
        <a:lstStyle/>
        <a:p>
          <a:r>
            <a:rPr lang="es-ES" dirty="0"/>
            <a:t>3. </a:t>
          </a:r>
          <a:r>
            <a:rPr lang="es-ES_tradnl" dirty="0"/>
            <a:t>Guías para el manejo de la enfermedad arterial periférica y patología aórtica.</a:t>
          </a:r>
          <a:endParaRPr lang="en-US" dirty="0"/>
        </a:p>
      </dgm:t>
    </dgm:pt>
    <dgm:pt modelId="{1F035B33-AEBA-4899-8809-4DA16ECD9C1E}" type="parTrans" cxnId="{3DCC729F-A814-4893-848A-622E6E1F13AE}">
      <dgm:prSet/>
      <dgm:spPr/>
      <dgm:t>
        <a:bodyPr/>
        <a:lstStyle/>
        <a:p>
          <a:endParaRPr lang="en-US"/>
        </a:p>
      </dgm:t>
    </dgm:pt>
    <dgm:pt modelId="{FB8F96D1-0D54-4B9D-8064-A36F0F4B97F1}" type="sibTrans" cxnId="{3DCC729F-A814-4893-848A-622E6E1F13AE}">
      <dgm:prSet/>
      <dgm:spPr>
        <a:noFill/>
        <a:ln>
          <a:noFill/>
        </a:ln>
      </dgm:spPr>
      <dgm:t>
        <a:bodyPr/>
        <a:lstStyle/>
        <a:p>
          <a:endParaRPr lang="en-US"/>
        </a:p>
      </dgm:t>
    </dgm:pt>
    <dgm:pt modelId="{4A8D6F8C-1FC3-4231-B738-27E468C430A7}">
      <dgm:prSet/>
      <dgm:spPr>
        <a:solidFill>
          <a:schemeClr val="accent5"/>
        </a:solidFill>
      </dgm:spPr>
      <dgm:t>
        <a:bodyPr/>
        <a:lstStyle/>
        <a:p>
          <a:r>
            <a:rPr lang="es-ES"/>
            <a:t>4. </a:t>
          </a:r>
          <a:r>
            <a:rPr lang="es-ES_tradnl"/>
            <a:t>Tratamiento hipolipemiante.</a:t>
          </a:r>
          <a:endParaRPr lang="en-US"/>
        </a:p>
      </dgm:t>
    </dgm:pt>
    <dgm:pt modelId="{45C1B46E-31CB-4272-A0A7-502ABAD30242}" type="parTrans" cxnId="{61A6D7D6-7E56-40DD-81F6-1468FF4F169D}">
      <dgm:prSet/>
      <dgm:spPr/>
      <dgm:t>
        <a:bodyPr/>
        <a:lstStyle/>
        <a:p>
          <a:endParaRPr lang="en-US"/>
        </a:p>
      </dgm:t>
    </dgm:pt>
    <dgm:pt modelId="{50D7565A-9C5F-4F91-9FE9-CC5EB204349E}" type="sibTrans" cxnId="{61A6D7D6-7E56-40DD-81F6-1468FF4F169D}">
      <dgm:prSet/>
      <dgm:spPr>
        <a:noFill/>
        <a:ln>
          <a:noFill/>
        </a:ln>
      </dgm:spPr>
      <dgm:t>
        <a:bodyPr/>
        <a:lstStyle/>
        <a:p>
          <a:endParaRPr lang="en-US"/>
        </a:p>
      </dgm:t>
    </dgm:pt>
    <dgm:pt modelId="{5D0C694A-EB79-4CFC-BC32-D483879DAA8C}">
      <dgm:prSet/>
      <dgm:spPr/>
      <dgm:t>
        <a:bodyPr/>
        <a:lstStyle/>
        <a:p>
          <a:r>
            <a:rPr lang="es-ES_tradnl" dirty="0"/>
            <a:t>5</a:t>
          </a:r>
          <a:r>
            <a:rPr lang="es-ES_tradnl"/>
            <a:t>. Fármacos bloqueadores del </a:t>
          </a:r>
          <a:r>
            <a:rPr lang="es-ES_tradnl" dirty="0"/>
            <a:t>sistema renina-angiotensina-aldosterona.</a:t>
          </a:r>
          <a:endParaRPr lang="en-US" dirty="0"/>
        </a:p>
      </dgm:t>
    </dgm:pt>
    <dgm:pt modelId="{522C6118-7AB8-4CDF-8E86-98355B97948E}" type="parTrans" cxnId="{30FFA5AB-38A9-4E3F-A3A2-A7266F30987C}">
      <dgm:prSet/>
      <dgm:spPr/>
      <dgm:t>
        <a:bodyPr/>
        <a:lstStyle/>
        <a:p>
          <a:endParaRPr lang="en-US"/>
        </a:p>
      </dgm:t>
    </dgm:pt>
    <dgm:pt modelId="{7FE83C83-44D7-455A-95B1-FA8546293FB3}" type="sibTrans" cxnId="{30FFA5AB-38A9-4E3F-A3A2-A7266F30987C}">
      <dgm:prSet/>
      <dgm:spPr/>
      <dgm:t>
        <a:bodyPr/>
        <a:lstStyle/>
        <a:p>
          <a:endParaRPr lang="en-US"/>
        </a:p>
      </dgm:t>
    </dgm:pt>
    <dgm:pt modelId="{C5F2211C-C68B-4A75-AF56-868427EB8F71}" type="pres">
      <dgm:prSet presAssocID="{A9D9A4B1-102C-4B67-AD78-72974350B50C}" presName="outerComposite" presStyleCnt="0">
        <dgm:presLayoutVars>
          <dgm:chMax val="5"/>
          <dgm:dir/>
          <dgm:resizeHandles val="exact"/>
        </dgm:presLayoutVars>
      </dgm:prSet>
      <dgm:spPr/>
    </dgm:pt>
    <dgm:pt modelId="{50FBC995-668E-46A7-BBB5-F99DEB6D38B9}" type="pres">
      <dgm:prSet presAssocID="{A9D9A4B1-102C-4B67-AD78-72974350B50C}" presName="dummyMaxCanvas" presStyleCnt="0">
        <dgm:presLayoutVars/>
      </dgm:prSet>
      <dgm:spPr/>
    </dgm:pt>
    <dgm:pt modelId="{2746032D-6780-44BF-8742-F1C7B3782AE5}" type="pres">
      <dgm:prSet presAssocID="{A9D9A4B1-102C-4B67-AD78-72974350B50C}" presName="FiveNodes_1" presStyleLbl="node1" presStyleIdx="0" presStyleCnt="5">
        <dgm:presLayoutVars>
          <dgm:bulletEnabled val="1"/>
        </dgm:presLayoutVars>
      </dgm:prSet>
      <dgm:spPr/>
    </dgm:pt>
    <dgm:pt modelId="{69982C08-B225-46DC-B680-D8A7645AEE6A}" type="pres">
      <dgm:prSet presAssocID="{A9D9A4B1-102C-4B67-AD78-72974350B50C}" presName="FiveNodes_2" presStyleLbl="node1" presStyleIdx="1" presStyleCnt="5">
        <dgm:presLayoutVars>
          <dgm:bulletEnabled val="1"/>
        </dgm:presLayoutVars>
      </dgm:prSet>
      <dgm:spPr/>
    </dgm:pt>
    <dgm:pt modelId="{C7EB4B56-7AAD-4FE7-BE15-DC4810A74A41}" type="pres">
      <dgm:prSet presAssocID="{A9D9A4B1-102C-4B67-AD78-72974350B50C}" presName="FiveNodes_3" presStyleLbl="node1" presStyleIdx="2" presStyleCnt="5">
        <dgm:presLayoutVars>
          <dgm:bulletEnabled val="1"/>
        </dgm:presLayoutVars>
      </dgm:prSet>
      <dgm:spPr/>
    </dgm:pt>
    <dgm:pt modelId="{96D35FAE-9D2F-4C6A-9D70-8BD3DACC840E}" type="pres">
      <dgm:prSet presAssocID="{A9D9A4B1-102C-4B67-AD78-72974350B50C}" presName="FiveNodes_4" presStyleLbl="node1" presStyleIdx="3" presStyleCnt="5">
        <dgm:presLayoutVars>
          <dgm:bulletEnabled val="1"/>
        </dgm:presLayoutVars>
      </dgm:prSet>
      <dgm:spPr/>
    </dgm:pt>
    <dgm:pt modelId="{98BDEE3C-78E5-45AF-A47D-440A2DA1C1A7}" type="pres">
      <dgm:prSet presAssocID="{A9D9A4B1-102C-4B67-AD78-72974350B50C}" presName="FiveNodes_5" presStyleLbl="node1" presStyleIdx="4" presStyleCnt="5">
        <dgm:presLayoutVars>
          <dgm:bulletEnabled val="1"/>
        </dgm:presLayoutVars>
      </dgm:prSet>
      <dgm:spPr/>
    </dgm:pt>
    <dgm:pt modelId="{7D83D5D9-EAC9-4D55-968F-E18D0078F406}" type="pres">
      <dgm:prSet presAssocID="{A9D9A4B1-102C-4B67-AD78-72974350B50C}" presName="FiveConn_1-2" presStyleLbl="fgAccFollowNode1" presStyleIdx="0" presStyleCnt="4">
        <dgm:presLayoutVars>
          <dgm:bulletEnabled val="1"/>
        </dgm:presLayoutVars>
      </dgm:prSet>
      <dgm:spPr/>
    </dgm:pt>
    <dgm:pt modelId="{BE7DBB22-BE0A-4911-96C6-41574488A27F}" type="pres">
      <dgm:prSet presAssocID="{A9D9A4B1-102C-4B67-AD78-72974350B50C}" presName="FiveConn_2-3" presStyleLbl="fgAccFollowNode1" presStyleIdx="1" presStyleCnt="4" custLinFactNeighborY="43789">
        <dgm:presLayoutVars>
          <dgm:bulletEnabled val="1"/>
        </dgm:presLayoutVars>
      </dgm:prSet>
      <dgm:spPr/>
    </dgm:pt>
    <dgm:pt modelId="{14D38EFF-87AD-430F-AC6E-C0976B54FEF7}" type="pres">
      <dgm:prSet presAssocID="{A9D9A4B1-102C-4B67-AD78-72974350B50C}" presName="FiveConn_3-4" presStyleLbl="fgAccFollowNode1" presStyleIdx="2" presStyleCnt="4">
        <dgm:presLayoutVars>
          <dgm:bulletEnabled val="1"/>
        </dgm:presLayoutVars>
      </dgm:prSet>
      <dgm:spPr/>
    </dgm:pt>
    <dgm:pt modelId="{7AF59C03-E69F-40F5-8684-08A0759D6461}" type="pres">
      <dgm:prSet presAssocID="{A9D9A4B1-102C-4B67-AD78-72974350B50C}" presName="FiveConn_4-5" presStyleLbl="fgAccFollowNode1" presStyleIdx="3" presStyleCnt="4">
        <dgm:presLayoutVars>
          <dgm:bulletEnabled val="1"/>
        </dgm:presLayoutVars>
      </dgm:prSet>
      <dgm:spPr/>
    </dgm:pt>
    <dgm:pt modelId="{35607EC2-0C8D-46B6-85FB-836A7CDCB060}" type="pres">
      <dgm:prSet presAssocID="{A9D9A4B1-102C-4B67-AD78-72974350B50C}" presName="FiveNodes_1_text" presStyleLbl="node1" presStyleIdx="4" presStyleCnt="5">
        <dgm:presLayoutVars>
          <dgm:bulletEnabled val="1"/>
        </dgm:presLayoutVars>
      </dgm:prSet>
      <dgm:spPr/>
    </dgm:pt>
    <dgm:pt modelId="{BB5DD78F-84FF-4427-B3E5-16C459607942}" type="pres">
      <dgm:prSet presAssocID="{A9D9A4B1-102C-4B67-AD78-72974350B50C}" presName="FiveNodes_2_text" presStyleLbl="node1" presStyleIdx="4" presStyleCnt="5">
        <dgm:presLayoutVars>
          <dgm:bulletEnabled val="1"/>
        </dgm:presLayoutVars>
      </dgm:prSet>
      <dgm:spPr/>
    </dgm:pt>
    <dgm:pt modelId="{CB62DFF8-9805-4178-843C-616C3D5A8CBA}" type="pres">
      <dgm:prSet presAssocID="{A9D9A4B1-102C-4B67-AD78-72974350B50C}" presName="FiveNodes_3_text" presStyleLbl="node1" presStyleIdx="4" presStyleCnt="5">
        <dgm:presLayoutVars>
          <dgm:bulletEnabled val="1"/>
        </dgm:presLayoutVars>
      </dgm:prSet>
      <dgm:spPr/>
    </dgm:pt>
    <dgm:pt modelId="{7731E7E1-A725-4CDD-845D-4044796D0CEB}" type="pres">
      <dgm:prSet presAssocID="{A9D9A4B1-102C-4B67-AD78-72974350B50C}" presName="FiveNodes_4_text" presStyleLbl="node1" presStyleIdx="4" presStyleCnt="5">
        <dgm:presLayoutVars>
          <dgm:bulletEnabled val="1"/>
        </dgm:presLayoutVars>
      </dgm:prSet>
      <dgm:spPr/>
    </dgm:pt>
    <dgm:pt modelId="{5D026924-F7FC-4C6E-A466-F3B85024F9F8}" type="pres">
      <dgm:prSet presAssocID="{A9D9A4B1-102C-4B67-AD78-72974350B50C}" presName="FiveNodes_5_text" presStyleLbl="node1" presStyleIdx="4" presStyleCnt="5">
        <dgm:presLayoutVars>
          <dgm:bulletEnabled val="1"/>
        </dgm:presLayoutVars>
      </dgm:prSet>
      <dgm:spPr/>
    </dgm:pt>
  </dgm:ptLst>
  <dgm:cxnLst>
    <dgm:cxn modelId="{C4CC7406-3D0F-4804-95E7-ECDD49B2AC40}" type="presOf" srcId="{96B788F8-6996-4CAE-A6B2-8A3C3B8FCF2E}" destId="{C7EB4B56-7AAD-4FE7-BE15-DC4810A74A41}" srcOrd="0" destOrd="0" presId="urn:microsoft.com/office/officeart/2005/8/layout/vProcess5"/>
    <dgm:cxn modelId="{7A34F819-6093-4E11-8D03-4EEE4E2C629A}" type="presOf" srcId="{5D0C694A-EB79-4CFC-BC32-D483879DAA8C}" destId="{98BDEE3C-78E5-45AF-A47D-440A2DA1C1A7}" srcOrd="0" destOrd="0" presId="urn:microsoft.com/office/officeart/2005/8/layout/vProcess5"/>
    <dgm:cxn modelId="{04124363-53B0-4F92-9571-26E8E7D9481A}" type="presOf" srcId="{96B788F8-6996-4CAE-A6B2-8A3C3B8FCF2E}" destId="{CB62DFF8-9805-4178-843C-616C3D5A8CBA}" srcOrd="1" destOrd="0" presId="urn:microsoft.com/office/officeart/2005/8/layout/vProcess5"/>
    <dgm:cxn modelId="{0E991044-70A3-4FB9-825C-4A428BE57E24}" type="presOf" srcId="{FB8F96D1-0D54-4B9D-8064-A36F0F4B97F1}" destId="{14D38EFF-87AD-430F-AC6E-C0976B54FEF7}" srcOrd="0" destOrd="0" presId="urn:microsoft.com/office/officeart/2005/8/layout/vProcess5"/>
    <dgm:cxn modelId="{85927E4C-5B0F-497B-9891-62BC39CFE54D}" type="presOf" srcId="{0EDE634A-5B5A-48C0-9134-09804E6BB0C1}" destId="{2746032D-6780-44BF-8742-F1C7B3782AE5}" srcOrd="0" destOrd="0" presId="urn:microsoft.com/office/officeart/2005/8/layout/vProcess5"/>
    <dgm:cxn modelId="{CFB7F94F-6BA0-4535-AC91-1DB85873E3C4}" type="presOf" srcId="{50D7565A-9C5F-4F91-9FE9-CC5EB204349E}" destId="{7AF59C03-E69F-40F5-8684-08A0759D6461}" srcOrd="0" destOrd="0" presId="urn:microsoft.com/office/officeart/2005/8/layout/vProcess5"/>
    <dgm:cxn modelId="{8C343050-C9C2-44C1-A4B6-8CC77FD94B21}" type="presOf" srcId="{EBF2D2D5-B905-4446-818B-697E5C74DCC5}" destId="{69982C08-B225-46DC-B680-D8A7645AEE6A}" srcOrd="0" destOrd="0" presId="urn:microsoft.com/office/officeart/2005/8/layout/vProcess5"/>
    <dgm:cxn modelId="{096AEE77-8938-4569-8923-0BD73D4FF85E}" type="presOf" srcId="{A9D9A4B1-102C-4B67-AD78-72974350B50C}" destId="{C5F2211C-C68B-4A75-AF56-868427EB8F71}" srcOrd="0" destOrd="0" presId="urn:microsoft.com/office/officeart/2005/8/layout/vProcess5"/>
    <dgm:cxn modelId="{F108CB58-6ECD-4758-9D83-1E33E15B47DA}" srcId="{A9D9A4B1-102C-4B67-AD78-72974350B50C}" destId="{0EDE634A-5B5A-48C0-9134-09804E6BB0C1}" srcOrd="0" destOrd="0" parTransId="{943118AA-8F45-42BB-A321-A80912982EC1}" sibTransId="{923093BC-0C2C-481A-AE57-03BA4C4A4D04}"/>
    <dgm:cxn modelId="{3DCC729F-A814-4893-848A-622E6E1F13AE}" srcId="{A9D9A4B1-102C-4B67-AD78-72974350B50C}" destId="{96B788F8-6996-4CAE-A6B2-8A3C3B8FCF2E}" srcOrd="2" destOrd="0" parTransId="{1F035B33-AEBA-4899-8809-4DA16ECD9C1E}" sibTransId="{FB8F96D1-0D54-4B9D-8064-A36F0F4B97F1}"/>
    <dgm:cxn modelId="{019AC5A4-E1AC-47D4-9F63-1AEE2AD45978}" type="presOf" srcId="{4A8D6F8C-1FC3-4231-B738-27E468C430A7}" destId="{7731E7E1-A725-4CDD-845D-4044796D0CEB}" srcOrd="1" destOrd="0" presId="urn:microsoft.com/office/officeart/2005/8/layout/vProcess5"/>
    <dgm:cxn modelId="{BC41BAAA-2D44-45B0-BFED-6DF352A72DD8}" srcId="{A9D9A4B1-102C-4B67-AD78-72974350B50C}" destId="{EBF2D2D5-B905-4446-818B-697E5C74DCC5}" srcOrd="1" destOrd="0" parTransId="{89D42742-7947-4F41-8D58-687A6A0B158D}" sibTransId="{32B5F668-5D80-4A9A-8C01-F2ADA13A1943}"/>
    <dgm:cxn modelId="{30FFA5AB-38A9-4E3F-A3A2-A7266F30987C}" srcId="{A9D9A4B1-102C-4B67-AD78-72974350B50C}" destId="{5D0C694A-EB79-4CFC-BC32-D483879DAA8C}" srcOrd="4" destOrd="0" parTransId="{522C6118-7AB8-4CDF-8E86-98355B97948E}" sibTransId="{7FE83C83-44D7-455A-95B1-FA8546293FB3}"/>
    <dgm:cxn modelId="{AA77AAAB-6594-4ABE-BBCE-9F3BC0A07339}" type="presOf" srcId="{923093BC-0C2C-481A-AE57-03BA4C4A4D04}" destId="{7D83D5D9-EAC9-4D55-968F-E18D0078F406}" srcOrd="0" destOrd="0" presId="urn:microsoft.com/office/officeart/2005/8/layout/vProcess5"/>
    <dgm:cxn modelId="{0399F5C3-A0D9-4E3C-AF7A-6AB88F564BA2}" type="presOf" srcId="{32B5F668-5D80-4A9A-8C01-F2ADA13A1943}" destId="{BE7DBB22-BE0A-4911-96C6-41574488A27F}" srcOrd="0" destOrd="0" presId="urn:microsoft.com/office/officeart/2005/8/layout/vProcess5"/>
    <dgm:cxn modelId="{61A6D7D6-7E56-40DD-81F6-1468FF4F169D}" srcId="{A9D9A4B1-102C-4B67-AD78-72974350B50C}" destId="{4A8D6F8C-1FC3-4231-B738-27E468C430A7}" srcOrd="3" destOrd="0" parTransId="{45C1B46E-31CB-4272-A0A7-502ABAD30242}" sibTransId="{50D7565A-9C5F-4F91-9FE9-CC5EB204349E}"/>
    <dgm:cxn modelId="{1A9911D7-A9E9-41C2-88A1-56346C51B4BA}" type="presOf" srcId="{EBF2D2D5-B905-4446-818B-697E5C74DCC5}" destId="{BB5DD78F-84FF-4427-B3E5-16C459607942}" srcOrd="1" destOrd="0" presId="urn:microsoft.com/office/officeart/2005/8/layout/vProcess5"/>
    <dgm:cxn modelId="{D2F50EE9-57F9-4E5A-A5F7-96990D68C39C}" type="presOf" srcId="{4A8D6F8C-1FC3-4231-B738-27E468C430A7}" destId="{96D35FAE-9D2F-4C6A-9D70-8BD3DACC840E}" srcOrd="0" destOrd="0" presId="urn:microsoft.com/office/officeart/2005/8/layout/vProcess5"/>
    <dgm:cxn modelId="{038466EA-EAD1-47A7-89C6-FD8247A1B6DF}" type="presOf" srcId="{5D0C694A-EB79-4CFC-BC32-D483879DAA8C}" destId="{5D026924-F7FC-4C6E-A466-F3B85024F9F8}" srcOrd="1" destOrd="0" presId="urn:microsoft.com/office/officeart/2005/8/layout/vProcess5"/>
    <dgm:cxn modelId="{0BB375FD-DCE9-4101-A93A-D415C897E731}" type="presOf" srcId="{0EDE634A-5B5A-48C0-9134-09804E6BB0C1}" destId="{35607EC2-0C8D-46B6-85FB-836A7CDCB060}" srcOrd="1" destOrd="0" presId="urn:microsoft.com/office/officeart/2005/8/layout/vProcess5"/>
    <dgm:cxn modelId="{F006781F-8C47-4636-8B04-88231A529A72}" type="presParOf" srcId="{C5F2211C-C68B-4A75-AF56-868427EB8F71}" destId="{50FBC995-668E-46A7-BBB5-F99DEB6D38B9}" srcOrd="0" destOrd="0" presId="urn:microsoft.com/office/officeart/2005/8/layout/vProcess5"/>
    <dgm:cxn modelId="{00A4A29C-976B-4BDE-A4E8-8020E497AE1A}" type="presParOf" srcId="{C5F2211C-C68B-4A75-AF56-868427EB8F71}" destId="{2746032D-6780-44BF-8742-F1C7B3782AE5}" srcOrd="1" destOrd="0" presId="urn:microsoft.com/office/officeart/2005/8/layout/vProcess5"/>
    <dgm:cxn modelId="{D79DB78D-6C6F-44DD-BB60-740FB9A44A0E}" type="presParOf" srcId="{C5F2211C-C68B-4A75-AF56-868427EB8F71}" destId="{69982C08-B225-46DC-B680-D8A7645AEE6A}" srcOrd="2" destOrd="0" presId="urn:microsoft.com/office/officeart/2005/8/layout/vProcess5"/>
    <dgm:cxn modelId="{9E8E1A20-5816-42E3-AA3D-E67A34D501CB}" type="presParOf" srcId="{C5F2211C-C68B-4A75-AF56-868427EB8F71}" destId="{C7EB4B56-7AAD-4FE7-BE15-DC4810A74A41}" srcOrd="3" destOrd="0" presId="urn:microsoft.com/office/officeart/2005/8/layout/vProcess5"/>
    <dgm:cxn modelId="{C09088DB-1368-4E02-BFBF-212D84F242A2}" type="presParOf" srcId="{C5F2211C-C68B-4A75-AF56-868427EB8F71}" destId="{96D35FAE-9D2F-4C6A-9D70-8BD3DACC840E}" srcOrd="4" destOrd="0" presId="urn:microsoft.com/office/officeart/2005/8/layout/vProcess5"/>
    <dgm:cxn modelId="{07A22A9B-01AA-4193-8E02-D757E2332DE4}" type="presParOf" srcId="{C5F2211C-C68B-4A75-AF56-868427EB8F71}" destId="{98BDEE3C-78E5-45AF-A47D-440A2DA1C1A7}" srcOrd="5" destOrd="0" presId="urn:microsoft.com/office/officeart/2005/8/layout/vProcess5"/>
    <dgm:cxn modelId="{4D55B35A-4A36-4F1A-B6EE-F95711FC33C3}" type="presParOf" srcId="{C5F2211C-C68B-4A75-AF56-868427EB8F71}" destId="{7D83D5D9-EAC9-4D55-968F-E18D0078F406}" srcOrd="6" destOrd="0" presId="urn:microsoft.com/office/officeart/2005/8/layout/vProcess5"/>
    <dgm:cxn modelId="{B9E37A69-7AE2-43E3-855D-FA41927175CF}" type="presParOf" srcId="{C5F2211C-C68B-4A75-AF56-868427EB8F71}" destId="{BE7DBB22-BE0A-4911-96C6-41574488A27F}" srcOrd="7" destOrd="0" presId="urn:microsoft.com/office/officeart/2005/8/layout/vProcess5"/>
    <dgm:cxn modelId="{AD67233A-F6A0-4DD6-A245-B23A6CCA5976}" type="presParOf" srcId="{C5F2211C-C68B-4A75-AF56-868427EB8F71}" destId="{14D38EFF-87AD-430F-AC6E-C0976B54FEF7}" srcOrd="8" destOrd="0" presId="urn:microsoft.com/office/officeart/2005/8/layout/vProcess5"/>
    <dgm:cxn modelId="{06E446AB-D03C-4000-B94C-E1A4C0D07330}" type="presParOf" srcId="{C5F2211C-C68B-4A75-AF56-868427EB8F71}" destId="{7AF59C03-E69F-40F5-8684-08A0759D6461}" srcOrd="9" destOrd="0" presId="urn:microsoft.com/office/officeart/2005/8/layout/vProcess5"/>
    <dgm:cxn modelId="{741A08A2-47EF-4AC7-80D7-F6C6C5C90F0D}" type="presParOf" srcId="{C5F2211C-C68B-4A75-AF56-868427EB8F71}" destId="{35607EC2-0C8D-46B6-85FB-836A7CDCB060}" srcOrd="10" destOrd="0" presId="urn:microsoft.com/office/officeart/2005/8/layout/vProcess5"/>
    <dgm:cxn modelId="{F7E5BF34-1BF5-4510-AF8C-AE9B2CBC2F24}" type="presParOf" srcId="{C5F2211C-C68B-4A75-AF56-868427EB8F71}" destId="{BB5DD78F-84FF-4427-B3E5-16C459607942}" srcOrd="11" destOrd="0" presId="urn:microsoft.com/office/officeart/2005/8/layout/vProcess5"/>
    <dgm:cxn modelId="{91BCD630-8E27-4123-B8FA-BA3EE5A95B49}" type="presParOf" srcId="{C5F2211C-C68B-4A75-AF56-868427EB8F71}" destId="{CB62DFF8-9805-4178-843C-616C3D5A8CBA}" srcOrd="12" destOrd="0" presId="urn:microsoft.com/office/officeart/2005/8/layout/vProcess5"/>
    <dgm:cxn modelId="{0D4B12D1-1712-45B4-92A7-F03257D6B256}" type="presParOf" srcId="{C5F2211C-C68B-4A75-AF56-868427EB8F71}" destId="{7731E7E1-A725-4CDD-845D-4044796D0CEB}" srcOrd="13" destOrd="0" presId="urn:microsoft.com/office/officeart/2005/8/layout/vProcess5"/>
    <dgm:cxn modelId="{51E20850-58DA-4257-9AE3-679BAF2916E2}" type="presParOf" srcId="{C5F2211C-C68B-4A75-AF56-868427EB8F71}" destId="{5D026924-F7FC-4C6E-A466-F3B85024F9F8}" srcOrd="14"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46032D-6780-44BF-8742-F1C7B3782AE5}">
      <dsp:nvSpPr>
        <dsp:cNvPr id="0" name=""/>
        <dsp:cNvSpPr/>
      </dsp:nvSpPr>
      <dsp:spPr>
        <a:xfrm>
          <a:off x="0" y="0"/>
          <a:ext cx="6884416" cy="796671"/>
        </a:xfrm>
        <a:prstGeom prst="roundRect">
          <a:avLst>
            <a:gd name="adj" fmla="val 1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s-ES" sz="2200" kern="1200" dirty="0"/>
            <a:t>1. </a:t>
          </a:r>
          <a:r>
            <a:rPr lang="es-ES_tradnl" sz="2200" kern="1200" dirty="0"/>
            <a:t>Guías para el manejo de los síndromes coronarios crónicos</a:t>
          </a:r>
          <a:endParaRPr lang="en-US" sz="2200" kern="1200" dirty="0"/>
        </a:p>
      </dsp:txBody>
      <dsp:txXfrm>
        <a:off x="23334" y="23334"/>
        <a:ext cx="5931534" cy="750003"/>
      </dsp:txXfrm>
    </dsp:sp>
    <dsp:sp modelId="{69982C08-B225-46DC-B680-D8A7645AEE6A}">
      <dsp:nvSpPr>
        <dsp:cNvPr id="0" name=""/>
        <dsp:cNvSpPr/>
      </dsp:nvSpPr>
      <dsp:spPr>
        <a:xfrm>
          <a:off x="514096" y="907319"/>
          <a:ext cx="6884416" cy="796671"/>
        </a:xfrm>
        <a:prstGeom prst="roundRect">
          <a:avLst>
            <a:gd name="adj" fmla="val 10000"/>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s-ES" sz="2200" kern="1200" dirty="0"/>
            <a:t>2. </a:t>
          </a:r>
          <a:r>
            <a:rPr lang="es-ES_tradnl" sz="2200" kern="1200" dirty="0"/>
            <a:t>Guías para el manejo de la presión arterial elevada e hipertensión.</a:t>
          </a:r>
          <a:endParaRPr lang="en-US" sz="2200" kern="1200" dirty="0"/>
        </a:p>
      </dsp:txBody>
      <dsp:txXfrm>
        <a:off x="537430" y="930653"/>
        <a:ext cx="5805815" cy="750003"/>
      </dsp:txXfrm>
    </dsp:sp>
    <dsp:sp modelId="{C7EB4B56-7AAD-4FE7-BE15-DC4810A74A41}">
      <dsp:nvSpPr>
        <dsp:cNvPr id="0" name=""/>
        <dsp:cNvSpPr/>
      </dsp:nvSpPr>
      <dsp:spPr>
        <a:xfrm>
          <a:off x="1028191" y="1814639"/>
          <a:ext cx="6884416" cy="796671"/>
        </a:xfrm>
        <a:prstGeom prst="roundRect">
          <a:avLst>
            <a:gd name="adj" fmla="val 1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s-ES" sz="2200" kern="1200" dirty="0"/>
            <a:t>3. </a:t>
          </a:r>
          <a:r>
            <a:rPr lang="es-ES_tradnl" sz="2200" kern="1200" dirty="0"/>
            <a:t>Guías para el manejo de la enfermedad arterial periférica y patología aórtica.</a:t>
          </a:r>
          <a:endParaRPr lang="en-US" sz="2200" kern="1200" dirty="0"/>
        </a:p>
      </dsp:txBody>
      <dsp:txXfrm>
        <a:off x="1051525" y="1837973"/>
        <a:ext cx="5805815" cy="750003"/>
      </dsp:txXfrm>
    </dsp:sp>
    <dsp:sp modelId="{96D35FAE-9D2F-4C6A-9D70-8BD3DACC840E}">
      <dsp:nvSpPr>
        <dsp:cNvPr id="0" name=""/>
        <dsp:cNvSpPr/>
      </dsp:nvSpPr>
      <dsp:spPr>
        <a:xfrm>
          <a:off x="1542287" y="2721959"/>
          <a:ext cx="6884416" cy="796671"/>
        </a:xfrm>
        <a:prstGeom prst="roundRect">
          <a:avLst>
            <a:gd name="adj" fmla="val 10000"/>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s-ES" sz="2200" kern="1200"/>
            <a:t>4. </a:t>
          </a:r>
          <a:r>
            <a:rPr lang="es-ES_tradnl" sz="2200" kern="1200"/>
            <a:t>Tratamiento hipolipemiante.</a:t>
          </a:r>
          <a:endParaRPr lang="en-US" sz="2200" kern="1200"/>
        </a:p>
      </dsp:txBody>
      <dsp:txXfrm>
        <a:off x="1565621" y="2745293"/>
        <a:ext cx="5805815" cy="750003"/>
      </dsp:txXfrm>
    </dsp:sp>
    <dsp:sp modelId="{98BDEE3C-78E5-45AF-A47D-440A2DA1C1A7}">
      <dsp:nvSpPr>
        <dsp:cNvPr id="0" name=""/>
        <dsp:cNvSpPr/>
      </dsp:nvSpPr>
      <dsp:spPr>
        <a:xfrm>
          <a:off x="2056383" y="3629279"/>
          <a:ext cx="6884416" cy="796671"/>
        </a:xfrm>
        <a:prstGeom prst="roundRect">
          <a:avLst>
            <a:gd name="adj" fmla="val 1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s-ES_tradnl" sz="2200" kern="1200" dirty="0"/>
            <a:t>5</a:t>
          </a:r>
          <a:r>
            <a:rPr lang="es-ES_tradnl" sz="2200" kern="1200"/>
            <a:t>. Fármacos bloqueadores del </a:t>
          </a:r>
          <a:r>
            <a:rPr lang="es-ES_tradnl" sz="2200" kern="1200" dirty="0"/>
            <a:t>sistema renina-angiotensina-aldosterona.</a:t>
          </a:r>
          <a:endParaRPr lang="en-US" sz="2200" kern="1200" dirty="0"/>
        </a:p>
      </dsp:txBody>
      <dsp:txXfrm>
        <a:off x="2079717" y="3652613"/>
        <a:ext cx="5805815" cy="750003"/>
      </dsp:txXfrm>
    </dsp:sp>
    <dsp:sp modelId="{7D83D5D9-EAC9-4D55-968F-E18D0078F406}">
      <dsp:nvSpPr>
        <dsp:cNvPr id="0" name=""/>
        <dsp:cNvSpPr/>
      </dsp:nvSpPr>
      <dsp:spPr>
        <a:xfrm>
          <a:off x="6366579" y="582012"/>
          <a:ext cx="517836" cy="517836"/>
        </a:xfrm>
        <a:prstGeom prst="downArrow">
          <a:avLst>
            <a:gd name="adj1" fmla="val 55000"/>
            <a:gd name="adj2" fmla="val 45000"/>
          </a:avLst>
        </a:prstGeom>
        <a:no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en-US" sz="2400" kern="1200"/>
        </a:p>
      </dsp:txBody>
      <dsp:txXfrm>
        <a:off x="6483092" y="582012"/>
        <a:ext cx="284810" cy="389672"/>
      </dsp:txXfrm>
    </dsp:sp>
    <dsp:sp modelId="{BE7DBB22-BE0A-4911-96C6-41574488A27F}">
      <dsp:nvSpPr>
        <dsp:cNvPr id="0" name=""/>
        <dsp:cNvSpPr/>
      </dsp:nvSpPr>
      <dsp:spPr>
        <a:xfrm>
          <a:off x="6880675" y="1716087"/>
          <a:ext cx="517836" cy="517836"/>
        </a:xfrm>
        <a:prstGeom prst="downArrow">
          <a:avLst>
            <a:gd name="adj1" fmla="val 55000"/>
            <a:gd name="adj2" fmla="val 45000"/>
          </a:avLst>
        </a:prstGeom>
        <a:no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en-US" sz="2400" kern="1200"/>
        </a:p>
      </dsp:txBody>
      <dsp:txXfrm>
        <a:off x="6997188" y="1716087"/>
        <a:ext cx="284810" cy="389672"/>
      </dsp:txXfrm>
    </dsp:sp>
    <dsp:sp modelId="{14D38EFF-87AD-430F-AC6E-C0976B54FEF7}">
      <dsp:nvSpPr>
        <dsp:cNvPr id="0" name=""/>
        <dsp:cNvSpPr/>
      </dsp:nvSpPr>
      <dsp:spPr>
        <a:xfrm>
          <a:off x="7394771" y="2383374"/>
          <a:ext cx="517836" cy="517836"/>
        </a:xfrm>
        <a:prstGeom prst="downArrow">
          <a:avLst>
            <a:gd name="adj1" fmla="val 55000"/>
            <a:gd name="adj2" fmla="val 45000"/>
          </a:avLst>
        </a:prstGeom>
        <a:no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en-US" sz="2400" kern="1200"/>
        </a:p>
      </dsp:txBody>
      <dsp:txXfrm>
        <a:off x="7511284" y="2383374"/>
        <a:ext cx="284810" cy="389672"/>
      </dsp:txXfrm>
    </dsp:sp>
    <dsp:sp modelId="{7AF59C03-E69F-40F5-8684-08A0759D6461}">
      <dsp:nvSpPr>
        <dsp:cNvPr id="0" name=""/>
        <dsp:cNvSpPr/>
      </dsp:nvSpPr>
      <dsp:spPr>
        <a:xfrm>
          <a:off x="7908867" y="3299545"/>
          <a:ext cx="517836" cy="517836"/>
        </a:xfrm>
        <a:prstGeom prst="downArrow">
          <a:avLst>
            <a:gd name="adj1" fmla="val 55000"/>
            <a:gd name="adj2" fmla="val 45000"/>
          </a:avLst>
        </a:prstGeom>
        <a:no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en-US" sz="2400" kern="1200"/>
        </a:p>
      </dsp:txBody>
      <dsp:txXfrm>
        <a:off x="8025380" y="3299545"/>
        <a:ext cx="284810" cy="389672"/>
      </dsp:txXfrm>
    </dsp:sp>
  </dsp:spTree>
</dsp:drawing>
</file>

<file path=ppt/diagrams/layout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1848983-4935-419E-8F71-D7AE8934A276}" type="datetimeFigureOut">
              <a:rPr lang="es-ES" smtClean="0"/>
              <a:t>08/01/2026</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E4CB052-C253-4640-86CA-525C5FEBA7E5}" type="slidenum">
              <a:rPr lang="es-ES" smtClean="0"/>
              <a:t>‹Nº›</a:t>
            </a:fld>
            <a:endParaRPr lang="es-ES"/>
          </a:p>
        </p:txBody>
      </p:sp>
    </p:spTree>
    <p:extLst>
      <p:ext uri="{BB962C8B-B14F-4D97-AF65-F5344CB8AC3E}">
        <p14:creationId xmlns:p14="http://schemas.microsoft.com/office/powerpoint/2010/main" val="14074110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8401" name="Slide Image Placeholder 1"/>
          <p:cNvSpPr>
            <a:spLocks noGrp="1" noRot="1" noChangeAspect="1"/>
          </p:cNvSpPr>
          <p:nvPr>
            <p:ph type="sldImg"/>
          </p:nvPr>
        </p:nvSpPr>
        <p:spPr bwMode="auto">
          <a:noFill/>
          <a:ln>
            <a:solidFill>
              <a:srgbClr val="000000"/>
            </a:solidFill>
            <a:miter lim="800000"/>
            <a:headEnd/>
            <a:tailEnd/>
          </a:ln>
        </p:spPr>
      </p:sp>
      <p:sp>
        <p:nvSpPr>
          <p:cNvPr id="46083"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marL="0" marR="0" lvl="0" indent="0" algn="r" defTabSz="918147" rtl="0" eaLnBrk="1" fontAlgn="base" latinLnBrk="0" hangingPunct="1">
              <a:lnSpc>
                <a:spcPct val="100000"/>
              </a:lnSpc>
              <a:spcBef>
                <a:spcPct val="0"/>
              </a:spcBef>
              <a:spcAft>
                <a:spcPct val="0"/>
              </a:spcAft>
              <a:buClrTx/>
              <a:buSzTx/>
              <a:buFontTx/>
              <a:buNone/>
              <a:tabLst/>
              <a:defRPr/>
            </a:pPr>
            <a:fld id="{DC27D698-CE27-4E64-BB01-9EDB7D507198}" type="slidenum">
              <a:rPr kumimoji="0" lang="es-ES_tradnl" sz="1200" b="0" i="0" u="none" strike="noStrike" kern="1200" cap="none" spc="0" normalizeH="0" baseline="0" noProof="0">
                <a:ln>
                  <a:noFill/>
                </a:ln>
                <a:solidFill>
                  <a:prstClr val="black"/>
                </a:solidFill>
                <a:effectLst/>
                <a:uLnTx/>
                <a:uFillTx/>
                <a:latin typeface="Calibri"/>
                <a:ea typeface="+mn-ea"/>
                <a:cs typeface="Arial" charset="0"/>
              </a:rPr>
              <a:pPr marL="0" marR="0" lvl="0" indent="0" algn="r" defTabSz="918147" rtl="0" eaLnBrk="1" fontAlgn="base" latinLnBrk="0" hangingPunct="1">
                <a:lnSpc>
                  <a:spcPct val="100000"/>
                </a:lnSpc>
                <a:spcBef>
                  <a:spcPct val="0"/>
                </a:spcBef>
                <a:spcAft>
                  <a:spcPct val="0"/>
                </a:spcAft>
                <a:buClrTx/>
                <a:buSzTx/>
                <a:buFontTx/>
                <a:buNone/>
                <a:tabLst/>
                <a:defRPr/>
              </a:pPr>
              <a:t>1</a:t>
            </a:fld>
            <a:endParaRPr kumimoji="0" lang="es-ES_tradnl" sz="1200" b="0" i="0" u="none" strike="noStrike" kern="1200" cap="none" spc="0" normalizeH="0" baseline="0" noProof="0" dirty="0">
              <a:ln>
                <a:noFill/>
              </a:ln>
              <a:solidFill>
                <a:prstClr val="black"/>
              </a:solidFill>
              <a:effectLst/>
              <a:uLnTx/>
              <a:uFillTx/>
              <a:latin typeface="Calibri"/>
              <a:ea typeface="+mn-ea"/>
              <a:cs typeface="Arial" charset="0"/>
            </a:endParaRPr>
          </a:p>
        </p:txBody>
      </p:sp>
      <p:sp>
        <p:nvSpPr>
          <p:cNvPr id="3" name="Notes Placeholder 2"/>
          <p:cNvSpPr>
            <a:spLocks noGrp="1"/>
          </p:cNvSpPr>
          <p:nvPr>
            <p:ph type="body" sz="quarter" idx="10"/>
          </p:nvPr>
        </p:nvSpPr>
        <p:spPr>
          <a:xfrm>
            <a:off x="722548" y="4784072"/>
            <a:ext cx="5363694" cy="4969528"/>
          </a:xfrm>
        </p:spPr>
        <p:txBody>
          <a:bodyPr/>
          <a:lstStyle/>
          <a:p>
            <a:pPr algn="just">
              <a:defRPr/>
            </a:pPr>
            <a:endParaRPr lang="en-US" dirty="0"/>
          </a:p>
        </p:txBody>
      </p:sp>
    </p:spTree>
    <p:extLst>
      <p:ext uri="{BB962C8B-B14F-4D97-AF65-F5344CB8AC3E}">
        <p14:creationId xmlns:p14="http://schemas.microsoft.com/office/powerpoint/2010/main" val="698390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75C476-7728-3E53-475D-EE082216D633}"/>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AB330BC-FD03-CB6F-E8A9-405215C3DBD2}"/>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43FAC3BB-1003-C134-47B9-03BC48A04BF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n el esquema en forma de diamante se muestran las combinaciones útiles (líneas en verde), combinaciones no recomendadas (líneas rojas), combinaciones posibles  (líneas grises) , y fármacos con efectos parecidos (líneas grises salteadas), que pueden ser utilizadas en indicaciones seleccionadas:  </a:t>
            </a:r>
            <a:r>
              <a:rPr lang="es-ES" dirty="0" err="1"/>
              <a:t>HFrEF</a:t>
            </a:r>
            <a:r>
              <a:rPr lang="es-ES" dirty="0"/>
              <a:t> (</a:t>
            </a:r>
            <a:r>
              <a:rPr lang="es-ES" dirty="0" err="1"/>
              <a:t>ivabradina</a:t>
            </a:r>
            <a:r>
              <a:rPr lang="es-ES" dirty="0"/>
              <a:t> y beta-bloqueantes), fibrilación auricular (</a:t>
            </a:r>
            <a:r>
              <a:rPr lang="es-ES" dirty="0" err="1"/>
              <a:t>diltiazem</a:t>
            </a:r>
            <a:r>
              <a:rPr lang="es-ES" dirty="0"/>
              <a:t>/</a:t>
            </a:r>
            <a:r>
              <a:rPr lang="es-ES" dirty="0" err="1"/>
              <a:t>verapamil</a:t>
            </a:r>
            <a:r>
              <a:rPr lang="es-ES" dirty="0"/>
              <a:t> y beta-</a:t>
            </a:r>
            <a:r>
              <a:rPr lang="es-ES" dirty="0" err="1"/>
              <a:t>bloquenates</a:t>
            </a:r>
            <a:r>
              <a:rPr lang="es-ES" dirty="0"/>
              <a:t>), angina </a:t>
            </a:r>
            <a:r>
              <a:rPr lang="es-ES" dirty="0" err="1"/>
              <a:t>vasospástica</a:t>
            </a:r>
            <a:r>
              <a:rPr lang="es-ES" dirty="0"/>
              <a:t> (dihidropiridina y nitratos). </a:t>
            </a:r>
          </a:p>
        </p:txBody>
      </p:sp>
      <p:sp>
        <p:nvSpPr>
          <p:cNvPr id="4" name="Marcador de número de diapositiva 3">
            <a:extLst>
              <a:ext uri="{FF2B5EF4-FFF2-40B4-BE49-F238E27FC236}">
                <a16:creationId xmlns:a16="http://schemas.microsoft.com/office/drawing/2014/main" id="{C1860661-C0DA-CE42-BAA3-8A5D3D78E353}"/>
              </a:ext>
            </a:extLst>
          </p:cNvPr>
          <p:cNvSpPr>
            <a:spLocks noGrp="1"/>
          </p:cNvSpPr>
          <p:nvPr>
            <p:ph type="sldNum" sz="quarter" idx="5"/>
          </p:nvPr>
        </p:nvSpPr>
        <p:spPr/>
        <p:txBody>
          <a:bodyPr/>
          <a:lstStyle/>
          <a:p>
            <a:fld id="{DE4CB052-C253-4640-86CA-525C5FEBA7E5}" type="slidenum">
              <a:rPr lang="es-ES" smtClean="0"/>
              <a:t>13</a:t>
            </a:fld>
            <a:endParaRPr lang="es-ES"/>
          </a:p>
        </p:txBody>
      </p:sp>
    </p:spTree>
    <p:extLst>
      <p:ext uri="{BB962C8B-B14F-4D97-AF65-F5344CB8AC3E}">
        <p14:creationId xmlns:p14="http://schemas.microsoft.com/office/powerpoint/2010/main" val="25954197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215558-0F14-1B38-BEDD-05E3F8C0F7A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5050DC6C-EA90-9B44-208B-A2D59D7114BA}"/>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758BB1AF-008A-80F0-240D-C0ABAD93921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La prevención de eventos isquémicos coronarios se basa en reducir el riesgo de oclusión de las arterias coronarias y el consiguiente síndrome coronario agudo (SCA). Las terapias para prevenir eventos cardiovasculares incluyen agentes antitrombóticos, hipolipemiantes, anti-RAAS (sistema renina–angiotensina–aldosterona), antiinflamatorios y agentes </a:t>
            </a:r>
            <a:r>
              <a:rPr lang="es-ES" dirty="0" err="1"/>
              <a:t>antiobesidad</a:t>
            </a:r>
            <a:r>
              <a:rPr lang="es-ES" dirty="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l tratamiento antitrombótico estándar para pacientes con enfermedad coronaria aterosclerótica </a:t>
            </a:r>
            <a:r>
              <a:rPr lang="es-ES" dirty="0" err="1"/>
              <a:t>epicárdica</a:t>
            </a:r>
            <a:r>
              <a:rPr lang="es-ES" dirty="0"/>
              <a:t> es la terapia antiplaquetaria simple (SATP), que normalmente incluye aspirin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n última instancia, la elección y la duración de los regímenes antitrombóticos dependen en gran medida del delicado equilibrio entre el riesgo isquémico y el riesgo de hemorragia de cada individuo.</a:t>
            </a:r>
          </a:p>
        </p:txBody>
      </p:sp>
      <p:sp>
        <p:nvSpPr>
          <p:cNvPr id="4" name="Marcador de número de diapositiva 3">
            <a:extLst>
              <a:ext uri="{FF2B5EF4-FFF2-40B4-BE49-F238E27FC236}">
                <a16:creationId xmlns:a16="http://schemas.microsoft.com/office/drawing/2014/main" id="{876462EB-68AD-95AC-858D-98D03A81B7A3}"/>
              </a:ext>
            </a:extLst>
          </p:cNvPr>
          <p:cNvSpPr>
            <a:spLocks noGrp="1"/>
          </p:cNvSpPr>
          <p:nvPr>
            <p:ph type="sldNum" sz="quarter" idx="5"/>
          </p:nvPr>
        </p:nvSpPr>
        <p:spPr/>
        <p:txBody>
          <a:bodyPr/>
          <a:lstStyle/>
          <a:p>
            <a:fld id="{DE4CB052-C253-4640-86CA-525C5FEBA7E5}" type="slidenum">
              <a:rPr lang="es-ES" smtClean="0"/>
              <a:t>14</a:t>
            </a:fld>
            <a:endParaRPr lang="es-ES"/>
          </a:p>
        </p:txBody>
      </p:sp>
    </p:spTree>
    <p:extLst>
      <p:ext uri="{BB962C8B-B14F-4D97-AF65-F5344CB8AC3E}">
        <p14:creationId xmlns:p14="http://schemas.microsoft.com/office/powerpoint/2010/main" val="37820549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F76B5B-08AC-8BC5-23FD-DAB95E5E926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EB826F76-FC3F-CF8A-68D0-2EB7E3E755B1}"/>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F4185E4B-BE0D-C02A-3BCE-15FDE812AE0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a:t>En pacientes con síndrome coronario agudo (SCA) o post-intervención coronaria percutánea (PCI), el tratamiento estándar es la terapia antiplaquetaria dual (DATP) con aspirina y un inhibidor oral del P2Y</a:t>
            </a:r>
            <a:r>
              <a:rPr lang="es-ES" baseline="-25000"/>
              <a:t>12</a:t>
            </a:r>
            <a:r>
              <a:rPr lang="es-ES"/>
              <a:t>, durante un período de 12 meses después del SCA (con o sin PCI) o 6 meses tras una PCI por enfermedad coronaria crónica (ECC).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a:p>
          <a:p>
            <a:pPr marL="0" marR="0" lvl="0" indent="0" algn="l" defTabSz="914400" rtl="0" eaLnBrk="1" fontAlgn="auto" latinLnBrk="0" hangingPunct="1">
              <a:lnSpc>
                <a:spcPct val="100000"/>
              </a:lnSpc>
              <a:spcBef>
                <a:spcPts val="0"/>
              </a:spcBef>
              <a:spcAft>
                <a:spcPts val="0"/>
              </a:spcAft>
              <a:buClrTx/>
              <a:buSzTx/>
              <a:buFontTx/>
              <a:buNone/>
              <a:tabLst/>
              <a:defRPr/>
            </a:pPr>
            <a:r>
              <a:rPr lang="es-ES"/>
              <a:t>En pacientes con SCA o ECC-PCI,  la DATP suele ser reemplazada por SAPT en algún momento. </a:t>
            </a:r>
          </a:p>
          <a:p>
            <a:pPr marL="0" marR="0" lvl="0" indent="0" algn="l" defTabSz="914400" rtl="0" eaLnBrk="1" fontAlgn="auto" latinLnBrk="0" hangingPunct="1">
              <a:lnSpc>
                <a:spcPct val="100000"/>
              </a:lnSpc>
              <a:spcBef>
                <a:spcPts val="0"/>
              </a:spcBef>
              <a:spcAft>
                <a:spcPts val="0"/>
              </a:spcAft>
              <a:buClrTx/>
              <a:buSzTx/>
              <a:buFontTx/>
              <a:buNone/>
              <a:tabLst/>
              <a:defRPr/>
            </a:pPr>
            <a:r>
              <a:rPr lang="es-ES"/>
              <a:t>Varios ensayos recientes han investigado </a:t>
            </a:r>
            <a:r>
              <a:rPr lang="es-ES" b="1"/>
              <a:t>la duración acortada de la DATD </a:t>
            </a:r>
            <a:r>
              <a:rPr lang="es-ES"/>
              <a:t>y la monoterapia con inhibidores del P2Y</a:t>
            </a:r>
            <a:r>
              <a:rPr lang="es-ES" baseline="-25000"/>
              <a:t>12</a:t>
            </a:r>
            <a:r>
              <a:rPr lang="es-ES"/>
              <a:t> post-ICP para reducir el riesgo de hemorragia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a:p>
          <a:p>
            <a:pPr marL="0" marR="0" lvl="0" indent="0" algn="l" defTabSz="914400" rtl="0" eaLnBrk="1" fontAlgn="auto" latinLnBrk="0" hangingPunct="1">
              <a:lnSpc>
                <a:spcPct val="100000"/>
              </a:lnSpc>
              <a:spcBef>
                <a:spcPts val="0"/>
              </a:spcBef>
              <a:spcAft>
                <a:spcPts val="0"/>
              </a:spcAft>
              <a:buClrTx/>
              <a:buSzTx/>
              <a:buFontTx/>
              <a:buNone/>
              <a:tabLst/>
              <a:defRPr/>
            </a:pPr>
            <a:r>
              <a:rPr lang="es-ES"/>
              <a:t>Por otro lado, en pacientes con ECC que tienen un riesgo isquémico persistentemente alto y un bajo riesgo de hemorragia, se debe considerar una terapia antitrombótica intensificada extendida. </a:t>
            </a:r>
          </a:p>
          <a:p>
            <a:endParaRPr lang="es-ES"/>
          </a:p>
          <a:p>
            <a:r>
              <a:rPr lang="es-ES"/>
              <a:t>En pacientes con SCC sometidos a la implantación de stent con alto riesgo trombótico y a la posterior terapia dual antiplaquetaria, (por ejemplo, en el tronco principal izquierdo complejo, bifurcación con 2 stents, resultado subóptimo del stent, trombosis de stent previa, polimorfismos CYP2C19*2/*3 previamente conocidos), se puede considerar el uso de prasugrel o ticagrelor (además de aspirina) en lugar de clopidogrel durante el primer mes, y hasta 3-6 meses. </a:t>
            </a:r>
          </a:p>
          <a:p>
            <a:endParaRPr lang="es-ES"/>
          </a:p>
          <a:p>
            <a:r>
              <a:rPr lang="es-ES"/>
              <a:t>Prasugrel 5 mg una vez al día para pacientes de ≥75 años o con un peso corporal &lt;60 kg. Criterios de riesgo de sangrado según PRECISE-DAPT o ARC-HBR. (</a:t>
            </a:r>
            <a:r>
              <a:rPr lang="en-GB" sz="1800" b="0" i="1" u="none" strike="noStrike" baseline="0">
                <a:solidFill>
                  <a:srgbClr val="000000"/>
                </a:solidFill>
              </a:rPr>
              <a:t>PRECISE-DAPT, PREdicting bleeding Complications In patients undergoing Stent implantation and subsEquent Dual Anti Platelet Therapy.) </a:t>
            </a:r>
            <a:endParaRPr lang="es-ES" i="1"/>
          </a:p>
        </p:txBody>
      </p:sp>
      <p:sp>
        <p:nvSpPr>
          <p:cNvPr id="4" name="Marcador de número de diapositiva 3">
            <a:extLst>
              <a:ext uri="{FF2B5EF4-FFF2-40B4-BE49-F238E27FC236}">
                <a16:creationId xmlns:a16="http://schemas.microsoft.com/office/drawing/2014/main" id="{30BEA557-C88E-37C3-47FF-157C86C67A15}"/>
              </a:ext>
            </a:extLst>
          </p:cNvPr>
          <p:cNvSpPr>
            <a:spLocks noGrp="1"/>
          </p:cNvSpPr>
          <p:nvPr>
            <p:ph type="sldNum" sz="quarter" idx="5"/>
          </p:nvPr>
        </p:nvSpPr>
        <p:spPr/>
        <p:txBody>
          <a:bodyPr/>
          <a:lstStyle/>
          <a:p>
            <a:fld id="{DE4CB052-C253-4640-86CA-525C5FEBA7E5}" type="slidenum">
              <a:rPr lang="es-ES" smtClean="0"/>
              <a:t>15</a:t>
            </a:fld>
            <a:endParaRPr lang="es-ES"/>
          </a:p>
        </p:txBody>
      </p:sp>
    </p:spTree>
    <p:extLst>
      <p:ext uri="{BB962C8B-B14F-4D97-AF65-F5344CB8AC3E}">
        <p14:creationId xmlns:p14="http://schemas.microsoft.com/office/powerpoint/2010/main" val="6180163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F90129-C821-C934-5785-4A45C26D88A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781C239-9378-708A-D312-343759680F5A}"/>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DC23A670-02E4-2317-AB05-2F8DA66CCDB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a:t>La evidencia de estudios genéticos, epidemiológicos y clínicos aleatorizados ha establecido el papel causal clave del c- LDL y otras lipoproteínas que contienen apo-B en el desarrollo de la enfermedad aterosclerótic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a:p>
          <a:p>
            <a:pPr marL="0" marR="0" lvl="0" indent="0" algn="l" defTabSz="914400" rtl="0" eaLnBrk="1" fontAlgn="auto" latinLnBrk="0" hangingPunct="1">
              <a:lnSpc>
                <a:spcPct val="100000"/>
              </a:lnSpc>
              <a:spcBef>
                <a:spcPts val="0"/>
              </a:spcBef>
              <a:spcAft>
                <a:spcPts val="0"/>
              </a:spcAft>
              <a:buClrTx/>
              <a:buSzTx/>
              <a:buFontTx/>
              <a:buNone/>
              <a:tabLst/>
              <a:defRPr/>
            </a:pPr>
            <a:r>
              <a:rPr lang="es-ES"/>
              <a:t>En pacientes con enfermedad cardiovascular aterosclerótica establecida (ASCVD), la reducción de los niveles de c- LDL </a:t>
            </a:r>
            <a:r>
              <a:rPr lang="es-ES">
                <a:latin typeface="Times New Roman" panose="02020603050405020304" pitchFamily="18" charset="0"/>
                <a:cs typeface="Times New Roman" panose="02020603050405020304" pitchFamily="18" charset="0"/>
              </a:rPr>
              <a:t>↓</a:t>
            </a:r>
            <a:r>
              <a:rPr lang="es-ES"/>
              <a:t> el riesgo de eventos cardiovasculares adversos mayores recurrentes (MACE). Los niveles </a:t>
            </a:r>
            <a:r>
              <a:rPr lang="es-ES">
                <a:latin typeface="Times New Roman" panose="02020603050405020304" pitchFamily="18" charset="0"/>
                <a:cs typeface="Times New Roman" panose="02020603050405020304" pitchFamily="18" charset="0"/>
              </a:rPr>
              <a:t>↑</a:t>
            </a:r>
            <a:r>
              <a:rPr lang="es-ES"/>
              <a:t> de lípidos deben ser manejados de acuerdo con las Guías ESC/EAS 2019 para el manejo de dislipidemias y las Guías ESC 2021 sobre la prevención de enfermedades cardiovasculares en la práctica clínic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a:p>
          <a:p>
            <a:pPr marL="0" marR="0" lvl="0" indent="0" algn="l" defTabSz="914400" rtl="0" eaLnBrk="1" fontAlgn="auto" latinLnBrk="0" hangingPunct="1">
              <a:lnSpc>
                <a:spcPct val="100000"/>
              </a:lnSpc>
              <a:spcBef>
                <a:spcPts val="0"/>
              </a:spcBef>
              <a:spcAft>
                <a:spcPts val="0"/>
              </a:spcAft>
              <a:buClrTx/>
              <a:buSzTx/>
              <a:buFontTx/>
              <a:buNone/>
              <a:tabLst/>
              <a:defRPr/>
            </a:pPr>
            <a:r>
              <a:rPr lang="es-ES"/>
              <a:t>Dado que los pacientes con SCC se consideran de muy alto riesgo cardiovascular, el objetivo del tratamiento es ↓ los niveles de c-LDL a &lt;1.4 mmol/L (&lt;55 mg/dL) y lograr una reducción de al menos el 50% con respecto al valor inicia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a:p>
          <a:p>
            <a:pPr marL="0" marR="0" lvl="0" indent="0" algn="l" defTabSz="914400" rtl="0" eaLnBrk="1" fontAlgn="auto" latinLnBrk="0" hangingPunct="1">
              <a:lnSpc>
                <a:spcPct val="100000"/>
              </a:lnSpc>
              <a:spcBef>
                <a:spcPts val="0"/>
              </a:spcBef>
              <a:spcAft>
                <a:spcPts val="0"/>
              </a:spcAft>
              <a:buClrTx/>
              <a:buSzTx/>
              <a:buFontTx/>
              <a:buNone/>
              <a:tabLst/>
              <a:defRPr/>
            </a:pPr>
            <a:r>
              <a:rPr lang="es-ES"/>
              <a:t>En aquellos pacientes que experimentan un </a:t>
            </a:r>
            <a:r>
              <a:rPr lang="es-ES" b="1"/>
              <a:t>2º evento vascular </a:t>
            </a:r>
            <a:r>
              <a:rPr lang="es-ES"/>
              <a:t>dentro de 2 años mientras están en terapia máxima tolerada basada en estatinas, </a:t>
            </a:r>
            <a:r>
              <a:rPr lang="es-ES" b="1"/>
              <a:t>se puede considerar un objetivo de c- LDL aún más bajo de &lt;1.0 mmol/L (40 mg/d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b="1"/>
          </a:p>
          <a:p>
            <a:pPr marL="0" marR="0" lvl="0" indent="0" algn="l" defTabSz="914400" rtl="0" eaLnBrk="1" fontAlgn="auto" latinLnBrk="0" hangingPunct="1">
              <a:lnSpc>
                <a:spcPct val="100000"/>
              </a:lnSpc>
              <a:spcBef>
                <a:spcPts val="0"/>
              </a:spcBef>
              <a:spcAft>
                <a:spcPts val="0"/>
              </a:spcAft>
              <a:buClrTx/>
              <a:buSzTx/>
              <a:buFontTx/>
              <a:buNone/>
              <a:tabLst/>
              <a:defRPr/>
            </a:pPr>
            <a:r>
              <a:rPr lang="es-ES"/>
              <a:t>La modulación del sistema renina-angiotensina-aldosterona (RAAS) y el inhibidor de neprilisina sacubitrilo en combinación con un bloqueador del SRAA han demostrado ser beneficiosos en pacientes con insuficiencia cardíaca (HF) post-infarto de miocardio (MI) y en pacientes con hipertensió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a:p>
          <a:p>
            <a:pPr marL="0" marR="0" lvl="0" indent="0" algn="l" defTabSz="914400" rtl="0" eaLnBrk="1" fontAlgn="auto" latinLnBrk="0" hangingPunct="1">
              <a:lnSpc>
                <a:spcPct val="100000"/>
              </a:lnSpc>
              <a:spcBef>
                <a:spcPts val="0"/>
              </a:spcBef>
              <a:spcAft>
                <a:spcPts val="0"/>
              </a:spcAft>
              <a:buClrTx/>
              <a:buSzTx/>
              <a:buFontTx/>
              <a:buNone/>
              <a:tabLst/>
              <a:defRPr/>
            </a:pPr>
            <a:r>
              <a:rPr lang="es-ES"/>
              <a:t>En estos síndromes clínicos, la inhibición del SRAA ha mejorado significativamente la morbilidad y la mortalidad. Los inhibidores de la enzima convertidora de angiotensina (IECA) pueden reducir la mortalidad, el infarto de miocardio, el accidente cerebrovascular y la insuficiencia cardíaca en pacientes con disfunción del ventrículo izquierdo, enfermedad vascular previa y diabetes mellitus de alto riesgo.</a:t>
            </a:r>
            <a:endParaRPr lang="es-ES" b="1" dirty="0"/>
          </a:p>
        </p:txBody>
      </p:sp>
      <p:sp>
        <p:nvSpPr>
          <p:cNvPr id="4" name="Marcador de número de diapositiva 3">
            <a:extLst>
              <a:ext uri="{FF2B5EF4-FFF2-40B4-BE49-F238E27FC236}">
                <a16:creationId xmlns:a16="http://schemas.microsoft.com/office/drawing/2014/main" id="{4711F510-B471-6195-C833-ABA0A7F172A2}"/>
              </a:ext>
            </a:extLst>
          </p:cNvPr>
          <p:cNvSpPr>
            <a:spLocks noGrp="1"/>
          </p:cNvSpPr>
          <p:nvPr>
            <p:ph type="sldNum" sz="quarter" idx="5"/>
          </p:nvPr>
        </p:nvSpPr>
        <p:spPr/>
        <p:txBody>
          <a:bodyPr/>
          <a:lstStyle/>
          <a:p>
            <a:fld id="{DE4CB052-C253-4640-86CA-525C5FEBA7E5}" type="slidenum">
              <a:rPr lang="es-ES" smtClean="0"/>
              <a:t>16</a:t>
            </a:fld>
            <a:endParaRPr lang="es-ES"/>
          </a:p>
        </p:txBody>
      </p:sp>
    </p:spTree>
    <p:extLst>
      <p:ext uri="{BB962C8B-B14F-4D97-AF65-F5344CB8AC3E}">
        <p14:creationId xmlns:p14="http://schemas.microsoft.com/office/powerpoint/2010/main" val="8761987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767C91-0CCA-9379-9A40-66841DF27EC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58680197-9601-0A5C-74B4-FA9225D61CCC}"/>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5C7220B-F8E0-F458-BD88-019110A0F96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Los inhibidores del cotransportador de sodio-glucosa 2 (SGLT2) y los agonistas del receptor GLP-1 fueron inicialmente diseñados como medicamentos para reducir la glucosa en pacientes con diabetes tipo 2; sin embargo, recientes evidencias han establecido que estos fármacos reducen el riesgo de enfermedad cardiovascular aterosclerótica (ASCVD) y confieren beneficios cardiovasculares más allá de su potencial para disminuir la glucos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ntre los pacientes con diabetes, el uso de inhibidores de SGLT2 se asoció con un menor riesgo de eventos cardiovasculares adversos mayores (MACE), especialmente en pacientes con ASCVD establecida. Los mecanismos exactos por los cuales los inhibidores de SGLT2 mejoran los resultados cardiovasculares siguen siendo en gran medida desconocidos, pero podrían relacionarse más con efectos hemodinámicos cardiorrenales que con la aterosclerosi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n pacientes con enfermedad cardiovascular preexistente, el ensayo SELECT evaluó el efecto de la administración subcutánea semanal del agonista del receptor GLP-1 </a:t>
            </a:r>
            <a:r>
              <a:rPr lang="es-ES" dirty="0" err="1"/>
              <a:t>semaglutida</a:t>
            </a:r>
            <a:r>
              <a:rPr lang="es-ES" dirty="0"/>
              <a:t> a una dosis de 2.4 mg sobre la reducción de eventos cardiovasculares adversos mayores (MACE) en adultos con sobrepeso u obesidad sin diabetes tipo 2. El objetivo primario del estudio, un compuesto de muerte por causas cardiovasculares, infarto de miocardio no fatal o accidente cerebrovascular no fatal,  </a:t>
            </a:r>
            <a:r>
              <a:rPr lang="es-ES" dirty="0">
                <a:latin typeface="Times New Roman" panose="02020603050405020304" pitchFamily="18" charset="0"/>
                <a:cs typeface="Times New Roman" panose="02020603050405020304" pitchFamily="18" charset="0"/>
              </a:rPr>
              <a:t>↓ de forma s</a:t>
            </a:r>
            <a:r>
              <a:rPr lang="es-ES" dirty="0"/>
              <a:t>ignificativa, con un HR de 0.80 (IC del 95 %, 0.72–0.90; p&lt; 0.001).</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p:txBody>
      </p:sp>
      <p:sp>
        <p:nvSpPr>
          <p:cNvPr id="4" name="Marcador de número de diapositiva 3">
            <a:extLst>
              <a:ext uri="{FF2B5EF4-FFF2-40B4-BE49-F238E27FC236}">
                <a16:creationId xmlns:a16="http://schemas.microsoft.com/office/drawing/2014/main" id="{92DE61C8-79EA-5CB4-AB5B-80DDC2585F9D}"/>
              </a:ext>
            </a:extLst>
          </p:cNvPr>
          <p:cNvSpPr>
            <a:spLocks noGrp="1"/>
          </p:cNvSpPr>
          <p:nvPr>
            <p:ph type="sldNum" sz="quarter" idx="5"/>
          </p:nvPr>
        </p:nvSpPr>
        <p:spPr/>
        <p:txBody>
          <a:bodyPr/>
          <a:lstStyle/>
          <a:p>
            <a:fld id="{DE4CB052-C253-4640-86CA-525C5FEBA7E5}" type="slidenum">
              <a:rPr lang="es-ES" smtClean="0"/>
              <a:t>17</a:t>
            </a:fld>
            <a:endParaRPr lang="es-ES"/>
          </a:p>
        </p:txBody>
      </p:sp>
    </p:spTree>
    <p:extLst>
      <p:ext uri="{BB962C8B-B14F-4D97-AF65-F5344CB8AC3E}">
        <p14:creationId xmlns:p14="http://schemas.microsoft.com/office/powerpoint/2010/main" val="41653297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C298A6-7D3F-F1AA-5F77-C91C5EFAB33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828FA1E-F408-60C5-410A-163F0727C59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05D8969B-A870-1A2D-F539-C1D9AD5CDEEB}"/>
              </a:ext>
            </a:extLst>
          </p:cNvPr>
          <p:cNvSpPr>
            <a:spLocks noGrp="1"/>
          </p:cNvSpPr>
          <p:nvPr>
            <p:ph type="body" idx="1"/>
          </p:nvPr>
        </p:nvSpPr>
        <p:spPr/>
        <p:txBody>
          <a:bodyPr/>
          <a:lstStyle/>
          <a:p>
            <a:r>
              <a:rPr lang="es-ES"/>
              <a:t>Las recomendaciones de las guías del 2024 confirman los hallazgos del Grupo de Trabajo ESC/EACTS de 2022, que recomiendan la cirugía de bypass coronario (CABG) como el modo preferido de revascularización sobre la intervención coronaria percutánea (PCI) para la enfermedad arterial coronaria en el tronco principal izquierdo en pacientes quirúrgicos de bajo riesgo, dado el menor riesgo de infarto de miocardio espontáneo y de revascularización repetida. </a:t>
            </a:r>
          </a:p>
          <a:p>
            <a:endParaRPr lang="es-ES"/>
          </a:p>
          <a:p>
            <a:r>
              <a:rPr lang="es-ES"/>
              <a:t>También se reconoce que en pacientes con enfermedad significativa del tronco principal izquierdo de baja complejidad (puntuación SYNTAX ≤22), en quienes la PCI puede ofrecer una revascularización completa equivalente a la de CABG, se recomienda la PCI como una alternativa a la CAB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p:txBody>
      </p:sp>
      <p:sp>
        <p:nvSpPr>
          <p:cNvPr id="4" name="Marcador de número de diapositiva 3">
            <a:extLst>
              <a:ext uri="{FF2B5EF4-FFF2-40B4-BE49-F238E27FC236}">
                <a16:creationId xmlns:a16="http://schemas.microsoft.com/office/drawing/2014/main" id="{4C1FA598-03A6-537F-CA70-E39EFD948EF0}"/>
              </a:ext>
            </a:extLst>
          </p:cNvPr>
          <p:cNvSpPr>
            <a:spLocks noGrp="1"/>
          </p:cNvSpPr>
          <p:nvPr>
            <p:ph type="sldNum" sz="quarter" idx="5"/>
          </p:nvPr>
        </p:nvSpPr>
        <p:spPr/>
        <p:txBody>
          <a:bodyPr/>
          <a:lstStyle/>
          <a:p>
            <a:fld id="{DE4CB052-C253-4640-86CA-525C5FEBA7E5}" type="slidenum">
              <a:rPr lang="es-ES" smtClean="0"/>
              <a:t>18</a:t>
            </a:fld>
            <a:endParaRPr lang="es-ES"/>
          </a:p>
        </p:txBody>
      </p:sp>
    </p:spTree>
    <p:extLst>
      <p:ext uri="{BB962C8B-B14F-4D97-AF65-F5344CB8AC3E}">
        <p14:creationId xmlns:p14="http://schemas.microsoft.com/office/powerpoint/2010/main" val="23320485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8F3B5E-A30B-0BDD-D2E7-BC72369D5E5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75E4635-D96F-D0FE-C867-9B30EFF94AC6}"/>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2B3ECAC7-7B4B-D64B-0F97-3EFACB13373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p:txBody>
      </p:sp>
      <p:sp>
        <p:nvSpPr>
          <p:cNvPr id="4" name="Marcador de número de diapositiva 3">
            <a:extLst>
              <a:ext uri="{FF2B5EF4-FFF2-40B4-BE49-F238E27FC236}">
                <a16:creationId xmlns:a16="http://schemas.microsoft.com/office/drawing/2014/main" id="{4A044DD4-4FC9-2DCA-FF3B-DABEB0123D70}"/>
              </a:ext>
            </a:extLst>
          </p:cNvPr>
          <p:cNvSpPr>
            <a:spLocks noGrp="1"/>
          </p:cNvSpPr>
          <p:nvPr>
            <p:ph type="sldNum" sz="quarter" idx="5"/>
          </p:nvPr>
        </p:nvSpPr>
        <p:spPr/>
        <p:txBody>
          <a:bodyPr/>
          <a:lstStyle/>
          <a:p>
            <a:fld id="{DE4CB052-C253-4640-86CA-525C5FEBA7E5}" type="slidenum">
              <a:rPr lang="es-ES" smtClean="0"/>
              <a:t>19</a:t>
            </a:fld>
            <a:endParaRPr lang="es-ES"/>
          </a:p>
        </p:txBody>
      </p:sp>
    </p:spTree>
    <p:extLst>
      <p:ext uri="{BB962C8B-B14F-4D97-AF65-F5344CB8AC3E}">
        <p14:creationId xmlns:p14="http://schemas.microsoft.com/office/powerpoint/2010/main" val="37408654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A continuación, veremos las novedades en las guías para el manejo de la presión arterial elevada e hipertensión arteri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Hoy en día, la hipertensión arterial persiste desde los años 90 hasta la actualidad como el primer factor de riesgo de la enfermedad cardiovascula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n esta nueva edición de las guías de 2024, que sustituyen a las de 2018, tenemos hasta 57 nuevas recomendaciones distribuidas en los siguientes apartado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s-ES" dirty="0"/>
              <a:t>Medida presión arterial (4).</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s-ES" dirty="0"/>
              <a:t>Definición y clasificación (6).</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s-ES" dirty="0"/>
              <a:t>Diagnóstico (10).</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s-ES" dirty="0"/>
              <a:t>Prevención y tratamiento (12).</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s-ES" dirty="0"/>
              <a:t>Grupos específicos de pacientes (18).</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s-ES" dirty="0"/>
              <a:t>Cuidados centrados en el paciente (7).</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Tiene bastantes novedades en el apartado de prevención y tratamiento, así como en el de grupos específicos de pacientes, y toma mucha relevancia el apartado de cuidados centrados en el paciente.</a:t>
            </a:r>
          </a:p>
        </p:txBody>
      </p:sp>
      <p:sp>
        <p:nvSpPr>
          <p:cNvPr id="4" name="Marcador de número de diapositiva 3"/>
          <p:cNvSpPr>
            <a:spLocks noGrp="1"/>
          </p:cNvSpPr>
          <p:nvPr>
            <p:ph type="sldNum" sz="quarter" idx="5"/>
          </p:nvPr>
        </p:nvSpPr>
        <p:spPr/>
        <p:txBody>
          <a:bodyPr/>
          <a:lstStyle/>
          <a:p>
            <a:fld id="{DE4CB052-C253-4640-86CA-525C5FEBA7E5}" type="slidenum">
              <a:rPr lang="es-ES" smtClean="0"/>
              <a:t>20</a:t>
            </a:fld>
            <a:endParaRPr lang="es-ES"/>
          </a:p>
        </p:txBody>
      </p:sp>
    </p:spTree>
    <p:extLst>
      <p:ext uri="{BB962C8B-B14F-4D97-AF65-F5344CB8AC3E}">
        <p14:creationId xmlns:p14="http://schemas.microsoft.com/office/powerpoint/2010/main" val="40516754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48D1C2-21B2-4E2F-B220-6D0902319FC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252AB4BA-F0F7-74D5-3F7B-033E9773B63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245E191A-776C-E0F2-AAFD-6221EE9AF6C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dirty="0">
                <a:solidFill>
                  <a:schemeClr val="accent1"/>
                </a:solidFill>
              </a:rPr>
              <a:t>En esta actualización tenemos una nueva clasificación de hipertensión arteria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sz="1200" dirty="0">
              <a:solidFill>
                <a:schemeClr val="accent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ES" sz="1200" dirty="0">
                <a:solidFill>
                  <a:schemeClr val="accent1"/>
                </a:solidFill>
              </a:rPr>
              <a:t>Podemos ver que en la de 2018 el corte estaba en 140/90 y la hipertensión arterial tenía 3 grados según las cifras de presión arteria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sz="1200" dirty="0">
              <a:solidFill>
                <a:schemeClr val="accent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ES" sz="1200" dirty="0">
                <a:solidFill>
                  <a:schemeClr val="accent1"/>
                </a:solidFill>
              </a:rPr>
              <a:t>En la edición de 2024 de alguna manera se simplifican estas clasificaciones, pero aparece un grupo intermedio. Se es más exigente en decir que un paciente tiene presión arterial no elevada. Solamente son aquellos que tienen cifras de presión arterial &lt;120/ 70. Se mantiene el umbral de hipertensión en 140/90, pero aparece esta nueva categoría que se llama presión arterial elevada, que son sistólicas entre 120 y 139, y diastólicas entre 70 y 89.</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sz="1200" dirty="0">
              <a:solidFill>
                <a:schemeClr val="accent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ES" sz="1200" dirty="0">
                <a:solidFill>
                  <a:schemeClr val="accent1"/>
                </a:solidFill>
              </a:rPr>
              <a:t>Se tiene que recordar que las mediciones de forma ambulatoria tienen unos umbrales algo menores respecto las de consult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sz="1200" dirty="0">
              <a:solidFill>
                <a:schemeClr val="accent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ES" sz="1200" dirty="0">
                <a:solidFill>
                  <a:schemeClr val="accent1"/>
                </a:solidFill>
              </a:rPr>
              <a:t>Se hace hincapié en que todas las determinaciones en consulta para confirmar el diagnóstico de hipertensión se deben repetir de forma ambulatoria antes de tener el paciente diagnosticado de hipertensión.</a:t>
            </a:r>
          </a:p>
          <a:p>
            <a:endParaRPr lang="es-ES" dirty="0"/>
          </a:p>
        </p:txBody>
      </p:sp>
      <p:sp>
        <p:nvSpPr>
          <p:cNvPr id="4" name="Marcador de número de diapositiva 3">
            <a:extLst>
              <a:ext uri="{FF2B5EF4-FFF2-40B4-BE49-F238E27FC236}">
                <a16:creationId xmlns:a16="http://schemas.microsoft.com/office/drawing/2014/main" id="{5904E138-180C-B58B-4C92-AFF558CA0FE0}"/>
              </a:ext>
            </a:extLst>
          </p:cNvPr>
          <p:cNvSpPr>
            <a:spLocks noGrp="1"/>
          </p:cNvSpPr>
          <p:nvPr>
            <p:ph type="sldNum" sz="quarter" idx="5"/>
          </p:nvPr>
        </p:nvSpPr>
        <p:spPr/>
        <p:txBody>
          <a:bodyPr/>
          <a:lstStyle/>
          <a:p>
            <a:fld id="{DE4CB052-C253-4640-86CA-525C5FEBA7E5}" type="slidenum">
              <a:rPr lang="es-ES" smtClean="0"/>
              <a:t>21</a:t>
            </a:fld>
            <a:endParaRPr lang="es-ES"/>
          </a:p>
        </p:txBody>
      </p:sp>
    </p:spTree>
    <p:extLst>
      <p:ext uri="{BB962C8B-B14F-4D97-AF65-F5344CB8AC3E}">
        <p14:creationId xmlns:p14="http://schemas.microsoft.com/office/powerpoint/2010/main" val="34467091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2CF39C-16D7-5D6B-AB5B-D38956FB6AC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EB353D2D-001B-DDB3-3254-4E240EB59435}"/>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CAD05757-CB8D-9866-00F3-9A9103676979}"/>
              </a:ext>
            </a:extLst>
          </p:cNvPr>
          <p:cNvSpPr>
            <a:spLocks noGrp="1"/>
          </p:cNvSpPr>
          <p:nvPr>
            <p:ph type="body" idx="1"/>
          </p:nvPr>
        </p:nvSpPr>
        <p:spPr/>
        <p:txBody>
          <a:bodyPr/>
          <a:lstStyle/>
          <a:p>
            <a:r>
              <a:rPr lang="es-ES" dirty="0"/>
              <a:t>Expliquemos en mayor detalle qué representa cada una de estas figuras:</a:t>
            </a:r>
          </a:p>
          <a:p>
            <a:endParaRPr lang="es-ES" dirty="0"/>
          </a:p>
          <a:p>
            <a:r>
              <a:rPr lang="es-ES" dirty="0"/>
              <a:t>-Esta primera figura representa la fisiopatología de la PA elevada y la hipertensión. Como vemos, la fisiopatología de la hipertensión implica complejas interacciones entre factores ambientales y conductuales (donde ha de tener lugar la prevención), genes, redes hormonales y múltiples sistemas orgánicos (renal, cardiovascular y sistema nervioso central). Además, intervienen mecanismos vasculares e inmunitarios. La desregulación de estos procesos conduce a la hipertensión, que, si no se controla, puede desembocar en daño orgánico mediado por hipertensión y complicaciones cardiovasculares.</a:t>
            </a:r>
          </a:p>
          <a:p>
            <a:endParaRPr lang="es-ES" dirty="0"/>
          </a:p>
          <a:p>
            <a:r>
              <a:rPr lang="es-ES" dirty="0"/>
              <a:t>-En cuanto a la segunda figura, podemos ver las consecuencias clínicas de la PA elevada y la hipertensión. La hipertensión de larga duración provoca daños en los órganos y, en última instancia, conduce a enfermedades cardiovasculares, cerebrovasculares y renales clínicas, que contribuyen de forma importante a la carga mundial de enfermedades crónicas. Los órganos afectados negativamente por la PA elevada y la hipertensión incluyen el corazón, el cerebro, los riñones, los ojos y los vasos (</a:t>
            </a:r>
            <a:r>
              <a:rPr lang="es-ES" dirty="0" err="1"/>
              <a:t>macrocirculación</a:t>
            </a:r>
            <a:r>
              <a:rPr lang="es-ES" dirty="0"/>
              <a:t> y microcirculación en órganos con poca resistencia, como el cerebro o el riñón), que sufren cambios estructurales y funcionales.</a:t>
            </a:r>
          </a:p>
          <a:p>
            <a:endParaRPr lang="es-ES" dirty="0"/>
          </a:p>
          <a:p>
            <a:r>
              <a:rPr lang="es-ES" dirty="0"/>
              <a:t>Se debe intentar modificar todo factor de riesgo que se pueda (factores conductuales, ambientales, y socioeconómicos y psicosociales), más allá de los factores genéticos, con objetivos muy claros que son los de mejorar la calidad de vida de nuestros pacientes, la de reducir el daño de órgano diana que sabemos que tiene impacto pronóstico. Estos daños están representados en la figura de la derecha. Otro objetivo es la prevención de enfermedad cardiovascular, cerebrovascular, de enfermedad renal crónica, y de demencia vascular. En última instancia, la de prevención de muerte prematura.</a:t>
            </a:r>
          </a:p>
          <a:p>
            <a:endParaRPr lang="es-ES" dirty="0"/>
          </a:p>
        </p:txBody>
      </p:sp>
      <p:sp>
        <p:nvSpPr>
          <p:cNvPr id="4" name="Marcador de número de diapositiva 3">
            <a:extLst>
              <a:ext uri="{FF2B5EF4-FFF2-40B4-BE49-F238E27FC236}">
                <a16:creationId xmlns:a16="http://schemas.microsoft.com/office/drawing/2014/main" id="{6E5533A5-19D1-71CE-B1C3-672C1A5B536E}"/>
              </a:ext>
            </a:extLst>
          </p:cNvPr>
          <p:cNvSpPr>
            <a:spLocks noGrp="1"/>
          </p:cNvSpPr>
          <p:nvPr>
            <p:ph type="sldNum" sz="quarter" idx="5"/>
          </p:nvPr>
        </p:nvSpPr>
        <p:spPr/>
        <p:txBody>
          <a:bodyPr/>
          <a:lstStyle/>
          <a:p>
            <a:fld id="{DE4CB052-C253-4640-86CA-525C5FEBA7E5}" type="slidenum">
              <a:rPr lang="es-ES" smtClean="0"/>
              <a:t>22</a:t>
            </a:fld>
            <a:endParaRPr lang="es-ES"/>
          </a:p>
        </p:txBody>
      </p:sp>
    </p:spTree>
    <p:extLst>
      <p:ext uri="{BB962C8B-B14F-4D97-AF65-F5344CB8AC3E}">
        <p14:creationId xmlns:p14="http://schemas.microsoft.com/office/powerpoint/2010/main" val="168836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A continuación, revisaremos las principales novedades en las guías para el manejo de los </a:t>
            </a:r>
            <a:r>
              <a:rPr lang="es-ES_tradnl" sz="1200" dirty="0"/>
              <a:t>Síndromes Coronarios Crónico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Las Guías de 2019 de la ESC ya definieron los síndromes coronarios crónicos (SCC) para describir las presentaciones clínicas de la enfermedad arterial coronaria (EAC) en períodos estables, especialmente antes o después de un síndrome coronario agudo (SC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sta edición de las guías de 2024 reemplaza la guía del año 2019 y parte de las guías de revascularización miocárdica del año </a:t>
            </a:r>
            <a:r>
              <a:rPr lang="en-GB" dirty="0"/>
              <a:t>2018.</a:t>
            </a: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Incluye 80 nuevas recomendaciones, y destacan varios "nuevos actores“, incluyendo:</a:t>
            </a:r>
          </a:p>
          <a:p>
            <a:pPr marL="0" marR="0" lvl="0" indent="0" algn="l" defTabSz="914400" rtl="0" eaLnBrk="1" fontAlgn="auto" latinLnBrk="0" hangingPunct="1">
              <a:lnSpc>
                <a:spcPct val="100000"/>
              </a:lnSpc>
              <a:spcBef>
                <a:spcPts val="0"/>
              </a:spcBef>
              <a:spcAft>
                <a:spcPts val="0"/>
              </a:spcAft>
              <a:buClrTx/>
              <a:buSzTx/>
              <a:buFontTx/>
              <a:buNone/>
              <a:tabLst/>
              <a:defRPr/>
            </a:pPr>
            <a:br>
              <a:rPr lang="es-ES" dirty="0"/>
            </a:br>
            <a:r>
              <a:rPr lang="es-ES" dirty="0"/>
              <a:t>	- pacientes con ANOCA/INOCA;</a:t>
            </a:r>
            <a:br>
              <a:rPr lang="es-ES" dirty="0"/>
            </a:br>
            <a:r>
              <a:rPr lang="es-ES" dirty="0"/>
              <a:t>	- nuevas puntuaciones para estimar la probabilidad de obstrucción de grandes arterias;</a:t>
            </a:r>
            <a:br>
              <a:rPr lang="es-ES" dirty="0"/>
            </a:br>
            <a:r>
              <a:rPr lang="es-ES" dirty="0"/>
              <a:t>                        - pruebas no invasivas y invasivas para diagnosticar enfermedades relacionadas con los SCC;</a:t>
            </a:r>
            <a:br>
              <a:rPr lang="es-ES" dirty="0"/>
            </a:br>
            <a:r>
              <a:rPr lang="es-ES" dirty="0"/>
              <a:t>                        - beneficios emergentes de estilos de vida saludables y de intervenciones médicas e invasivas.</a:t>
            </a:r>
          </a:p>
        </p:txBody>
      </p:sp>
      <p:sp>
        <p:nvSpPr>
          <p:cNvPr id="4" name="Marcador de número de diapositiva 3"/>
          <p:cNvSpPr>
            <a:spLocks noGrp="1"/>
          </p:cNvSpPr>
          <p:nvPr>
            <p:ph type="sldNum" sz="quarter" idx="5"/>
          </p:nvPr>
        </p:nvSpPr>
        <p:spPr/>
        <p:txBody>
          <a:bodyPr/>
          <a:lstStyle/>
          <a:p>
            <a:fld id="{DE4CB052-C253-4640-86CA-525C5FEBA7E5}" type="slidenum">
              <a:rPr lang="es-ES" smtClean="0"/>
              <a:t>5</a:t>
            </a:fld>
            <a:endParaRPr lang="es-ES"/>
          </a:p>
        </p:txBody>
      </p:sp>
    </p:spTree>
    <p:extLst>
      <p:ext uri="{BB962C8B-B14F-4D97-AF65-F5344CB8AC3E}">
        <p14:creationId xmlns:p14="http://schemas.microsoft.com/office/powerpoint/2010/main" val="40516754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n lo que concierne al diagnóstico, </a:t>
            </a:r>
            <a:r>
              <a:rPr lang="es-ES" sz="1200" dirty="0">
                <a:solidFill>
                  <a:schemeClr val="accent1"/>
                </a:solidFill>
              </a:rPr>
              <a:t>se nos explica de forma detallada cómo determinar la presión arterial en los pacientes, ya sea en consulta, de forma ambulatoria o incluso con sistemas de monitorización ambulatoria: </a:t>
            </a:r>
          </a:p>
          <a:p>
            <a:endParaRPr lang="es-ES" dirty="0"/>
          </a:p>
          <a:p>
            <a:r>
              <a:rPr lang="es-ES" dirty="0"/>
              <a:t>Un requisito previo de la medición de la PA es que debe realizarse con un dispositivo que haya sido validado. De los dispositivos </a:t>
            </a:r>
            <a:r>
              <a:rPr lang="es-ES" dirty="0" err="1"/>
              <a:t>oscilométricos</a:t>
            </a:r>
            <a:r>
              <a:rPr lang="es-ES" dirty="0"/>
              <a:t> de medición de la PA disponibles en el mercado, tan sólo el 6% han sido testeados adecuadamente.</a:t>
            </a:r>
          </a:p>
          <a:p>
            <a:endParaRPr lang="es-ES" dirty="0"/>
          </a:p>
          <a:p>
            <a:r>
              <a:rPr lang="es-ES" b="1" dirty="0"/>
              <a:t>Medición de la presión arterial en el consultorio</a:t>
            </a:r>
            <a:r>
              <a:rPr lang="es-ES" dirty="0"/>
              <a:t>. Podemos ver un resumen de los pasos que recomienda la guía:</a:t>
            </a:r>
          </a:p>
          <a:p>
            <a:pPr marL="228600" indent="-228600">
              <a:buAutoNum type="arabicPeriod"/>
            </a:pPr>
            <a:r>
              <a:rPr lang="es-ES" b="0" dirty="0"/>
              <a:t>Preparación del paciente</a:t>
            </a:r>
            <a:r>
              <a:rPr lang="es-ES" dirty="0"/>
              <a:t>: se debe medir la presión arterial después de que el paciente haya estado sentado cómodamente durante 5 minutos en un ambiente tranquilo con tal de garantizar una lectura más precisa.</a:t>
            </a:r>
          </a:p>
          <a:p>
            <a:pPr marL="228600" indent="-228600">
              <a:buAutoNum type="arabicPeriod"/>
            </a:pPr>
            <a:r>
              <a:rPr lang="es-ES" dirty="0"/>
              <a:t>Uso del dispositivo adecuado: hay que utilizar un dispositivo validado con un brazalete de tamaño adecuado, el cual debe seleccionarse en función de la circunferencia del brazo del paciente.</a:t>
            </a:r>
          </a:p>
          <a:p>
            <a:pPr marL="228600" indent="-228600">
              <a:buAutoNum type="arabicPeriod"/>
            </a:pPr>
            <a:r>
              <a:rPr lang="es-ES" b="0" dirty="0"/>
              <a:t>Colocación del brazalete: se tiene que situar a la altura del corazón, con la espalda y el brazo del paciente apoyados. </a:t>
            </a:r>
          </a:p>
          <a:p>
            <a:pPr marL="228600" indent="-228600">
              <a:buAutoNum type="arabicPeriod"/>
            </a:pPr>
            <a:r>
              <a:rPr lang="es-ES" b="0" dirty="0"/>
              <a:t>Número de mediciones: lo ideal es medir la presión arterial tres veces, dejando un intervalo de 1 a 2 minutos entre cada medición. A continuación, se tiene que hacer el promedio de las últimas dos lecturas. </a:t>
            </a:r>
          </a:p>
          <a:p>
            <a:pPr marL="228600" indent="-228600">
              <a:buAutoNum type="arabicPeriod"/>
            </a:pPr>
            <a:r>
              <a:rPr lang="es-ES" b="0" dirty="0"/>
              <a:t>Variación en las mediciones: si las lecturas difieren en más de 10 </a:t>
            </a:r>
            <a:r>
              <a:rPr lang="es-ES" b="0" dirty="0" err="1"/>
              <a:t>mmHg</a:t>
            </a:r>
            <a:r>
              <a:rPr lang="es-ES" b="0" dirty="0"/>
              <a:t>, se deben realizar mediciones adicionales para obtener un valor confiable y descartar posibles errores en las mediciones.</a:t>
            </a:r>
          </a:p>
          <a:p>
            <a:pPr marL="228600" indent="-228600">
              <a:buAutoNum type="arabicPeriod"/>
            </a:pPr>
            <a:r>
              <a:rPr lang="es-ES" b="0" dirty="0"/>
              <a:t>Comparación entre brazos: durante la primera visita, la presión arterial debe ser medida en ambos brazos para detectar diferencias entre las lecturas. </a:t>
            </a:r>
          </a:p>
          <a:p>
            <a:pPr marL="228600" indent="-228600">
              <a:buAutoNum type="arabicPeriod"/>
            </a:pPr>
            <a:r>
              <a:rPr lang="es-ES" b="0" dirty="0"/>
              <a:t>Control del ritmo cardíaco: registra la frecuencia cardíaca y excluye posibles arritmias mediante la palpación del pulso. </a:t>
            </a:r>
          </a:p>
          <a:p>
            <a:pPr marL="228600" indent="-228600">
              <a:buAutoNum type="arabicPeriod"/>
            </a:pPr>
            <a:r>
              <a:rPr lang="es-ES" b="0" dirty="0"/>
              <a:t>Hipotensión ortostática</a:t>
            </a:r>
            <a:r>
              <a:rPr lang="es-ES" dirty="0"/>
              <a:t>: evalúa la presencia de hipotensión ortostática, especialmente en la primera visita, y continúa haciéndolo si el paciente presenta síntomas. </a:t>
            </a:r>
          </a:p>
          <a:p>
            <a:pPr marL="228600" indent="-228600">
              <a:buAutoNum type="arabicPeriod"/>
            </a:pPr>
            <a:endParaRPr lang="es-ES" dirty="0"/>
          </a:p>
          <a:p>
            <a:r>
              <a:rPr lang="es-ES" b="1" dirty="0"/>
              <a:t>Medición de la presión arterial en casa. </a:t>
            </a:r>
          </a:p>
          <a:p>
            <a:pPr marL="228600" indent="-228600">
              <a:buAutoNum type="arabicPeriod"/>
            </a:pPr>
            <a:r>
              <a:rPr lang="es-ES" b="0" dirty="0"/>
              <a:t>Uso de un dispositivo validado.</a:t>
            </a:r>
          </a:p>
          <a:p>
            <a:pPr marL="228600" indent="-228600">
              <a:buAutoNum type="arabicPeriod"/>
            </a:pPr>
            <a:r>
              <a:rPr lang="es-ES" b="0" dirty="0"/>
              <a:t>Medir la presión arterial en un ambiente tranquilo después de que la persona haya descansado 5 minutos, con el brazo y la espalda apoyados. </a:t>
            </a:r>
          </a:p>
          <a:p>
            <a:pPr marL="228600" indent="-228600">
              <a:buAutoNum type="arabicPeriod"/>
            </a:pPr>
            <a:r>
              <a:rPr lang="es-ES" b="0" dirty="0"/>
              <a:t>Se deben realizar dos mediciones separadas por 1-2 minutos. </a:t>
            </a:r>
          </a:p>
          <a:p>
            <a:pPr marL="228600" indent="-228600">
              <a:buAutoNum type="arabicPeriod"/>
            </a:pPr>
            <a:r>
              <a:rPr lang="es-ES" b="0" dirty="0"/>
              <a:t>Las mediciones se deben llevar a cabo dos veces al día, una en la mañana y otra en la tarde. Este procedimiento debe seguirse durante al menos 3 días, pero se recomienda que sea durante 7 días para obtener una mejor evaluación.</a:t>
            </a:r>
          </a:p>
          <a:p>
            <a:pPr marL="228600" indent="-228600">
              <a:buAutoNum type="arabicPeriod"/>
            </a:pPr>
            <a:r>
              <a:rPr lang="es-ES" b="0" dirty="0"/>
              <a:t>Finalmente, se deben registrar todas las lecturas y calcula el promedio de las mismas. Los resultados deben ser presentados </a:t>
            </a:r>
            <a:r>
              <a:rPr lang="es-ES" b="0"/>
              <a:t>al profesional sanitario </a:t>
            </a:r>
            <a:r>
              <a:rPr lang="es-ES" b="0" dirty="0"/>
              <a:t>para su evaluación.</a:t>
            </a:r>
            <a:endParaRPr lang="es-ES" dirty="0"/>
          </a:p>
          <a:p>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b="1" dirty="0"/>
              <a:t>Medición de la presión arterial de forma ambulatoria.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ES" b="0" dirty="0"/>
              <a:t>Uso de un dispositivo validado.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ES" b="0" dirty="0"/>
              <a:t>El dispositivo registra automáticamente la presión arterial a intervalos de 15 a 30 minutos durante el día y cada 30 a 60 minutos por la noche.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ES" b="0" dirty="0"/>
              <a:t>Es necesario que al menos el 70% de las mediciones realizadas por el dispositivo sean utilizables para que los datos obtenidos sean considerados válidos.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ES" b="0" dirty="0"/>
              <a:t>El paciente debe llevar un diario detallando sus actividades diarias, el consumo de medicamentos y las horas de sueño. Esto ayuda a correlacionar los datos de la presión arterial con las actividades y los hábitos diario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s-ES" b="0" dirty="0"/>
          </a:p>
          <a:p>
            <a:r>
              <a:rPr lang="es-ES" b="0" dirty="0"/>
              <a:t>La hipertensión ambulatoria se define cuando el promedio de las mediciones de 24 </a:t>
            </a:r>
            <a:r>
              <a:rPr lang="es-ES" b="0"/>
              <a:t>horas es </a:t>
            </a:r>
            <a:r>
              <a:rPr lang="es-ES" b="0">
                <a:latin typeface="Arial" panose="020B0604020202020204" pitchFamily="34" charset="0"/>
                <a:cs typeface="Arial" panose="020B0604020202020204" pitchFamily="34" charset="0"/>
              </a:rPr>
              <a:t>≥</a:t>
            </a:r>
            <a:r>
              <a:rPr lang="es-ES" b="0"/>
              <a:t> 130/80 </a:t>
            </a:r>
            <a:r>
              <a:rPr lang="es-ES" b="0" dirty="0" err="1"/>
              <a:t>mmHg</a:t>
            </a:r>
            <a:r>
              <a:rPr lang="es-ES" b="0" dirty="0"/>
              <a:t>, o cuando el promedio durante el </a:t>
            </a:r>
            <a:r>
              <a:rPr lang="es-ES" b="0"/>
              <a:t>día es </a:t>
            </a:r>
            <a:r>
              <a:rPr lang="es-ES" b="0">
                <a:latin typeface="Arial" panose="020B0604020202020204" pitchFamily="34" charset="0"/>
                <a:cs typeface="Arial" panose="020B0604020202020204" pitchFamily="34" charset="0"/>
              </a:rPr>
              <a:t>≥</a:t>
            </a:r>
            <a:r>
              <a:rPr lang="es-ES" b="0"/>
              <a:t>135/85 </a:t>
            </a:r>
            <a:r>
              <a:rPr lang="es-ES" b="0" dirty="0" err="1"/>
              <a:t>mmHg</a:t>
            </a:r>
            <a:r>
              <a:rPr lang="es-ES" b="0" dirty="0"/>
              <a:t>, o bien, cuando el promedio nocturno </a:t>
            </a:r>
            <a:r>
              <a:rPr lang="es-ES" b="0"/>
              <a:t>es </a:t>
            </a:r>
            <a:r>
              <a:rPr lang="es-ES" b="0">
                <a:latin typeface="Arial" panose="020B0604020202020204" pitchFamily="34" charset="0"/>
                <a:cs typeface="Arial" panose="020B0604020202020204" pitchFamily="34" charset="0"/>
              </a:rPr>
              <a:t>≥</a:t>
            </a:r>
            <a:r>
              <a:rPr lang="es-ES" b="0"/>
              <a:t>120/70 </a:t>
            </a:r>
            <a:r>
              <a:rPr lang="es-ES" b="0" dirty="0" err="1"/>
              <a:t>mmHg</a:t>
            </a:r>
            <a:r>
              <a:rPr lang="es-ES" b="0" dirty="0"/>
              <a:t>. </a:t>
            </a:r>
            <a:endParaRPr lang="es-ES" dirty="0"/>
          </a:p>
        </p:txBody>
      </p:sp>
      <p:sp>
        <p:nvSpPr>
          <p:cNvPr id="4" name="Marcador de número de diapositiva 3"/>
          <p:cNvSpPr>
            <a:spLocks noGrp="1"/>
          </p:cNvSpPr>
          <p:nvPr>
            <p:ph type="sldNum" sz="quarter" idx="5"/>
          </p:nvPr>
        </p:nvSpPr>
        <p:spPr/>
        <p:txBody>
          <a:bodyPr/>
          <a:lstStyle/>
          <a:p>
            <a:fld id="{DE4CB052-C253-4640-86CA-525C5FEBA7E5}" type="slidenum">
              <a:rPr lang="es-ES" smtClean="0"/>
              <a:t>23</a:t>
            </a:fld>
            <a:endParaRPr lang="es-ES"/>
          </a:p>
        </p:txBody>
      </p:sp>
    </p:spTree>
    <p:extLst>
      <p:ext uri="{BB962C8B-B14F-4D97-AF65-F5344CB8AC3E}">
        <p14:creationId xmlns:p14="http://schemas.microsoft.com/office/powerpoint/2010/main" val="37364428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661890-C45A-CB36-0530-44FE53D0676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0640105-CD71-CAB3-48A2-2AF5F27E9361}"/>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EB1FEB8-26FC-CB84-2011-893A95BE4BC2}"/>
              </a:ext>
            </a:extLst>
          </p:cNvPr>
          <p:cNvSpPr>
            <a:spLocks noGrp="1"/>
          </p:cNvSpPr>
          <p:nvPr>
            <p:ph type="body" idx="1"/>
          </p:nvPr>
        </p:nvSpPr>
        <p:spPr/>
        <p:txBody>
          <a:bodyPr/>
          <a:lstStyle/>
          <a:p>
            <a:r>
              <a:rPr lang="es-ES" dirty="0"/>
              <a:t>La guía explica que a todos los pacientes que llegan al consultorio se les debería tamizar (screening) la hipertensión: </a:t>
            </a:r>
          </a:p>
          <a:p>
            <a:endParaRPr lang="es-ES" dirty="0"/>
          </a:p>
          <a:p>
            <a:r>
              <a:rPr lang="es-ES" dirty="0"/>
              <a:t>- Si el paciente no es hipertenso, es decir, tiene una presión &lt;120/70, se debería seguir evaluando cada año si es mayor de 40 años, y cada 3 años si es menor de 40 años. </a:t>
            </a:r>
          </a:p>
          <a:p>
            <a:endParaRPr lang="es-ES" dirty="0"/>
          </a:p>
          <a:p>
            <a:r>
              <a:rPr lang="es-ES" dirty="0"/>
              <a:t>- Si el paciente tiene hipertensión (</a:t>
            </a:r>
            <a:r>
              <a:rPr lang="es-ES"/>
              <a:t>cifras &gt;140/90</a:t>
            </a:r>
            <a:r>
              <a:rPr lang="es-ES" dirty="0"/>
              <a:t>), se le debería realizar una confirmación de la misma de forma ambulatoria con un automonitoreo o un monitoreo ambulatorio.</a:t>
            </a:r>
          </a:p>
          <a:p>
            <a:endParaRPr lang="es-ES" dirty="0"/>
          </a:p>
          <a:p>
            <a:r>
              <a:rPr lang="es-ES" dirty="0"/>
              <a:t>- Si el paciente cae en la categoría de presión arterial elevada, se le evaluará su riesgo cardiovascular. Según esto, se evaluará si se deberá confirmar o no su presión arterial. </a:t>
            </a:r>
          </a:p>
        </p:txBody>
      </p:sp>
      <p:sp>
        <p:nvSpPr>
          <p:cNvPr id="4" name="Marcador de número de diapositiva 3">
            <a:extLst>
              <a:ext uri="{FF2B5EF4-FFF2-40B4-BE49-F238E27FC236}">
                <a16:creationId xmlns:a16="http://schemas.microsoft.com/office/drawing/2014/main" id="{73F735D5-31B9-6643-8CA3-F1E63D8DEA01}"/>
              </a:ext>
            </a:extLst>
          </p:cNvPr>
          <p:cNvSpPr>
            <a:spLocks noGrp="1"/>
          </p:cNvSpPr>
          <p:nvPr>
            <p:ph type="sldNum" sz="quarter" idx="5"/>
          </p:nvPr>
        </p:nvSpPr>
        <p:spPr/>
        <p:txBody>
          <a:bodyPr/>
          <a:lstStyle/>
          <a:p>
            <a:fld id="{DE4CB052-C253-4640-86CA-525C5FEBA7E5}" type="slidenum">
              <a:rPr lang="es-ES" smtClean="0"/>
              <a:t>24</a:t>
            </a:fld>
            <a:endParaRPr lang="es-ES"/>
          </a:p>
        </p:txBody>
      </p:sp>
    </p:spTree>
    <p:extLst>
      <p:ext uri="{BB962C8B-B14F-4D97-AF65-F5344CB8AC3E}">
        <p14:creationId xmlns:p14="http://schemas.microsoft.com/office/powerpoint/2010/main" val="40575567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621B97-E99A-D68C-DF4E-433FECBD9F2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2E51ACE-AF59-5516-D515-97E639D76F1C}"/>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49D47EB-0972-F4C1-26F9-CE3E244D7E63}"/>
              </a:ext>
            </a:extLst>
          </p:cNvPr>
          <p:cNvSpPr>
            <a:spLocks noGrp="1"/>
          </p:cNvSpPr>
          <p:nvPr>
            <p:ph type="body" idx="1"/>
          </p:nvPr>
        </p:nvSpPr>
        <p:spPr/>
        <p:txBody>
          <a:bodyPr/>
          <a:lstStyle/>
          <a:p>
            <a:r>
              <a:rPr lang="es-ES" dirty="0"/>
              <a:t>La evaluación de LOD es una forma importante de identificar a los adultos jóvenes &lt;40 años que tienen un mayor riesgo de ECV, ya que el riesgo de ECV estimado a 10 años por SCORE2 no se puede calcular en este grupo de edad. En esta figura se proporcionan más detalles sobre los umbrales diagnósticos para LOD según las diversas opciones de evaluación, incluidas las diferencias importantes entre los sexos.</a:t>
            </a:r>
          </a:p>
        </p:txBody>
      </p:sp>
      <p:sp>
        <p:nvSpPr>
          <p:cNvPr id="4" name="Marcador de número de diapositiva 3">
            <a:extLst>
              <a:ext uri="{FF2B5EF4-FFF2-40B4-BE49-F238E27FC236}">
                <a16:creationId xmlns:a16="http://schemas.microsoft.com/office/drawing/2014/main" id="{0096AD7B-E447-9342-A330-E57B44124AF3}"/>
              </a:ext>
            </a:extLst>
          </p:cNvPr>
          <p:cNvSpPr>
            <a:spLocks noGrp="1"/>
          </p:cNvSpPr>
          <p:nvPr>
            <p:ph type="sldNum" sz="quarter" idx="5"/>
          </p:nvPr>
        </p:nvSpPr>
        <p:spPr/>
        <p:txBody>
          <a:bodyPr/>
          <a:lstStyle/>
          <a:p>
            <a:fld id="{DE4CB052-C253-4640-86CA-525C5FEBA7E5}" type="slidenum">
              <a:rPr lang="es-ES" smtClean="0"/>
              <a:t>25</a:t>
            </a:fld>
            <a:endParaRPr lang="es-ES"/>
          </a:p>
        </p:txBody>
      </p:sp>
    </p:spTree>
    <p:extLst>
      <p:ext uri="{BB962C8B-B14F-4D97-AF65-F5344CB8AC3E}">
        <p14:creationId xmlns:p14="http://schemas.microsoft.com/office/powerpoint/2010/main" val="108671982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9352C2-75A6-56AF-4B34-81516E5E3836}"/>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257E3BE8-40F3-7F9F-4BC8-69AD57D613C8}"/>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9CBB862-B976-0B8E-D6D0-C5D97002C59C}"/>
              </a:ext>
            </a:extLst>
          </p:cNvPr>
          <p:cNvSpPr>
            <a:spLocks noGrp="1"/>
          </p:cNvSpPr>
          <p:nvPr>
            <p:ph type="body" idx="1"/>
          </p:nvPr>
        </p:nvSpPr>
        <p:spPr/>
        <p:txBody>
          <a:bodyPr/>
          <a:lstStyle/>
          <a:p>
            <a:r>
              <a:rPr lang="es-ES_tradnl" dirty="0"/>
              <a:t>En las siguientes tablas se pueden encontrar las recomendaciones para el manejo de LOD vascular, de riñón y de corazón.</a:t>
            </a:r>
          </a:p>
          <a:p>
            <a:endParaRPr lang="es-ES_tradnl" dirty="0"/>
          </a:p>
          <a:p>
            <a:r>
              <a:rPr lang="es-ES_tradnl" b="1" dirty="0"/>
              <a:t>LOD vascular</a:t>
            </a:r>
            <a:r>
              <a:rPr lang="es-ES_tradnl" dirty="0"/>
              <a:t>: </a:t>
            </a:r>
            <a:r>
              <a:rPr lang="es-ES" dirty="0"/>
              <a:t>LOD microvascular se puede evaluar mediante </a:t>
            </a:r>
            <a:r>
              <a:rPr lang="es-ES" dirty="0" err="1"/>
              <a:t>fundoscopia</a:t>
            </a:r>
            <a:r>
              <a:rPr lang="es-ES" dirty="0"/>
              <a:t>. En individuos hipertensos, la presencia de retinopatía hipertensiva leve o moderada se asocia con un mayor riesgo de eventos </a:t>
            </a:r>
            <a:r>
              <a:rPr lang="es-ES" dirty="0" err="1"/>
              <a:t>CVs</a:t>
            </a:r>
            <a:r>
              <a:rPr lang="es-ES" dirty="0"/>
              <a:t>. La </a:t>
            </a:r>
            <a:r>
              <a:rPr lang="es-ES" dirty="0" err="1"/>
              <a:t>fundoscopia</a:t>
            </a:r>
            <a:r>
              <a:rPr lang="es-ES" dirty="0"/>
              <a:t> se recomienda también en pacientes diabéticos hipertensos y en el estudio de la hipertensión maligna y las urgencias hipertensivas. La ecografía carotídea detecta la presencia o ausencia de placa carotídea (espesor de la pared ≥ 1,5 mm) y estenosis. La tomografía computarizada (TC) cardíaca se puede utilizar para medir la CAC. </a:t>
            </a:r>
            <a:endParaRPr lang="es-ES_tradnl" dirty="0"/>
          </a:p>
          <a:p>
            <a:endParaRPr lang="es-ES_tradnl" dirty="0"/>
          </a:p>
          <a:p>
            <a:r>
              <a:rPr lang="es-ES_tradnl" b="1" dirty="0"/>
              <a:t>LOD</a:t>
            </a:r>
            <a:r>
              <a:rPr lang="es-ES_tradnl" dirty="0"/>
              <a:t> </a:t>
            </a:r>
            <a:r>
              <a:rPr lang="es-ES_tradnl" b="1" dirty="0"/>
              <a:t>riñón</a:t>
            </a:r>
            <a:r>
              <a:rPr lang="es-ES_tradnl" dirty="0"/>
              <a:t>: </a:t>
            </a:r>
            <a:r>
              <a:rPr lang="es-ES" dirty="0"/>
              <a:t>La función renal se evalúa inicialmente mediante creatinina sérica y una ecuación que estima la tasa de filtración glomerular (</a:t>
            </a:r>
            <a:r>
              <a:rPr lang="es-ES" dirty="0" err="1"/>
              <a:t>TFGe</a:t>
            </a:r>
            <a:r>
              <a:rPr lang="es-ES" dirty="0"/>
              <a:t>) y, por lo general, para la proteinuria. Se recomienda repetir la medición de la </a:t>
            </a:r>
            <a:r>
              <a:rPr lang="es-ES" dirty="0" err="1"/>
              <a:t>TFGe</a:t>
            </a:r>
            <a:r>
              <a:rPr lang="es-ES" dirty="0"/>
              <a:t> y del cociente albúmina-creatinina (ACR) en orina al menos una vez al año si se diagnostica ERC clínicamente significativa. También se debe considerar la ecografía renal y el examen Doppler para evaluar las causas de la ERC y excluir la hipertensión </a:t>
            </a:r>
            <a:r>
              <a:rPr lang="es-ES" dirty="0" err="1"/>
              <a:t>renoparenquimatosa</a:t>
            </a:r>
            <a:r>
              <a:rPr lang="es-ES" dirty="0"/>
              <a:t> y renovascular (HBV).</a:t>
            </a:r>
            <a:endParaRPr lang="es-ES_tradnl" dirty="0"/>
          </a:p>
          <a:p>
            <a:endParaRPr lang="es-ES_tradnl" dirty="0"/>
          </a:p>
          <a:p>
            <a:r>
              <a:rPr lang="es-ES_tradnl" b="1" dirty="0"/>
              <a:t>LOD corazón</a:t>
            </a:r>
            <a:r>
              <a:rPr lang="es-ES_tradnl" dirty="0"/>
              <a:t>: </a:t>
            </a:r>
            <a:r>
              <a:rPr lang="es-ES" dirty="0"/>
              <a:t>La ecocardiografía se recomienda en pacientes con hipertensión cuando el ECG es anormal, se detectan soplos o hay síntomas cardíacos. Se debe realizar un ecocardiograma completo, estandarizado y bidimensional, preferiblemente con Doppler tisular y evaluación de esfuerzo.</a:t>
            </a:r>
          </a:p>
        </p:txBody>
      </p:sp>
      <p:sp>
        <p:nvSpPr>
          <p:cNvPr id="4" name="Marcador de número de diapositiva 3">
            <a:extLst>
              <a:ext uri="{FF2B5EF4-FFF2-40B4-BE49-F238E27FC236}">
                <a16:creationId xmlns:a16="http://schemas.microsoft.com/office/drawing/2014/main" id="{FF273094-8AC6-6A5E-9302-650824245762}"/>
              </a:ext>
            </a:extLst>
          </p:cNvPr>
          <p:cNvSpPr>
            <a:spLocks noGrp="1"/>
          </p:cNvSpPr>
          <p:nvPr>
            <p:ph type="sldNum" sz="quarter" idx="5"/>
          </p:nvPr>
        </p:nvSpPr>
        <p:spPr/>
        <p:txBody>
          <a:bodyPr/>
          <a:lstStyle/>
          <a:p>
            <a:fld id="{DE4CB052-C253-4640-86CA-525C5FEBA7E5}" type="slidenum">
              <a:rPr lang="es-ES" smtClean="0"/>
              <a:t>26</a:t>
            </a:fld>
            <a:endParaRPr lang="es-ES"/>
          </a:p>
        </p:txBody>
      </p:sp>
    </p:spTree>
    <p:extLst>
      <p:ext uri="{BB962C8B-B14F-4D97-AF65-F5344CB8AC3E}">
        <p14:creationId xmlns:p14="http://schemas.microsoft.com/office/powerpoint/2010/main" val="35177444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D4A7AE-795A-10AE-E566-28C1FEB6C2B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B774DD71-ECC8-3F58-2F7B-9D5948AE2B6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7639897-A605-A95F-9991-9262F82C9445}"/>
              </a:ext>
            </a:extLst>
          </p:cNvPr>
          <p:cNvSpPr>
            <a:spLocks noGrp="1"/>
          </p:cNvSpPr>
          <p:nvPr>
            <p:ph type="body" idx="1"/>
          </p:nvPr>
        </p:nvSpPr>
        <p:spPr/>
        <p:txBody>
          <a:bodyPr/>
          <a:lstStyle/>
          <a:p>
            <a:r>
              <a:rPr lang="es-ES" dirty="0"/>
              <a:t>¿Cuándo debemos tratar a un paciente de este nuevo grupo de presión arterial elevada? </a:t>
            </a:r>
          </a:p>
          <a:p>
            <a:endParaRPr lang="es-ES" dirty="0"/>
          </a:p>
          <a:p>
            <a:r>
              <a:rPr lang="es-ES" dirty="0"/>
              <a:t>Se debe estratificar el riesgo en este tipo de pacientes. Primero de todo, debemos determinar si el paciente sufre una condición de alto riesgo cardiovascular, como podría ser la enfermedad cardiovascular ya establecida. </a:t>
            </a:r>
          </a:p>
          <a:p>
            <a:endParaRPr lang="es-ES" dirty="0"/>
          </a:p>
          <a:p>
            <a:r>
              <a:rPr lang="es-ES" dirty="0"/>
              <a:t>En caso de que no lo cumpla, debemos pasar a un segundo paso, que es el de calcular mediante calculadoras de riesgo el riesgo cardiovascular a 10 años. </a:t>
            </a:r>
          </a:p>
          <a:p>
            <a:endParaRPr lang="es-ES" dirty="0"/>
          </a:p>
          <a:p>
            <a:r>
              <a:rPr lang="es-ES" dirty="0"/>
              <a:t>Si este es intermedio entre el 5 y el 10%, tenemos que considerar factores modificadores del riesgo, ya sean generales o específicos de sexo, que es otro de los factores toma relevancia en esta nueva edición de las guías. </a:t>
            </a:r>
          </a:p>
          <a:p>
            <a:endParaRPr lang="es-ES" dirty="0"/>
          </a:p>
          <a:p>
            <a:r>
              <a:rPr lang="es-ES" dirty="0"/>
              <a:t>Y, finalmente, si todavía surgieran dudas de si tenemos que tratar a estos pacientes, podemos considerar un test de riesgo como sería el </a:t>
            </a:r>
            <a:r>
              <a:rPr lang="es-ES"/>
              <a:t>calcio Score </a:t>
            </a:r>
            <a:r>
              <a:rPr lang="es-ES" dirty="0"/>
              <a:t>o la eco carotídea.</a:t>
            </a:r>
          </a:p>
        </p:txBody>
      </p:sp>
      <p:sp>
        <p:nvSpPr>
          <p:cNvPr id="4" name="Marcador de número de diapositiva 3">
            <a:extLst>
              <a:ext uri="{FF2B5EF4-FFF2-40B4-BE49-F238E27FC236}">
                <a16:creationId xmlns:a16="http://schemas.microsoft.com/office/drawing/2014/main" id="{166387E0-25CA-3BBD-09B1-32FA511C1A87}"/>
              </a:ext>
            </a:extLst>
          </p:cNvPr>
          <p:cNvSpPr>
            <a:spLocks noGrp="1"/>
          </p:cNvSpPr>
          <p:nvPr>
            <p:ph type="sldNum" sz="quarter" idx="5"/>
          </p:nvPr>
        </p:nvSpPr>
        <p:spPr/>
        <p:txBody>
          <a:bodyPr/>
          <a:lstStyle/>
          <a:p>
            <a:fld id="{DE4CB052-C253-4640-86CA-525C5FEBA7E5}" type="slidenum">
              <a:rPr lang="es-ES" smtClean="0"/>
              <a:t>27</a:t>
            </a:fld>
            <a:endParaRPr lang="es-ES"/>
          </a:p>
        </p:txBody>
      </p:sp>
    </p:spTree>
    <p:extLst>
      <p:ext uri="{BB962C8B-B14F-4D97-AF65-F5344CB8AC3E}">
        <p14:creationId xmlns:p14="http://schemas.microsoft.com/office/powerpoint/2010/main" val="15207144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AACB2E-5C9E-FD4F-A2A8-29281200E01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5081A2C8-62E9-333E-F730-9FF7F9D1737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D2FB44B7-2101-FE38-11F6-82DE6BC367DB}"/>
              </a:ext>
            </a:extLst>
          </p:cNvPr>
          <p:cNvSpPr>
            <a:spLocks noGrp="1"/>
          </p:cNvSpPr>
          <p:nvPr>
            <p:ph type="body" idx="1"/>
          </p:nvPr>
        </p:nvSpPr>
        <p:spPr/>
        <p:txBody>
          <a:bodyPr/>
          <a:lstStyle/>
          <a:p>
            <a:r>
              <a:rPr lang="es-ES" dirty="0"/>
              <a:t>En cuanto al tratamiento, se clasifica en medidas no farmacológicas y medidas farmacológicas.</a:t>
            </a:r>
          </a:p>
          <a:p>
            <a:endParaRPr lang="es-ES" dirty="0"/>
          </a:p>
          <a:p>
            <a:r>
              <a:rPr lang="es-ES" dirty="0"/>
              <a:t>Respecto a las medidas no farmacológicas, se mantienen recomendaciones como cese del tabaco, reducción del consumo de alcohol, la restricción sódica a 2 gramos al día, mantener un peso adecuado y estable. Si que aparece una novedad en la actividad física, y es que menciona al ejercicio dinámico, pero también al isométrico como medida no farmacológica para el control de la presión arterial. Una novedad de este apartado es que se recomienda aumentar el consumo de potasio de 0,5-1 gramos por día en sustitución de sales sódicas, siempre y cuando el paciente no sufra de enfermedad renal moderada o grave. Otra gran novedad es la restricción de azúcares libres, especialmente aquellos que provienen de bebidas azucaradas.</a:t>
            </a:r>
          </a:p>
          <a:p>
            <a:endParaRPr lang="es-ES" dirty="0"/>
          </a:p>
          <a:p>
            <a:r>
              <a:rPr lang="es-ES" dirty="0"/>
              <a:t>Otra de las novedades que se recoge en la actualización de las guías es la de cuando solamente emplear medidas no farmacológicas, o cuando emplear tanto medidas farmacológicas como no farmacológicas en el tratamiento de los pacientes con presión arterial elevada (cifras de entre 120 y 139 en la sistólica, o que no llegaban a 90 en la diastólica).</a:t>
            </a:r>
          </a:p>
          <a:p>
            <a:endParaRPr lang="es-ES" dirty="0"/>
          </a:p>
          <a:p>
            <a:r>
              <a:rPr lang="es-ES" dirty="0"/>
              <a:t>En los grupos con riesgo cardiovascular bajo o medio solo nos tenemos que centrar en cambios en el estilo de vida. No obstante, en los pacientes que sufren de riesgo cardiovascular alto, se les da 3 meses para cambios del estilo de vida. Si no se consiguen las cifras objetivo, pasamos ya a tratamiento farmacológico.</a:t>
            </a:r>
          </a:p>
          <a:p>
            <a:endParaRPr lang="es-ES" dirty="0"/>
          </a:p>
          <a:p>
            <a:r>
              <a:rPr lang="es-ES" dirty="0"/>
              <a:t>La guía es bastante agresiva con el tratamiento de pacientes que cumplen el criterio de hipertensión arterial. De inicio, cambios de estilo de vida más fármacos, independientemente del riesgo cardiovascular del paciente.</a:t>
            </a:r>
          </a:p>
          <a:p>
            <a:endParaRPr lang="es-ES" dirty="0"/>
          </a:p>
          <a:p>
            <a:r>
              <a:rPr lang="es-ES" dirty="0"/>
              <a:t>Por lo que hace a las medidas farmacológicas, el diagrama de flujo inicial sin grandes novedades, la recomendación es comenzar con doble terapia a dosis bajas. El segundo paso en caso de no controlar las cifras de presión arterial sería iniciar una triple terapia, también a dosis bajas. El tercer paso, sería la titulación de estos tres fármacos hasta dosis máximas. En este caso es cuando debemos hablar del paciente como un aparente estado de hipertensión resistente.</a:t>
            </a:r>
          </a:p>
          <a:p>
            <a:endParaRPr lang="es-ES" dirty="0"/>
          </a:p>
          <a:p>
            <a:endParaRPr lang="es-ES" dirty="0"/>
          </a:p>
          <a:p>
            <a:endParaRPr lang="es-ES" dirty="0"/>
          </a:p>
        </p:txBody>
      </p:sp>
      <p:sp>
        <p:nvSpPr>
          <p:cNvPr id="4" name="Marcador de número de diapositiva 3">
            <a:extLst>
              <a:ext uri="{FF2B5EF4-FFF2-40B4-BE49-F238E27FC236}">
                <a16:creationId xmlns:a16="http://schemas.microsoft.com/office/drawing/2014/main" id="{DC946FDB-F3B2-CA9D-9B58-B01F215CC2F3}"/>
              </a:ext>
            </a:extLst>
          </p:cNvPr>
          <p:cNvSpPr>
            <a:spLocks noGrp="1"/>
          </p:cNvSpPr>
          <p:nvPr>
            <p:ph type="sldNum" sz="quarter" idx="5"/>
          </p:nvPr>
        </p:nvSpPr>
        <p:spPr/>
        <p:txBody>
          <a:bodyPr/>
          <a:lstStyle/>
          <a:p>
            <a:fld id="{DE4CB052-C253-4640-86CA-525C5FEBA7E5}" type="slidenum">
              <a:rPr lang="es-ES" smtClean="0"/>
              <a:t>28</a:t>
            </a:fld>
            <a:endParaRPr lang="es-ES"/>
          </a:p>
        </p:txBody>
      </p:sp>
    </p:spTree>
    <p:extLst>
      <p:ext uri="{BB962C8B-B14F-4D97-AF65-F5344CB8AC3E}">
        <p14:creationId xmlns:p14="http://schemas.microsoft.com/office/powerpoint/2010/main" val="17575203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F90129-C821-C934-5785-4A45C26D88A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781C239-9378-708A-D312-343759680F5A}"/>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DC23A670-02E4-2317-AB05-2F8DA66CCDB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Pasemos a comentar las recomendaciones que aparecen en la actualización de las guías de 2024.</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b="1" dirty="0"/>
              <a:t>Para el tratamiento de la hipertensió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Los antagonistas de los receptores de la angiotensina II (ARA-II) han demostrado estar entre los fármacos reductores de la presión arterial y eventos cardiovasculares más efectivos. Por ello, están recomendados como tratamientos de primera línea para disminuir la presión arteri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Dada la evidencia de los ensayos sobre un control más eficaz de la PA frente a la monoterapia, se recomienda el tratamiento combinado hipotensor para la mayoría de los pacientes con hipertensión confirmada (PA ≥140/90 </a:t>
            </a:r>
            <a:r>
              <a:rPr lang="es-ES" dirty="0" err="1"/>
              <a:t>mmHg</a:t>
            </a:r>
            <a:r>
              <a:rPr lang="es-ES" dirty="0"/>
              <a:t>) como terapia inicial. Las combinaciones preferidas son un bloqueante del sistema renina-angiotensina (un IECA o un ARA-II) con un BCC </a:t>
            </a:r>
            <a:r>
              <a:rPr lang="es-ES" dirty="0" err="1"/>
              <a:t>dihidropiridínico</a:t>
            </a:r>
            <a:r>
              <a:rPr lang="es-ES" dirty="0"/>
              <a:t> o un diurético. Las excepciones a tener en cuenta son los pacientes de edad ≥85 años, aquellos con hipotensión ortostática sintomática, fragilidad moderada-grave o PA elevada (PA sistólica 120-139 </a:t>
            </a:r>
            <a:r>
              <a:rPr lang="es-ES" dirty="0" err="1"/>
              <a:t>mmHg</a:t>
            </a:r>
            <a:r>
              <a:rPr lang="es-ES" dirty="0"/>
              <a:t> o PA diastólica 70-89 </a:t>
            </a:r>
            <a:r>
              <a:rPr lang="es-ES" dirty="0" err="1"/>
              <a:t>mmHg</a:t>
            </a:r>
            <a:r>
              <a:rPr lang="es-ES" dirty="0"/>
              <a:t>) con una indicación concomitante de tratamient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Sin embargo, la combinación de dos antagonistas del sistema renina-angiotensina (IECA y un ARA-II) no está recomendad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b="1" dirty="0"/>
              <a:t>Para el manejo de la hipertensión en pacientes con enfermedad renal crónic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b="0" dirty="0"/>
              <a:t>-Los IECA y ARA-II son más efectivos en reducir la albuminuria que otros agentes reductores de la PA, y deberían ser considerados como parte de la estrategia de tratamiento para pacientes con hipertensión y microalbuminuria o proteinuri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s-E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b="1" dirty="0"/>
              <a:t>Para el manejo de la hipertensión en pacientes con enfermedad cardiac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b="0" dirty="0"/>
              <a:t>-En pacientes con insuficiencia cardíaca con fracción de eyección preservada y pacientes con insuficiencia cardíaca con fracción de eyección (ligeramente) reducida, los siguientes tratamientos están recomendados: </a:t>
            </a:r>
            <a:r>
              <a:rPr lang="es-ES" b="0" dirty="0" err="1"/>
              <a:t>IECAs</a:t>
            </a:r>
            <a:r>
              <a:rPr lang="es-ES" b="0" dirty="0"/>
              <a:t> o ARA-II si los </a:t>
            </a:r>
            <a:r>
              <a:rPr lang="es-ES" b="0" dirty="0" err="1"/>
              <a:t>IECAs</a:t>
            </a:r>
            <a:r>
              <a:rPr lang="es-ES" b="0" dirty="0"/>
              <a:t> no están tolerados, o bien </a:t>
            </a:r>
            <a:r>
              <a:rPr lang="pt-BR" b="0" dirty="0" err="1"/>
              <a:t>ARNi</a:t>
            </a:r>
            <a:r>
              <a:rPr lang="pt-BR" b="0" dirty="0"/>
              <a:t>, </a:t>
            </a:r>
            <a:r>
              <a:rPr lang="pt-BR" b="0" dirty="0" err="1"/>
              <a:t>betabloqueantes</a:t>
            </a:r>
            <a:r>
              <a:rPr lang="pt-BR" b="0" dirty="0"/>
              <a:t>, ARM e </a:t>
            </a:r>
            <a:r>
              <a:rPr lang="pt-BR" b="0" dirty="0" err="1"/>
              <a:t>inhibidores</a:t>
            </a:r>
            <a:r>
              <a:rPr lang="pt-BR" b="0" dirty="0"/>
              <a:t> de SGLT2.</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BR" b="0" dirty="0"/>
          </a:p>
          <a:p>
            <a:pPr marL="0" marR="0" lvl="0" indent="0" algn="l" defTabSz="914400" rtl="0" eaLnBrk="1" fontAlgn="auto" latinLnBrk="0" hangingPunct="1">
              <a:lnSpc>
                <a:spcPct val="100000"/>
              </a:lnSpc>
              <a:spcBef>
                <a:spcPts val="0"/>
              </a:spcBef>
              <a:spcAft>
                <a:spcPts val="0"/>
              </a:spcAft>
              <a:buClrTx/>
              <a:buSzTx/>
              <a:buFontTx/>
              <a:buNone/>
              <a:tabLst/>
              <a:defRPr/>
            </a:pPr>
            <a:r>
              <a:rPr lang="pt-BR" b="0" dirty="0"/>
              <a:t>-</a:t>
            </a:r>
            <a:r>
              <a:rPr lang="es-ES" b="0" dirty="0"/>
              <a:t>En pacientes con insuficiencia cardíaca con fracción de eyección preservada sintomática con PA por encima del objetivo, puede considerarse el uso de ARA-II y/o ARM para reducir las hospitalizaciones por insuficiencia cardíaca y reducir la P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p:txBody>
      </p:sp>
      <p:sp>
        <p:nvSpPr>
          <p:cNvPr id="4" name="Marcador de número de diapositiva 3">
            <a:extLst>
              <a:ext uri="{FF2B5EF4-FFF2-40B4-BE49-F238E27FC236}">
                <a16:creationId xmlns:a16="http://schemas.microsoft.com/office/drawing/2014/main" id="{4711F510-B471-6195-C833-ABA0A7F172A2}"/>
              </a:ext>
            </a:extLst>
          </p:cNvPr>
          <p:cNvSpPr>
            <a:spLocks noGrp="1"/>
          </p:cNvSpPr>
          <p:nvPr>
            <p:ph type="sldNum" sz="quarter" idx="5"/>
          </p:nvPr>
        </p:nvSpPr>
        <p:spPr/>
        <p:txBody>
          <a:bodyPr/>
          <a:lstStyle/>
          <a:p>
            <a:fld id="{DE4CB052-C253-4640-86CA-525C5FEBA7E5}" type="slidenum">
              <a:rPr lang="es-ES" smtClean="0"/>
              <a:t>29</a:t>
            </a:fld>
            <a:endParaRPr lang="es-ES"/>
          </a:p>
        </p:txBody>
      </p:sp>
    </p:spTree>
    <p:extLst>
      <p:ext uri="{BB962C8B-B14F-4D97-AF65-F5344CB8AC3E}">
        <p14:creationId xmlns:p14="http://schemas.microsoft.com/office/powerpoint/2010/main" val="8761987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CF4CEC-8804-FD99-0781-76BD27CB757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9B3E059-2D5E-B273-D419-3B5879ABD3E6}"/>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B25BEF89-E91E-AC34-B971-66AB7DFB6E6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b="1" dirty="0"/>
              <a:t>Manejo de la hipertensión en el embaraz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s-ES" dirty="0"/>
              <a:t>La hipertensión en el embarazo se define típicamente como una PA sistólica de ≥140 </a:t>
            </a:r>
            <a:r>
              <a:rPr lang="es-ES" dirty="0" err="1"/>
              <a:t>mmHg</a:t>
            </a:r>
            <a:r>
              <a:rPr lang="es-ES" dirty="0"/>
              <a:t> y/o PA diastólica de ≥90 </a:t>
            </a:r>
            <a:r>
              <a:rPr lang="es-ES" dirty="0" err="1"/>
              <a:t>mmHg</a:t>
            </a:r>
            <a:r>
              <a:rPr lang="es-ES" dirty="0"/>
              <a:t>, medida mediante lecturas repetidas de PA en el consultorio o en el hospital en dos ocasiones separadas o con ≥15 minutos de diferencia en la hipertensión grave (≥160/110 </a:t>
            </a:r>
            <a:r>
              <a:rPr lang="es-ES" dirty="0" err="1"/>
              <a:t>mmHg</a:t>
            </a:r>
            <a:r>
              <a:rPr lang="es-ES" dirty="0"/>
              <a: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s-ES" dirty="0"/>
              <a:t>En mujeres con hipertensión gestacional o crónico, se recomienda empezar un tratamiento cuando la PA está </a:t>
            </a:r>
            <a:r>
              <a:rPr lang="es-ES" sz="1800" b="0" i="0" u="none" strike="noStrike" baseline="0" dirty="0">
                <a:solidFill>
                  <a:srgbClr val="000000"/>
                </a:solidFill>
                <a:latin typeface="STIX General"/>
              </a:rPr>
              <a:t>≥</a:t>
            </a:r>
            <a:r>
              <a:rPr lang="es-ES" sz="1800" b="0" i="0" u="none" strike="noStrike" baseline="0" dirty="0">
                <a:solidFill>
                  <a:srgbClr val="000000"/>
                </a:solidFill>
                <a:latin typeface="Gill Sans Nova" panose="020B0602020104020203" pitchFamily="34" charset="0"/>
              </a:rPr>
              <a:t>140 </a:t>
            </a:r>
            <a:r>
              <a:rPr lang="es-ES" sz="1800" b="0" i="0" u="none" strike="noStrike" baseline="0" dirty="0" err="1">
                <a:solidFill>
                  <a:srgbClr val="000000"/>
                </a:solidFill>
                <a:latin typeface="Gill Sans Nova" panose="020B0602020104020203" pitchFamily="34" charset="0"/>
              </a:rPr>
              <a:t>mmHg</a:t>
            </a:r>
            <a:r>
              <a:rPr lang="es-ES" sz="1800" b="0" i="0" u="none" strike="noStrike" baseline="0" dirty="0">
                <a:solidFill>
                  <a:srgbClr val="000000"/>
                </a:solidFill>
                <a:latin typeface="Gill Sans Nova" panose="020B0602020104020203" pitchFamily="34" charset="0"/>
              </a:rPr>
              <a:t> .</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s-ES" sz="1800" b="0" i="0" u="none" strike="noStrike" baseline="0" dirty="0">
              <a:solidFill>
                <a:srgbClr val="000000"/>
              </a:solidFill>
              <a:latin typeface="Gill Sans Nova" panose="020B06020201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ES" b="1" dirty="0"/>
              <a:t>Manejo de la hipertensión en pacientes con DM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s-ES" dirty="0"/>
              <a:t>Los pacientes con diabetes (tanto tipo 1 como tipo 2) a menudo tienen presión arterial elevada o hipertensión, y tienen aproximadamente el doble de probabilidades de sufrir un evento cardiovascular importante a mediano y largo plazo en comparación con aquellos sin diabetes.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s-ES" dirty="0"/>
              <a:t>Los pacientes con diabetes tienen un riesgo de ECV del ≥10% a 10 años. Sin embargo, se debe considerar la estimación formal del riesgo con el uso de SCORE2-Diabetes entre los pacientes con diabetes mellitus tipo 2 si tienen &lt;60 años.</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b="1" dirty="0"/>
              <a:t>Manejo de la hipertensión en pacientes con ictus:</a:t>
            </a:r>
          </a:p>
          <a:p>
            <a:pPr marL="0" marR="0" lvl="0" indent="0" algn="l" defTabSz="914400" rtl="0" eaLnBrk="1" fontAlgn="auto" latinLnBrk="0" hangingPunct="1">
              <a:lnSpc>
                <a:spcPct val="100000"/>
              </a:lnSpc>
              <a:spcBef>
                <a:spcPts val="0"/>
              </a:spcBef>
              <a:spcAft>
                <a:spcPts val="0"/>
              </a:spcAft>
              <a:buClrTx/>
              <a:buSzTx/>
              <a:buFontTx/>
              <a:buNone/>
              <a:tabLst/>
              <a:defRPr/>
            </a:pPr>
            <a:r>
              <a:rPr lang="es-ES" b="0" dirty="0"/>
              <a:t>- En pacientes con antecedentes de accidente isquémico transitorio y accidente cerebrovascular isquémico, el tratamiento para reducir la presión arterial reduce el riesgo de accidente cerebrovascular recurrente en un 20%. La etiología del ictus puede afectar al grado de reducción del riesgo con el tratamiento farmacológico, observándose mayores reducciones para la hemorragia intracerebral y los síndromes de ictus lacunar isquémico. </a:t>
            </a:r>
          </a:p>
        </p:txBody>
      </p:sp>
      <p:sp>
        <p:nvSpPr>
          <p:cNvPr id="4" name="Marcador de número de diapositiva 3">
            <a:extLst>
              <a:ext uri="{FF2B5EF4-FFF2-40B4-BE49-F238E27FC236}">
                <a16:creationId xmlns:a16="http://schemas.microsoft.com/office/drawing/2014/main" id="{396C6973-9106-7A76-F5A9-FFD8C87F804D}"/>
              </a:ext>
            </a:extLst>
          </p:cNvPr>
          <p:cNvSpPr>
            <a:spLocks noGrp="1"/>
          </p:cNvSpPr>
          <p:nvPr>
            <p:ph type="sldNum" sz="quarter" idx="5"/>
          </p:nvPr>
        </p:nvSpPr>
        <p:spPr/>
        <p:txBody>
          <a:bodyPr/>
          <a:lstStyle/>
          <a:p>
            <a:fld id="{DE4CB052-C253-4640-86CA-525C5FEBA7E5}" type="slidenum">
              <a:rPr lang="es-ES" smtClean="0"/>
              <a:t>30</a:t>
            </a:fld>
            <a:endParaRPr lang="es-ES"/>
          </a:p>
        </p:txBody>
      </p:sp>
    </p:spTree>
    <p:extLst>
      <p:ext uri="{BB962C8B-B14F-4D97-AF65-F5344CB8AC3E}">
        <p14:creationId xmlns:p14="http://schemas.microsoft.com/office/powerpoint/2010/main" val="21111727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E1A315-69A9-02A5-A52B-03E213C97B3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D35EF05-AB9F-F6C5-118A-78C715EEBC0F}"/>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BCCE8D07-945F-FDD4-38B1-F1D19943A1B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n 2023, la ESH publicó sus directrices detalladas para el «tratamiento de la hipertensión arterial», seguidas de sus directrices prácticas publicadas en 2024, una versión más simplificada para facilitar su aplicación por parte de los médicos de cabecer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n 2024, la ESC también ha publicado sus directrices detalladas para el «tratamiento de la presión arterial elevada y la hipertensió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b="1" dirty="0"/>
              <a:t>Las directrices de la ESC de 2024 se han beneficiado de las nuevas pruebas publicadas desde las directrices de la ESH de 2023, que se han incorporado a las directrices de la ESC de 2024.</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Aquí algunas </a:t>
            </a:r>
            <a:r>
              <a:rPr lang="es-ES" b="1" dirty="0"/>
              <a:t>similitudes</a:t>
            </a:r>
            <a:r>
              <a:rPr lang="es-ES" dirty="0"/>
              <a:t> </a:t>
            </a:r>
            <a:r>
              <a:rPr lang="es-ES" b="1" dirty="0"/>
              <a:t>clav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ES" b="1" dirty="0"/>
              <a:t>Umbral diagnóstico</a:t>
            </a:r>
            <a:r>
              <a:rPr lang="es-ES" dirty="0"/>
              <a:t>: Ambas directrices reconocen el mismo umbral de presión arterial en la consulta para la hipertensión: 140/90 </a:t>
            </a:r>
            <a:r>
              <a:rPr lang="es-ES" dirty="0" err="1"/>
              <a:t>mmHg</a:t>
            </a:r>
            <a:r>
              <a:rPr lang="es-ES" dirty="0"/>
              <a:t>.</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ES" b="1" dirty="0"/>
              <a:t>Medición de la presión arterial</a:t>
            </a:r>
            <a:r>
              <a:rPr lang="es-ES" dirty="0"/>
              <a:t>: Ambas directrices se basan en la medición en el consultorio, pero ambas hacen mucho más hincapié en la implementación de la monitorización fuera del consultorio (domiciliaria y ambulatoria) para confirmar el diagnóstico de hipertensión. Ambas hacen hincapié en la </a:t>
            </a:r>
            <a:r>
              <a:rPr lang="es-ES" dirty="0" err="1"/>
              <a:t>automedición</a:t>
            </a:r>
            <a:r>
              <a:rPr lang="es-ES" dirty="0"/>
              <a:t> o la medición domiciliaria para la monitorización a largo plazo. Ninguna recomienda nuevos dispositivos usables sin manguito para la atención clínica.</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ES" b="1" dirty="0"/>
              <a:t>Inicio del tratamiento hipotensor</a:t>
            </a:r>
            <a:r>
              <a:rPr lang="es-ES" dirty="0"/>
              <a:t>: Aunque ambas guías recomiendan la evaluación del riesgo cardiovascular, ninguna de ellas se basa únicamente en esta evaluación para guiar el inicio del tratamiento farmacológico, que recomiendan intervenciones sobre el estilo de vida y tratamiento farmacológico para la mayoría de los pacientes con una presión arterial en </a:t>
            </a:r>
            <a:r>
              <a:rPr lang="es-ES"/>
              <a:t>consulta &gt;140/90 </a:t>
            </a:r>
            <a:r>
              <a:rPr lang="es-ES" dirty="0" err="1"/>
              <a:t>mmHg</a:t>
            </a:r>
            <a:r>
              <a:rPr lang="es-ES" dirty="0"/>
              <a:t>, confirmada con una medición fuera de la consulta. Al igual que las principales directrices e informes recientes, tanto las directrices de la ESH como las de la ESC recomiendan un tratamiento combinado de dos fármacos en un solo comprimido como tratamiento inicial.</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ES" b="1" dirty="0"/>
              <a:t>Objetivos del tratamiento</a:t>
            </a:r>
            <a:r>
              <a:rPr lang="es-ES" dirty="0"/>
              <a:t>: Ambas directrices recomiendan un objetivo de presión arterial &lt;130/80 </a:t>
            </a:r>
            <a:r>
              <a:rPr lang="es-ES" dirty="0" err="1"/>
              <a:t>mmHg</a:t>
            </a:r>
            <a:r>
              <a:rPr lang="es-ES" dirty="0"/>
              <a:t> para la mayoría de los pacientes, si se tolera bien.</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ES" b="1" dirty="0"/>
              <a:t>Seguimiento y consecución del objetivo de presión arterial</a:t>
            </a:r>
            <a:r>
              <a:rPr lang="es-ES" dirty="0"/>
              <a:t>: Ambas recomiendan un seguimiento frecuente (aproximadamente 1 vez al mes) con el objetivo de alcanzar el objetivo de presión arterial a los 3 mese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ES" b="1" dirty="0"/>
              <a:t>Otros puntos</a:t>
            </a:r>
            <a:r>
              <a:rPr lang="es-ES" dirty="0"/>
              <a:t>: Tanto las directrices de la ESC como las de la ESH difieren de la mayoría de las directrices anteriores en que recomendar sistemáticamente el uso de sal enriquecida con potasio. Ambas guías recomiendan los inhibidores de SGLT2 para el tratamiento de la enfermedad renal crónica y la insuficiencia cardiaca. Ambas directrices recomiendan también la denervación renal como tratamiento complementario opcional para tratar la hipertensión resistente o la hipertensión no controlada en personas con mayor riesgo cardiovascular.</a:t>
            </a:r>
          </a:p>
        </p:txBody>
      </p:sp>
      <p:sp>
        <p:nvSpPr>
          <p:cNvPr id="4" name="Marcador de número de diapositiva 3">
            <a:extLst>
              <a:ext uri="{FF2B5EF4-FFF2-40B4-BE49-F238E27FC236}">
                <a16:creationId xmlns:a16="http://schemas.microsoft.com/office/drawing/2014/main" id="{FB937F05-8CD7-FD7B-407E-376D2C28361F}"/>
              </a:ext>
            </a:extLst>
          </p:cNvPr>
          <p:cNvSpPr>
            <a:spLocks noGrp="1"/>
          </p:cNvSpPr>
          <p:nvPr>
            <p:ph type="sldNum" sz="quarter" idx="5"/>
          </p:nvPr>
        </p:nvSpPr>
        <p:spPr/>
        <p:txBody>
          <a:bodyPr/>
          <a:lstStyle/>
          <a:p>
            <a:fld id="{DE4CB052-C253-4640-86CA-525C5FEBA7E5}" type="slidenum">
              <a:rPr lang="es-ES" smtClean="0"/>
              <a:t>31</a:t>
            </a:fld>
            <a:endParaRPr lang="es-ES"/>
          </a:p>
        </p:txBody>
      </p:sp>
    </p:spTree>
    <p:extLst>
      <p:ext uri="{BB962C8B-B14F-4D97-AF65-F5344CB8AC3E}">
        <p14:creationId xmlns:p14="http://schemas.microsoft.com/office/powerpoint/2010/main" val="429169955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AE1EEC-19BF-EC74-4AEB-969D86D530D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4317DFF-3850-EAD3-5B3A-A62B4C883711}"/>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8955BDD4-0B2A-AA9A-19D7-4EBA9AC8344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Algunas de las principales características de las nuevas directrices del ESC son las siguien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ES" dirty="0"/>
              <a:t>El sexo y el género son componentes integrales de las directrices, no se destacan como una sección separada, como sí sucede en la mayor parte de las guía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s-ES"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ES" dirty="0"/>
              <a:t>Simplificar las clasificaciones de la presión arterial en sólo tres categorías: presión arterial no elevada (&lt;120/70 </a:t>
            </a:r>
            <a:r>
              <a:rPr lang="es-ES" dirty="0" err="1"/>
              <a:t>mmHg</a:t>
            </a:r>
            <a:r>
              <a:rPr lang="es-ES" dirty="0"/>
              <a:t>), presión arterial elevada (120-139 </a:t>
            </a:r>
            <a:r>
              <a:rPr lang="es-ES" dirty="0" err="1"/>
              <a:t>mmHg</a:t>
            </a:r>
            <a:r>
              <a:rPr lang="es-ES" dirty="0"/>
              <a:t>/70-89 </a:t>
            </a:r>
            <a:r>
              <a:rPr lang="es-ES" dirty="0" err="1"/>
              <a:t>mmHg</a:t>
            </a:r>
            <a:r>
              <a:rPr lang="es-ES" dirty="0"/>
              <a:t>) e hipertensión (≥140/90 </a:t>
            </a:r>
            <a:r>
              <a:rPr lang="es-ES" dirty="0" err="1"/>
              <a:t>mmHg</a:t>
            </a:r>
            <a:r>
              <a:rPr lang="es-ES" dirty="0"/>
              <a:t>). Por lo tanto, cambia la clasificación respecto a las guías de 2018 y se crea una nueva categoría de presión arterial elevada, que son aquellos pacientes con sistólicas entre 120 y 139, y diastólicas entre 70 y 89.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s-ES"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ES" dirty="0"/>
              <a:t>En este nuevo grupo se hace indispensable la evaluación del riesgo cardiovascular para decidir las estrategias de tratamiento.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s-ES"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ES" dirty="0"/>
              <a:t>Los pacientes en la categoría de presión arterial elevada (con presión arterial ≥130/80 </a:t>
            </a:r>
            <a:r>
              <a:rPr lang="es-ES" err="1"/>
              <a:t>mmHg</a:t>
            </a:r>
            <a:r>
              <a:rPr lang="es-ES"/>
              <a:t> tras 3 </a:t>
            </a:r>
            <a:r>
              <a:rPr lang="es-ES" dirty="0"/>
              <a:t>meses de medidas relacionadas con el estilo de vida) y en situación de riesgo elevado deben empezar a recibir tratamiento farmacológico, ya que está demostrado que alrededor del 30% de los años de vida años de vida perdidos por enfermedades cardiovasculares se dan en personas con una presión arterial sistólica entre 115 y 140 </a:t>
            </a:r>
            <a:r>
              <a:rPr lang="es-ES" dirty="0" err="1"/>
              <a:t>mmHg</a:t>
            </a:r>
            <a:r>
              <a:rPr lang="es-ES" dirty="0"/>
              <a:t>.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s-ES"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ES" dirty="0"/>
              <a:t>El objetivo de las guías se vuelve más exigente y ponen como cifra objetivo la presión arterial sistólica de 120 a 129, o </a:t>
            </a:r>
            <a:r>
              <a:rPr lang="es-ES" b="1" dirty="0"/>
              <a:t>cuanto más baja </a:t>
            </a:r>
            <a:r>
              <a:rPr lang="es-ES" sz="1200" b="1" u="none" dirty="0">
                <a:solidFill>
                  <a:schemeClr val="accent1"/>
                </a:solidFill>
              </a:rPr>
              <a:t>como sea razonablemente alcanzable por paciente (ALARA).  </a:t>
            </a:r>
            <a:r>
              <a:rPr lang="es-ES" sz="1200" b="0" i="1" u="none" dirty="0">
                <a:solidFill>
                  <a:schemeClr val="accent1"/>
                </a:solidFill>
              </a:rPr>
              <a:t>(Específicamente, mientras que las directrices anteriores generalmente recomendaban que los pacientes fueran tratados hasta una PA &lt;140/90 </a:t>
            </a:r>
            <a:r>
              <a:rPr lang="es-ES" sz="1200" b="0" i="1" u="none" dirty="0" err="1">
                <a:solidFill>
                  <a:schemeClr val="accent1"/>
                </a:solidFill>
              </a:rPr>
              <a:t>mmHg</a:t>
            </a:r>
            <a:r>
              <a:rPr lang="es-ES" sz="1200" b="0" i="1" u="none" dirty="0">
                <a:solidFill>
                  <a:schemeClr val="accent1"/>
                </a:solidFill>
              </a:rPr>
              <a:t> en primera instancia y solo después se considerara el tratamiento hasta &lt;130/80 </a:t>
            </a:r>
            <a:r>
              <a:rPr lang="es-ES" sz="1200" b="0" i="1" u="none" dirty="0" err="1">
                <a:solidFill>
                  <a:schemeClr val="accent1"/>
                </a:solidFill>
              </a:rPr>
              <a:t>mmHg</a:t>
            </a:r>
            <a:r>
              <a:rPr lang="es-ES" sz="1200" b="0" i="1" u="none" dirty="0">
                <a:solidFill>
                  <a:schemeClr val="accent1"/>
                </a:solidFill>
              </a:rPr>
              <a:t> (un enfoque de 2 pasos), las nuevas directrices de 2024 recomiendan que la mayoría de los pacientes sean tratados hasta una PA sistólica de 120-129 </a:t>
            </a:r>
            <a:r>
              <a:rPr lang="es-ES" sz="1200" b="0" i="1" u="none" dirty="0" err="1">
                <a:solidFill>
                  <a:schemeClr val="accent1"/>
                </a:solidFill>
              </a:rPr>
              <a:t>mmHg</a:t>
            </a:r>
            <a:r>
              <a:rPr lang="es-ES" sz="1200" b="0" i="1" u="none" dirty="0">
                <a:solidFill>
                  <a:schemeClr val="accent1"/>
                </a:solidFill>
              </a:rPr>
              <a:t> en primera instancia (aquellos que no pueden tolerar este objetivo pueden tenerlo relajado). «Este cambio está impulsado por nuevas pruebas de ensayos que confirman que los objetivos de tratamiento más intensivos de la PA reducen los resultados de ECV en un amplio espectro de pacientes elegible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s-ES" sz="1200" b="0" i="1" u="none" dirty="0">
              <a:solidFill>
                <a:schemeClr val="accent1"/>
              </a:solidFill>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ES" sz="1200" b="0" i="0" u="none" dirty="0">
                <a:solidFill>
                  <a:schemeClr val="accent1"/>
                </a:solidFill>
              </a:rPr>
              <a:t>En parte para dar cabida a este nuevo intervalo objetivo de tratamiento más intensivo de la PA sistólica, las directrices de la ESC de 2024 proporcionan recomendaciones más firmes que las directrices anteriores para el uso de mediciones de PA fuera del consultorio (incluidos los monitores de PA ambulatorios y los monitores de PA domésticos validados).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s-ES"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ES" dirty="0"/>
              <a:t>Por primera vez, una directriz sobre hipertensión recomienda la terapia combinada triple a dosis bajas como segundo paso del tratamiento. Se trata de un paso clave para añadir un tercer fármaco en lugar de aumentar las dosis de la terapia existente para lograr una mayor disminución de la presión arterial.</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s-ES" sz="1200" b="0" u="none" dirty="0">
              <a:solidFill>
                <a:schemeClr val="accent1"/>
              </a:solidFill>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ES" sz="1200" b="0" u="none" dirty="0">
                <a:solidFill>
                  <a:schemeClr val="accent1"/>
                </a:solidFill>
              </a:rPr>
              <a:t>Finalmente, estas nuevas directrices de la ESC también actualizan los consejos dietéticos sobre la ingesta de sodio y potasio y subrayan la importancia de modificar el estilo de vida de los pacientes en diferentes circunstancias y estadios de ECV y enfermedad renal crónica.</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s-ES" sz="1200" b="0" u="none" dirty="0">
              <a:solidFill>
                <a:schemeClr val="accent1"/>
              </a:solidFill>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ES" dirty="0"/>
              <a:t>Las Guías 2024 también hacen recomendaciones, por primera vez, sobre el uso de la denervación renal para el tratamiento de la hipertensión. Debido a la falta de pruebas sobre los beneficios cardiovasculares, las directrices no recomiendan este procedimiento médico como tratamiento de primera línea, y tampoco se recomienda para pacientes con una función renal muy deteriorada (</a:t>
            </a:r>
            <a:r>
              <a:rPr lang="es-ES" dirty="0" err="1"/>
              <a:t>eGFR</a:t>
            </a:r>
            <a:r>
              <a:rPr lang="es-ES" dirty="0"/>
              <a:t> &lt;40 </a:t>
            </a:r>
            <a:r>
              <a:rPr lang="es-ES" dirty="0" err="1"/>
              <a:t>mL</a:t>
            </a:r>
            <a:r>
              <a:rPr lang="es-ES" dirty="0"/>
              <a:t>/min/1,73 m2) o causas secundarias de hipertensión. </a:t>
            </a:r>
          </a:p>
        </p:txBody>
      </p:sp>
      <p:sp>
        <p:nvSpPr>
          <p:cNvPr id="4" name="Marcador de número de diapositiva 3">
            <a:extLst>
              <a:ext uri="{FF2B5EF4-FFF2-40B4-BE49-F238E27FC236}">
                <a16:creationId xmlns:a16="http://schemas.microsoft.com/office/drawing/2014/main" id="{EA509B62-A552-97AE-0099-20A0F55F8216}"/>
              </a:ext>
            </a:extLst>
          </p:cNvPr>
          <p:cNvSpPr>
            <a:spLocks noGrp="1"/>
          </p:cNvSpPr>
          <p:nvPr>
            <p:ph type="sldNum" sz="quarter" idx="5"/>
          </p:nvPr>
        </p:nvSpPr>
        <p:spPr/>
        <p:txBody>
          <a:bodyPr/>
          <a:lstStyle/>
          <a:p>
            <a:fld id="{DE4CB052-C253-4640-86CA-525C5FEBA7E5}" type="slidenum">
              <a:rPr lang="es-ES" smtClean="0"/>
              <a:t>32</a:t>
            </a:fld>
            <a:endParaRPr lang="es-ES"/>
          </a:p>
        </p:txBody>
      </p:sp>
    </p:spTree>
    <p:extLst>
      <p:ext uri="{BB962C8B-B14F-4D97-AF65-F5344CB8AC3E}">
        <p14:creationId xmlns:p14="http://schemas.microsoft.com/office/powerpoint/2010/main" val="35358135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00B047-48D6-146E-FB96-9F4E93780B5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4E99CFB-B34D-3000-C059-94A04C4B15EF}"/>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ACB79E09-1980-7AEC-8AF1-E320EF7FCC5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Las diferencias principales entre el síndrome coronario agudo y crónico están en el grado de reducción del flujo sanguíneo y en la agudeza y severidad de los evento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Las nuevas guías europeas del síndrome coronario crónico (SCC) han incluido 82 nuevas recomendaciones, y han sido desarrolladas por 28 miembros de un grupo de trabajo, incluidos 26 expertos y 2 pacientes. La contribución de los pacientes fue fundamental, ya que ayudó a mantener el enfoque en sus perspectivas, en un contenido claro y comprensibl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Uno de cada 20 adultos en el mundo sufre de SCC, y este número va en aumento debido a una mayor supervivencia, mejor reconocimiento de la enfermedad y un nuevo enfoque en los vasos cardíacos tanto grandes como pequeño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La enfermedad arterial coronaria (EAC) se definía en guías anteriores como el proceso patológico caracterizado por la acumulación de placas ateroscleróticas en las arterias </a:t>
            </a:r>
            <a:r>
              <a:rPr lang="es-ES" dirty="0" err="1"/>
              <a:t>epicárdicas</a:t>
            </a:r>
            <a:r>
              <a:rPr lang="es-ES" dirty="0"/>
              <a:t>, ya sean obstructivas o no obstructivas.  El concepto de "síndromes coronarios crónicos" ha evolucionado en esta guía del 2024  para abarcar una variedad más amplia de manifestaciones clínicas, superando la idea tradicional de enfermedad coronaria estable, e incluyen tanto </a:t>
            </a:r>
            <a:r>
              <a:rPr lang="es-ES" b="1" dirty="0"/>
              <a:t>alteraciones estructurales como funcionales </a:t>
            </a:r>
            <a:r>
              <a:rPr lang="es-ES" dirty="0"/>
              <a:t>asociadas a las condiciones crónicas de las arterias coronarias.</a:t>
            </a:r>
          </a:p>
        </p:txBody>
      </p:sp>
      <p:sp>
        <p:nvSpPr>
          <p:cNvPr id="4" name="Marcador de número de diapositiva 3">
            <a:extLst>
              <a:ext uri="{FF2B5EF4-FFF2-40B4-BE49-F238E27FC236}">
                <a16:creationId xmlns:a16="http://schemas.microsoft.com/office/drawing/2014/main" id="{40D5760F-E8DE-564A-DB2E-CD45A41E9FA1}"/>
              </a:ext>
            </a:extLst>
          </p:cNvPr>
          <p:cNvSpPr>
            <a:spLocks noGrp="1"/>
          </p:cNvSpPr>
          <p:nvPr>
            <p:ph type="sldNum" sz="quarter" idx="5"/>
          </p:nvPr>
        </p:nvSpPr>
        <p:spPr/>
        <p:txBody>
          <a:bodyPr/>
          <a:lstStyle/>
          <a:p>
            <a:fld id="{DE4CB052-C253-4640-86CA-525C5FEBA7E5}" type="slidenum">
              <a:rPr lang="es-ES" smtClean="0"/>
              <a:t>6</a:t>
            </a:fld>
            <a:endParaRPr lang="es-ES"/>
          </a:p>
        </p:txBody>
      </p:sp>
    </p:spTree>
    <p:extLst>
      <p:ext uri="{BB962C8B-B14F-4D97-AF65-F5344CB8AC3E}">
        <p14:creationId xmlns:p14="http://schemas.microsoft.com/office/powerpoint/2010/main" val="41687625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E15B45-B8CD-2772-BCFF-170319BA0BC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2D260C89-7CE0-29F2-C234-1CC2D58BBB74}"/>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C13DCD4-D6A9-D0D3-A225-BD49CC965C4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Seguiremos comentando las actualizaciones de la guía para el manejo de la enfermedad arterial periférica y patología aórtic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sta guía tiene como peculiaridad que unifica dos guías previas, la guía de la patología aorta publicada en 2014 y la guía de la enfermedad arterial periférica que se publicó en 2017. La combinación de ambas conlleva unas 133 nuevas recomendaciones. Se presentan una serie de ideas que son constantes a lo largo de toda la guí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La aorta y las arterias periféricas son componentes integrales del mismo sistema arterial. Los trastornos en un lecho arterial a menudo tienen implicaciones para el otro y comparten factores de riesgo similar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Con lo cual, combinar las guías proporciona recomendaciones coherentes y estandarizadas para el manejo de las enfermedades arteriales en su conjunt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sto garantiza que los pacientes reciban una atención coherente y coordinad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p:txBody>
      </p:sp>
      <p:sp>
        <p:nvSpPr>
          <p:cNvPr id="4" name="Marcador de número de diapositiva 3">
            <a:extLst>
              <a:ext uri="{FF2B5EF4-FFF2-40B4-BE49-F238E27FC236}">
                <a16:creationId xmlns:a16="http://schemas.microsoft.com/office/drawing/2014/main" id="{F3DF9522-9751-4A03-9CD5-4AE4220B5F31}"/>
              </a:ext>
            </a:extLst>
          </p:cNvPr>
          <p:cNvSpPr>
            <a:spLocks noGrp="1"/>
          </p:cNvSpPr>
          <p:nvPr>
            <p:ph type="sldNum" sz="quarter" idx="5"/>
          </p:nvPr>
        </p:nvSpPr>
        <p:spPr/>
        <p:txBody>
          <a:bodyPr/>
          <a:lstStyle/>
          <a:p>
            <a:fld id="{DE4CB052-C253-4640-86CA-525C5FEBA7E5}" type="slidenum">
              <a:rPr lang="es-ES" smtClean="0"/>
              <a:t>33</a:t>
            </a:fld>
            <a:endParaRPr lang="es-ES"/>
          </a:p>
        </p:txBody>
      </p:sp>
    </p:spTree>
    <p:extLst>
      <p:ext uri="{BB962C8B-B14F-4D97-AF65-F5344CB8AC3E}">
        <p14:creationId xmlns:p14="http://schemas.microsoft.com/office/powerpoint/2010/main" val="10639949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639D74-BD4E-E503-1AFE-3F2E6E76E34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0036A9E-BF9C-AB87-AEAE-E4A38A127FE9}"/>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74F70D8-AF4E-4E96-ED71-62B1E4BA826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l LDL-C es un factor fundamental en la aterosclerosis, y la diabetes y la exposición al tabaco amplifican significativamente el riesgo de EAP de 2 a 4 veces cada uno. </a:t>
            </a:r>
            <a:r>
              <a:rPr lang="es-ES" b="1" dirty="0">
                <a:solidFill>
                  <a:srgbClr val="FF0000"/>
                </a:solidFill>
              </a:rPr>
              <a:t>Tanto los hombres como las mujeres enfrentan un riesgo similar de EAP, pero las mujeres tienen factores de riesgo distintos. La hipertensión y el sexo masculino son los principales factores de riesgo para el AAA, mientras que la diabetes mellitus reduce su incidencia en un 25%.</a:t>
            </a:r>
          </a:p>
        </p:txBody>
      </p:sp>
      <p:sp>
        <p:nvSpPr>
          <p:cNvPr id="4" name="Marcador de número de diapositiva 3">
            <a:extLst>
              <a:ext uri="{FF2B5EF4-FFF2-40B4-BE49-F238E27FC236}">
                <a16:creationId xmlns:a16="http://schemas.microsoft.com/office/drawing/2014/main" id="{C03297BB-5A40-A179-3EB0-3F16C5CCA660}"/>
              </a:ext>
            </a:extLst>
          </p:cNvPr>
          <p:cNvSpPr>
            <a:spLocks noGrp="1"/>
          </p:cNvSpPr>
          <p:nvPr>
            <p:ph type="sldNum" sz="quarter" idx="5"/>
          </p:nvPr>
        </p:nvSpPr>
        <p:spPr/>
        <p:txBody>
          <a:bodyPr/>
          <a:lstStyle/>
          <a:p>
            <a:fld id="{DE4CB052-C253-4640-86CA-525C5FEBA7E5}" type="slidenum">
              <a:rPr lang="es-ES" smtClean="0"/>
              <a:t>34</a:t>
            </a:fld>
            <a:endParaRPr lang="es-ES"/>
          </a:p>
        </p:txBody>
      </p:sp>
    </p:spTree>
    <p:extLst>
      <p:ext uri="{BB962C8B-B14F-4D97-AF65-F5344CB8AC3E}">
        <p14:creationId xmlns:p14="http://schemas.microsoft.com/office/powerpoint/2010/main" val="130590271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70A796-5742-FBC9-E3C4-46C06828146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DD7C916-797A-141E-446F-1DFF4651D33D}"/>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A2839AF6-841E-EEA9-BA53-E5376A0E12E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l primer mensaje de estas guías es que hay que tratar esta enfermedad mediante un manejo holístico y multidisciplinario por un equipo experimentado, entender la enfermedad cardiovascular </a:t>
            </a:r>
            <a:r>
              <a:rPr lang="es-ES"/>
              <a:t>como una unidad, </a:t>
            </a:r>
            <a:r>
              <a:rPr lang="es-ES" dirty="0"/>
              <a:t>en todos sus sistemas, para así tener una buena prevención de ella, un buen diagnóstico y conseguir mejores tratamientos y mejor seguimiento para que el pronóstico de los pacientes sea mejo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ntender esta enfermedad como una única enfermedad es la idea general de esta nueva guía. </a:t>
            </a:r>
          </a:p>
        </p:txBody>
      </p:sp>
      <p:sp>
        <p:nvSpPr>
          <p:cNvPr id="4" name="Marcador de número de diapositiva 3">
            <a:extLst>
              <a:ext uri="{FF2B5EF4-FFF2-40B4-BE49-F238E27FC236}">
                <a16:creationId xmlns:a16="http://schemas.microsoft.com/office/drawing/2014/main" id="{9E8EB67E-D855-7BBC-7331-B922AD6C4289}"/>
              </a:ext>
            </a:extLst>
          </p:cNvPr>
          <p:cNvSpPr>
            <a:spLocks noGrp="1"/>
          </p:cNvSpPr>
          <p:nvPr>
            <p:ph type="sldNum" sz="quarter" idx="5"/>
          </p:nvPr>
        </p:nvSpPr>
        <p:spPr/>
        <p:txBody>
          <a:bodyPr/>
          <a:lstStyle/>
          <a:p>
            <a:fld id="{DE4CB052-C253-4640-86CA-525C5FEBA7E5}" type="slidenum">
              <a:rPr lang="es-ES" smtClean="0"/>
              <a:t>35</a:t>
            </a:fld>
            <a:endParaRPr lang="es-ES"/>
          </a:p>
        </p:txBody>
      </p:sp>
    </p:spTree>
    <p:extLst>
      <p:ext uri="{BB962C8B-B14F-4D97-AF65-F5344CB8AC3E}">
        <p14:creationId xmlns:p14="http://schemas.microsoft.com/office/powerpoint/2010/main" val="351321261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02F88D-CABD-0613-A827-88D942C67AC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E319C81D-8F80-ECB8-E71B-601412F2C598}"/>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AD7146A0-E770-B8E5-9475-6F61C9BBFC4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stas guías nos unifican la clasificación de la presentación clínica en tres estratos. Uno de ellos, pacientes con enfermedad asintomática, otro en pacientes con enfermedad sintomática con los esfuerzos, y, el tercero, en pacientes con isquemia con riesgo de perder una extremidad. A su vez, divide los pacientes que presenten o no heridas en las extremidades, ya que conllevará una diferencia en el algoritmo de manejo terapéutico que se verá más adelan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Sabemos que los pacientes con EAP tienen un riesgo cardiovascular aumentado en 4 o 5 veces de presentar eventos cardiovasculares o eventos en los miembro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s crucial conocer los objetivos terapéuticos para disminuir este riesgo y mejorar la calidad de vida de los pacientes.</a:t>
            </a:r>
          </a:p>
        </p:txBody>
      </p:sp>
      <p:sp>
        <p:nvSpPr>
          <p:cNvPr id="4" name="Marcador de número de diapositiva 3">
            <a:extLst>
              <a:ext uri="{FF2B5EF4-FFF2-40B4-BE49-F238E27FC236}">
                <a16:creationId xmlns:a16="http://schemas.microsoft.com/office/drawing/2014/main" id="{13C8BC8B-8D97-C67D-8610-23C2D9767366}"/>
              </a:ext>
            </a:extLst>
          </p:cNvPr>
          <p:cNvSpPr>
            <a:spLocks noGrp="1"/>
          </p:cNvSpPr>
          <p:nvPr>
            <p:ph type="sldNum" sz="quarter" idx="5"/>
          </p:nvPr>
        </p:nvSpPr>
        <p:spPr/>
        <p:txBody>
          <a:bodyPr/>
          <a:lstStyle/>
          <a:p>
            <a:fld id="{DE4CB052-C253-4640-86CA-525C5FEBA7E5}" type="slidenum">
              <a:rPr lang="es-ES" smtClean="0"/>
              <a:t>36</a:t>
            </a:fld>
            <a:endParaRPr lang="es-ES"/>
          </a:p>
        </p:txBody>
      </p:sp>
    </p:spTree>
    <p:extLst>
      <p:ext uri="{BB962C8B-B14F-4D97-AF65-F5344CB8AC3E}">
        <p14:creationId xmlns:p14="http://schemas.microsoft.com/office/powerpoint/2010/main" val="33664210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89B3AD-DC68-8A7B-915B-28849F66621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C23D5098-13A3-7BA7-5528-D1E2382D36E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232658B1-6A3A-9CBB-ADF9-572E90E88E3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La prevalencia de las enfermedades arteriales periféricas y aórticas es muy alta. No obstante, son enfermedades generalmente olvidad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La prevalencia es de 113 millones de </a:t>
            </a:r>
            <a:r>
              <a:rPr lang="es-ES"/>
              <a:t>personas &gt;40 </a:t>
            </a:r>
            <a:r>
              <a:rPr lang="es-ES" dirty="0"/>
              <a:t>años. Con una prevalencia más alta en mujeres que en hombres en todos los rangos de edad, y que generalmente suelen ser asintomáticas. Por ello, su cribado es esenci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Muchos pacientes están infradiagnosticados e </a:t>
            </a:r>
            <a:r>
              <a:rPr lang="es-ES" dirty="0" err="1"/>
              <a:t>infratratados</a:t>
            </a:r>
            <a:r>
              <a:rPr lang="es-ES" dirty="0"/>
              <a:t> en comparación con la enfermedad coronari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Sabemos que la tasa de crecimiento va en aumento en los últimos años.</a:t>
            </a:r>
          </a:p>
        </p:txBody>
      </p:sp>
      <p:sp>
        <p:nvSpPr>
          <p:cNvPr id="4" name="Marcador de número de diapositiva 3">
            <a:extLst>
              <a:ext uri="{FF2B5EF4-FFF2-40B4-BE49-F238E27FC236}">
                <a16:creationId xmlns:a16="http://schemas.microsoft.com/office/drawing/2014/main" id="{D025ADA8-B140-50BA-99E2-D9B11C87A287}"/>
              </a:ext>
            </a:extLst>
          </p:cNvPr>
          <p:cNvSpPr>
            <a:spLocks noGrp="1"/>
          </p:cNvSpPr>
          <p:nvPr>
            <p:ph type="sldNum" sz="quarter" idx="5"/>
          </p:nvPr>
        </p:nvSpPr>
        <p:spPr/>
        <p:txBody>
          <a:bodyPr/>
          <a:lstStyle/>
          <a:p>
            <a:fld id="{DE4CB052-C253-4640-86CA-525C5FEBA7E5}" type="slidenum">
              <a:rPr lang="es-ES" smtClean="0"/>
              <a:t>37</a:t>
            </a:fld>
            <a:endParaRPr lang="es-ES"/>
          </a:p>
        </p:txBody>
      </p:sp>
    </p:spTree>
    <p:extLst>
      <p:ext uri="{BB962C8B-B14F-4D97-AF65-F5344CB8AC3E}">
        <p14:creationId xmlns:p14="http://schemas.microsoft.com/office/powerpoint/2010/main" val="5460446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5D3864-1035-5529-4E8F-D655D80EAEF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597446CF-5882-E94A-2E8C-FD0E38B4E971}"/>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97A07CA2-2DFA-966C-472D-5097D832510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dirty="0"/>
              <a:t>Según los datos analizados de los bases de datos españoles del SIDIAP y el CMBD, la prevalencia de AP aumenta con la edad, con un incremento moderado en edades tempranas, y más pronunciado en &gt; 55 años, rebasando el 10% en &gt; 85 años. Los hombres tienen más prevalencia de la EAP que las mujer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p:txBody>
      </p:sp>
      <p:sp>
        <p:nvSpPr>
          <p:cNvPr id="4" name="Marcador de número de diapositiva 3">
            <a:extLst>
              <a:ext uri="{FF2B5EF4-FFF2-40B4-BE49-F238E27FC236}">
                <a16:creationId xmlns:a16="http://schemas.microsoft.com/office/drawing/2014/main" id="{E459F730-90B1-0711-49DE-BC27A98144DA}"/>
              </a:ext>
            </a:extLst>
          </p:cNvPr>
          <p:cNvSpPr>
            <a:spLocks noGrp="1"/>
          </p:cNvSpPr>
          <p:nvPr>
            <p:ph type="sldNum" sz="quarter" idx="5"/>
          </p:nvPr>
        </p:nvSpPr>
        <p:spPr/>
        <p:txBody>
          <a:bodyPr/>
          <a:lstStyle/>
          <a:p>
            <a:fld id="{DE4CB052-C253-4640-86CA-525C5FEBA7E5}" type="slidenum">
              <a:rPr lang="es-ES" smtClean="0"/>
              <a:t>38</a:t>
            </a:fld>
            <a:endParaRPr lang="es-ES"/>
          </a:p>
        </p:txBody>
      </p:sp>
    </p:spTree>
    <p:extLst>
      <p:ext uri="{BB962C8B-B14F-4D97-AF65-F5344CB8AC3E}">
        <p14:creationId xmlns:p14="http://schemas.microsoft.com/office/powerpoint/2010/main" val="206439428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97D53C-96CE-E2C9-BEAF-B058499EADA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B1AA4E8-9F84-153A-AF8B-85718FF060C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7E33F5A8-E340-C4AE-240C-E4A6211539B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l diagnóstico temprano de esta enfermedad es crucial para obtener mejores resultado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l índice tobillo-brazo (ITB) sigue siendo la prueba de diagnóstico inicial recomendada, con una clase de recomendación IB para el cribado y el diagnóstico de la EAP, y sirve como un marcador sustituto de la mortalidad cardiovascular y por todas las caus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A su vez, el método de imagen de primera línea recomendado es la ecografía dúplex para confirmar la EA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Sabemos que, en las mujeres, la prevalencia de los síntomas típicos (como la claudicación intermitente) es menor que en los hombres, mientras que los síntomas atípicos son más comunes. Con lo cual, en esta población, enfatizar el cribado es esencial. </a:t>
            </a:r>
          </a:p>
        </p:txBody>
      </p:sp>
      <p:sp>
        <p:nvSpPr>
          <p:cNvPr id="4" name="Marcador de número de diapositiva 3">
            <a:extLst>
              <a:ext uri="{FF2B5EF4-FFF2-40B4-BE49-F238E27FC236}">
                <a16:creationId xmlns:a16="http://schemas.microsoft.com/office/drawing/2014/main" id="{F6F359C9-CEEA-2228-02F1-27424B4D5F29}"/>
              </a:ext>
            </a:extLst>
          </p:cNvPr>
          <p:cNvSpPr>
            <a:spLocks noGrp="1"/>
          </p:cNvSpPr>
          <p:nvPr>
            <p:ph type="sldNum" sz="quarter" idx="5"/>
          </p:nvPr>
        </p:nvSpPr>
        <p:spPr/>
        <p:txBody>
          <a:bodyPr/>
          <a:lstStyle/>
          <a:p>
            <a:fld id="{DE4CB052-C253-4640-86CA-525C5FEBA7E5}" type="slidenum">
              <a:rPr lang="es-ES" smtClean="0"/>
              <a:t>39</a:t>
            </a:fld>
            <a:endParaRPr lang="es-ES"/>
          </a:p>
        </p:txBody>
      </p:sp>
    </p:spTree>
    <p:extLst>
      <p:ext uri="{BB962C8B-B14F-4D97-AF65-F5344CB8AC3E}">
        <p14:creationId xmlns:p14="http://schemas.microsoft.com/office/powerpoint/2010/main" val="34076772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0186A3-93CE-0E56-84C4-0047DFADBB62}"/>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D843286-D355-97C1-DE33-245BDC137982}"/>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CC52C34C-79EA-E3FA-D113-E3BBB685627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stas guías enfatizan en un tratamiento médico óptimo e integrado de esta enfermedad, basándose en tres pilares que son el tratamiento farmacológico, el entrenamiento físico supervisado y la modificación del estilo de vida. A su vez, presentan nuevas recomendaciones en cuanto a la revascularización, que no está recomendada en pacientes asintomáticos. En pacientes sintomáticos enfatizan en que la revascularización debe realizarse tras un periodo de tratamiento médico óptimo y ejercicio, y debe ser discutida en un entorno multidisciplinario.</a:t>
            </a:r>
          </a:p>
        </p:txBody>
      </p:sp>
      <p:sp>
        <p:nvSpPr>
          <p:cNvPr id="4" name="Marcador de número de diapositiva 3">
            <a:extLst>
              <a:ext uri="{FF2B5EF4-FFF2-40B4-BE49-F238E27FC236}">
                <a16:creationId xmlns:a16="http://schemas.microsoft.com/office/drawing/2014/main" id="{0EDB38C1-C30B-6320-5CA5-30A4266EB195}"/>
              </a:ext>
            </a:extLst>
          </p:cNvPr>
          <p:cNvSpPr>
            <a:spLocks noGrp="1"/>
          </p:cNvSpPr>
          <p:nvPr>
            <p:ph type="sldNum" sz="quarter" idx="5"/>
          </p:nvPr>
        </p:nvSpPr>
        <p:spPr/>
        <p:txBody>
          <a:bodyPr/>
          <a:lstStyle/>
          <a:p>
            <a:fld id="{DE4CB052-C253-4640-86CA-525C5FEBA7E5}" type="slidenum">
              <a:rPr lang="es-ES" smtClean="0"/>
              <a:t>40</a:t>
            </a:fld>
            <a:endParaRPr lang="es-ES"/>
          </a:p>
        </p:txBody>
      </p:sp>
    </p:spTree>
    <p:extLst>
      <p:ext uri="{BB962C8B-B14F-4D97-AF65-F5344CB8AC3E}">
        <p14:creationId xmlns:p14="http://schemas.microsoft.com/office/powerpoint/2010/main" val="405543046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8C5B2-27DF-CA19-C126-503CC6E2331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B36AA0C-A5A1-3C87-EC46-57118A041D2A}"/>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F87BDCE1-7FA1-F3E8-4A88-140E8DD3F90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stas guías nos presentan dos algoritmos de tratamiento, divididos en la presencia o no de herida en la extremidad de estos pacientes y dividen su manejo en los 3 estratos anteriormente explicados (según la clasificación de los síntom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A lo largo de los algoritmos podemos ver que se pone mucho énfasis en el tratamiento médico óptimo, en el ejercicio y en el manejo de estos pacientes mediante un equipo multidisciplinar vascular. </a:t>
            </a:r>
          </a:p>
        </p:txBody>
      </p:sp>
      <p:sp>
        <p:nvSpPr>
          <p:cNvPr id="4" name="Marcador de número de diapositiva 3">
            <a:extLst>
              <a:ext uri="{FF2B5EF4-FFF2-40B4-BE49-F238E27FC236}">
                <a16:creationId xmlns:a16="http://schemas.microsoft.com/office/drawing/2014/main" id="{EB2DB4E7-5D2C-9959-BD3F-9CCEE28A8699}"/>
              </a:ext>
            </a:extLst>
          </p:cNvPr>
          <p:cNvSpPr>
            <a:spLocks noGrp="1"/>
          </p:cNvSpPr>
          <p:nvPr>
            <p:ph type="sldNum" sz="quarter" idx="5"/>
          </p:nvPr>
        </p:nvSpPr>
        <p:spPr/>
        <p:txBody>
          <a:bodyPr/>
          <a:lstStyle/>
          <a:p>
            <a:fld id="{DE4CB052-C253-4640-86CA-525C5FEBA7E5}" type="slidenum">
              <a:rPr lang="es-ES" smtClean="0"/>
              <a:t>41</a:t>
            </a:fld>
            <a:endParaRPr lang="es-ES"/>
          </a:p>
        </p:txBody>
      </p:sp>
    </p:spTree>
    <p:extLst>
      <p:ext uri="{BB962C8B-B14F-4D97-AF65-F5344CB8AC3E}">
        <p14:creationId xmlns:p14="http://schemas.microsoft.com/office/powerpoint/2010/main" val="378900891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735597-D0B1-6BCA-E9F7-7915F6F9AA1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971A5BA-5318-46AB-731B-172EA6F096D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A9AD5162-171C-4C20-3F61-EA633CBE77F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Otro pilar importante en las nuevas recomendaciones es el ejercici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n pacientes con EAP sintomática, se recomienda un ejercicio supervisado. Se recomiendan entrenamientos de 30 minutos, 3 veces por semana, durante 3 mes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n los pacientes sometidos a revascularización </a:t>
            </a:r>
            <a:r>
              <a:rPr lang="es-ES" dirty="0" err="1"/>
              <a:t>revascularización</a:t>
            </a:r>
            <a:r>
              <a:rPr lang="es-ES" dirty="0"/>
              <a:t> endovascular, se recomienda ejercicio supervisado como terapia adyuvan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Con ello, disminuirán los síntomas de los pacientes, mejorará su calidad de vida, mejorará su rendimiento al caminar, así como su concienciación. Además de ello, disminuirá el riesgo cardiovascular y mejorará su estatus funcion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n cuanto al seguimient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n pacientes con EAP sintomática, tras un periodo de 3 meses de tratamiento médico óptimo y terapia de ejercicio, se recomienda la evaluación de la calidad de vida relacionada con la EA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n pacientes con EAP sintomática y deterioro de la calidad de vida relacionada con la EAP tras un periodo de 3 meses de tratamiento médico óptimo y terapia de ejercicio, puede considerarse la revascularizació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Se recomienda realizar un seguimiento periódico, al menos una vez al año, de los pacientes con EAP, evaluando el estado clínico y funcional, la adherencia terapéutica, los síntomas de las extremidades y los factores de riesgo cardiovasculares, con una evaluación mediante ultrasonidos dúplex cuando sea necesario.</a:t>
            </a:r>
          </a:p>
        </p:txBody>
      </p:sp>
      <p:sp>
        <p:nvSpPr>
          <p:cNvPr id="4" name="Marcador de número de diapositiva 3">
            <a:extLst>
              <a:ext uri="{FF2B5EF4-FFF2-40B4-BE49-F238E27FC236}">
                <a16:creationId xmlns:a16="http://schemas.microsoft.com/office/drawing/2014/main" id="{C6FA1B79-5947-CE8B-747F-8B3E46FD27E4}"/>
              </a:ext>
            </a:extLst>
          </p:cNvPr>
          <p:cNvSpPr>
            <a:spLocks noGrp="1"/>
          </p:cNvSpPr>
          <p:nvPr>
            <p:ph type="sldNum" sz="quarter" idx="5"/>
          </p:nvPr>
        </p:nvSpPr>
        <p:spPr/>
        <p:txBody>
          <a:bodyPr/>
          <a:lstStyle/>
          <a:p>
            <a:fld id="{DE4CB052-C253-4640-86CA-525C5FEBA7E5}" type="slidenum">
              <a:rPr lang="es-ES" smtClean="0"/>
              <a:t>42</a:t>
            </a:fld>
            <a:endParaRPr lang="es-ES"/>
          </a:p>
        </p:txBody>
      </p:sp>
    </p:spTree>
    <p:extLst>
      <p:ext uri="{BB962C8B-B14F-4D97-AF65-F5344CB8AC3E}">
        <p14:creationId xmlns:p14="http://schemas.microsoft.com/office/powerpoint/2010/main" val="4915948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7B9E12-94A3-3FC4-EF4D-526799418483}"/>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27EAA2A0-5522-A9F2-9C01-C9838D76499A}"/>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0B65E8DF-72BD-CD3E-5782-63230A6B536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Así, en esta nueva definición, previamente introducida en las directrices del 2019, los síndromes coronarios crónicos (SCC) son una serie de </a:t>
            </a:r>
            <a:r>
              <a:rPr lang="es-ES" b="1" dirty="0"/>
              <a:t>presentaciones clínicas  o síndromes </a:t>
            </a:r>
            <a:r>
              <a:rPr lang="es-ES" dirty="0"/>
              <a:t>que surgen debido a </a:t>
            </a:r>
            <a:r>
              <a:rPr lang="es-ES" b="1" dirty="0"/>
              <a:t>alteraciones estructurales y/o funcionales </a:t>
            </a:r>
            <a:r>
              <a:rPr lang="es-ES" dirty="0"/>
              <a:t>relacionadas con enfermedades crónicas de las arterias coronarias y/o la microcirculación. Estas alteraciones pueden provocar un </a:t>
            </a:r>
            <a:r>
              <a:rPr lang="es-ES" b="1" dirty="0"/>
              <a:t>desajuste transitorio y reversible </a:t>
            </a:r>
            <a:r>
              <a:rPr lang="es-ES" dirty="0"/>
              <a:t>entre la demanda miocárdica y el suministro de sangre, lo que resulta en hipoperfusión (isquemia), generalmente (aunque no siempre) provocada por el esfuerzo, emociones u otro tipo de estrés, y puede manifestarse como </a:t>
            </a:r>
            <a:r>
              <a:rPr lang="es-ES" b="1" dirty="0"/>
              <a:t>angina, malestar en el pecho, disnea o ser asintomática</a:t>
            </a:r>
            <a:r>
              <a:rPr lang="es-ES" dirty="0"/>
              <a:t>. Aunque pueden permanecer estables durante largos períodos, las enfermedades coronarias crónicas son </a:t>
            </a:r>
            <a:r>
              <a:rPr lang="es-ES" b="1" dirty="0"/>
              <a:t>frecuentemente progresivas </a:t>
            </a:r>
            <a:r>
              <a:rPr lang="es-ES" dirty="0"/>
              <a:t>y pueden desestabilizarse en cualquier momento con el desarrollo de un síndrome coronario agudo (SCA).</a:t>
            </a:r>
          </a:p>
          <a:p>
            <a:endParaRPr lang="es-ES" dirty="0"/>
          </a:p>
        </p:txBody>
      </p:sp>
      <p:sp>
        <p:nvSpPr>
          <p:cNvPr id="4" name="Marcador de número de diapositiva 3">
            <a:extLst>
              <a:ext uri="{FF2B5EF4-FFF2-40B4-BE49-F238E27FC236}">
                <a16:creationId xmlns:a16="http://schemas.microsoft.com/office/drawing/2014/main" id="{DA6AA847-4D48-957E-A9CB-2C90BB68C5FA}"/>
              </a:ext>
            </a:extLst>
          </p:cNvPr>
          <p:cNvSpPr>
            <a:spLocks noGrp="1"/>
          </p:cNvSpPr>
          <p:nvPr>
            <p:ph type="sldNum" sz="quarter" idx="5"/>
          </p:nvPr>
        </p:nvSpPr>
        <p:spPr/>
        <p:txBody>
          <a:bodyPr/>
          <a:lstStyle/>
          <a:p>
            <a:fld id="{DE4CB052-C253-4640-86CA-525C5FEBA7E5}" type="slidenum">
              <a:rPr lang="es-ES" smtClean="0"/>
              <a:t>7</a:t>
            </a:fld>
            <a:endParaRPr lang="es-ES"/>
          </a:p>
        </p:txBody>
      </p:sp>
    </p:spTree>
    <p:extLst>
      <p:ext uri="{BB962C8B-B14F-4D97-AF65-F5344CB8AC3E}">
        <p14:creationId xmlns:p14="http://schemas.microsoft.com/office/powerpoint/2010/main" val="207968390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28EBA0-491A-BEF4-3275-A17AF6C97C9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5BD69BF-5D77-E253-6EB1-5BD04C83D135}"/>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5676EEC-760F-FA66-8CBC-5FD94C93F57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Como nuevas recomendaciones en las terapias farmacológicas, podemos ver que el uso de terapia antiplaquetaria con aspirina sola o </a:t>
            </a:r>
            <a:r>
              <a:rPr lang="es-ES" dirty="0" err="1"/>
              <a:t>clopidogrel</a:t>
            </a:r>
            <a:r>
              <a:rPr lang="es-ES" dirty="0"/>
              <a:t> solo se recomienda para reducir los MACE en pacientes con EAP sintomática. Además, el tratamiento con </a:t>
            </a:r>
            <a:r>
              <a:rPr lang="es-ES" dirty="0" err="1"/>
              <a:t>rivaroxaban</a:t>
            </a:r>
            <a:r>
              <a:rPr lang="es-ES" dirty="0"/>
              <a:t> combinado y aspirina debe considerarse para pacientes con EAP, alto riesgo isquémico y riesgo hemorrágico no alt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n pacientes que se hayan revascularizado, el tratamiento con rivaroxabán combinado y aspirina debe ser considerado para pacientes con EAP y riesgo de hemorragia no alto tras una revascularización de extremidades inferiores. Lo que es más, se puede considerar DAPT durante al menos 1 mes tras la revascularización para reducir los eventos en las extremidad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p:txBody>
      </p:sp>
      <p:sp>
        <p:nvSpPr>
          <p:cNvPr id="4" name="Marcador de número de diapositiva 3">
            <a:extLst>
              <a:ext uri="{FF2B5EF4-FFF2-40B4-BE49-F238E27FC236}">
                <a16:creationId xmlns:a16="http://schemas.microsoft.com/office/drawing/2014/main" id="{63858E64-9CC5-D170-3036-93F2A1EBABA0}"/>
              </a:ext>
            </a:extLst>
          </p:cNvPr>
          <p:cNvSpPr>
            <a:spLocks noGrp="1"/>
          </p:cNvSpPr>
          <p:nvPr>
            <p:ph type="sldNum" sz="quarter" idx="5"/>
          </p:nvPr>
        </p:nvSpPr>
        <p:spPr/>
        <p:txBody>
          <a:bodyPr/>
          <a:lstStyle/>
          <a:p>
            <a:fld id="{DE4CB052-C253-4640-86CA-525C5FEBA7E5}" type="slidenum">
              <a:rPr lang="es-ES" smtClean="0"/>
              <a:t>43</a:t>
            </a:fld>
            <a:endParaRPr lang="es-ES"/>
          </a:p>
        </p:txBody>
      </p:sp>
    </p:spTree>
    <p:extLst>
      <p:ext uri="{BB962C8B-B14F-4D97-AF65-F5344CB8AC3E}">
        <p14:creationId xmlns:p14="http://schemas.microsoft.com/office/powerpoint/2010/main" val="204654918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B4BFA3-2796-EB72-1B83-B1E62B693823}"/>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6D2C10F-3844-D6EF-E80B-FA56F7C2B9F5}"/>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449DBB1-4F71-273C-1D4B-4A401296718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Por lo que hace a la terapia antihipertensiva, seguidamente comentaremos las nuevas recomendaciones, que s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n pacientes con DAAP e hipertensión, se recomienda un objetivo de PAS de 120-129 </a:t>
            </a:r>
            <a:r>
              <a:rPr lang="es-ES" dirty="0" err="1"/>
              <a:t>mmHg</a:t>
            </a:r>
            <a:r>
              <a:rPr lang="es-ES" dirty="0"/>
              <a:t>, si se toler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Además, los IECA o ARA-II deben considerarse como tratamiento antihipertensivo de primera líne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n relación con la terapia hipolipemiante, estas guías </a:t>
            </a:r>
            <a:r>
              <a:rPr lang="es-ES"/>
              <a:t>siguen alineadas </a:t>
            </a:r>
            <a:r>
              <a:rPr lang="es-ES" dirty="0"/>
              <a:t>con el resto de guías previamente publicadas. Entre las nuevas recomendaciones encontramo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n pacientes con DAAP aterosclerótica se recomienda un objetivo final de c-LDL &lt;55 mg/</a:t>
            </a:r>
            <a:r>
              <a:rPr lang="es-ES" dirty="0" err="1"/>
              <a:t>dL</a:t>
            </a:r>
            <a:r>
              <a:rPr lang="es-ES" dirty="0"/>
              <a:t> y una reducción &gt;50% del c-LDL respecto al valor bas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Si no se alcanza el nivel objetivo de c-LDL, está indicada una combinación de estatinas y </a:t>
            </a:r>
            <a:r>
              <a:rPr lang="es-ES" dirty="0" err="1"/>
              <a:t>ezetimiba</a:t>
            </a:r>
            <a:r>
              <a:rPr lang="es-ES" dirty="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Si no se alcanza el nivel objetivo de c-LDL con las estatinas y la </a:t>
            </a:r>
            <a:r>
              <a:rPr lang="es-ES" dirty="0" err="1"/>
              <a:t>ezetimiba</a:t>
            </a:r>
            <a:r>
              <a:rPr lang="es-ES" dirty="0"/>
              <a:t> máximamente toleradas, se recomienda la adición de un inhibidor de la PCSK9.</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Para los pacientes intolerantes a las estatinas con DAAP aterosclerótica, con alto riesgo CV, que no alcanzan su objetivo de c-LDL con </a:t>
            </a:r>
            <a:r>
              <a:rPr lang="es-ES" dirty="0" err="1"/>
              <a:t>ezetimiba</a:t>
            </a:r>
            <a:r>
              <a:rPr lang="es-ES" dirty="0"/>
              <a:t>, se recomienda añadir ácido </a:t>
            </a:r>
            <a:r>
              <a:rPr lang="es-ES" dirty="0" err="1"/>
              <a:t>bempedoico</a:t>
            </a:r>
            <a:r>
              <a:rPr lang="es-ES" dirty="0"/>
              <a:t> solo o en combinación con un inhibidor de PCSK9.</a:t>
            </a:r>
          </a:p>
        </p:txBody>
      </p:sp>
      <p:sp>
        <p:nvSpPr>
          <p:cNvPr id="4" name="Marcador de número de diapositiva 3">
            <a:extLst>
              <a:ext uri="{FF2B5EF4-FFF2-40B4-BE49-F238E27FC236}">
                <a16:creationId xmlns:a16="http://schemas.microsoft.com/office/drawing/2014/main" id="{AE66A0C8-F1CF-D51C-D887-A93ED2F63C21}"/>
              </a:ext>
            </a:extLst>
          </p:cNvPr>
          <p:cNvSpPr>
            <a:spLocks noGrp="1"/>
          </p:cNvSpPr>
          <p:nvPr>
            <p:ph type="sldNum" sz="quarter" idx="5"/>
          </p:nvPr>
        </p:nvSpPr>
        <p:spPr/>
        <p:txBody>
          <a:bodyPr/>
          <a:lstStyle/>
          <a:p>
            <a:fld id="{DE4CB052-C253-4640-86CA-525C5FEBA7E5}" type="slidenum">
              <a:rPr lang="es-ES" smtClean="0"/>
              <a:t>44</a:t>
            </a:fld>
            <a:endParaRPr lang="es-ES"/>
          </a:p>
        </p:txBody>
      </p:sp>
    </p:spTree>
    <p:extLst>
      <p:ext uri="{BB962C8B-B14F-4D97-AF65-F5344CB8AC3E}">
        <p14:creationId xmlns:p14="http://schemas.microsoft.com/office/powerpoint/2010/main" val="107652945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78B92C-84BB-2798-FA43-F8E66FD33C8A}"/>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5CE991E-7B9A-9473-EDDD-9708F4A57824}"/>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A092E34C-9D5A-0602-F1F2-9912E8B8A784}"/>
              </a:ext>
            </a:extLst>
          </p:cNvPr>
          <p:cNvSpPr>
            <a:spLocks noGrp="1"/>
          </p:cNvSpPr>
          <p:nvPr>
            <p:ph type="body" idx="1"/>
          </p:nvPr>
        </p:nvSpPr>
        <p:spPr/>
        <p:txBody>
          <a:bodyPr/>
          <a:lstStyle/>
          <a:p>
            <a:pPr algn="just">
              <a:lnSpc>
                <a:spcPct val="115000"/>
              </a:lnSpc>
              <a:spcAft>
                <a:spcPts val="800"/>
              </a:spcAft>
            </a:pPr>
            <a:r>
              <a:rPr lang="es-ES" sz="1200" kern="100" dirty="0">
                <a:effectLst/>
                <a:latin typeface="Aptos" panose="020B0004020202020204" pitchFamily="34" charset="0"/>
                <a:ea typeface="Aptos" panose="020B0004020202020204" pitchFamily="34" charset="0"/>
                <a:cs typeface="Times New Roman" panose="02020603050405020304" pitchFamily="18" charset="0"/>
              </a:rPr>
              <a:t>En conclusión:</a:t>
            </a:r>
          </a:p>
          <a:p>
            <a:pPr algn="just">
              <a:lnSpc>
                <a:spcPct val="115000"/>
              </a:lnSpc>
              <a:spcAft>
                <a:spcPts val="800"/>
              </a:spcAft>
            </a:pPr>
            <a:endParaRPr lang="es-ES" sz="1200" kern="100" dirty="0">
              <a:effectLst/>
              <a:latin typeface="Aptos" panose="020B0004020202020204" pitchFamily="34" charset="0"/>
              <a:ea typeface="Aptos" panose="020B0004020202020204" pitchFamily="34" charset="0"/>
              <a:cs typeface="Times New Roman" panose="02020603050405020304" pitchFamily="18" charset="0"/>
            </a:endParaRPr>
          </a:p>
          <a:p>
            <a:pPr algn="just">
              <a:lnSpc>
                <a:spcPct val="115000"/>
              </a:lnSpc>
              <a:spcAft>
                <a:spcPts val="800"/>
              </a:spcAft>
            </a:pPr>
            <a:r>
              <a:rPr lang="es-ES" sz="1200" kern="100" dirty="0">
                <a:effectLst/>
                <a:latin typeface="Aptos" panose="020B0004020202020204" pitchFamily="34" charset="0"/>
                <a:ea typeface="Aptos" panose="020B0004020202020204" pitchFamily="34" charset="0"/>
                <a:cs typeface="Times New Roman" panose="02020603050405020304" pitchFamily="18" charset="0"/>
              </a:rPr>
              <a:t>Se calcula que las enfermedades arteriales y aórticas periféricas (EAP) afectan a unos 113 millones de personas mayores de 40 años en todo el mundo, de las cuales casi la mitad (43%) viven en países de renta baja y media. La prevalencia mundial es del 1,5% y aumenta con la edad, afectando al 15-20% de los mayores de 70 años y al 20-30% de los mayores de 80 años. </a:t>
            </a:r>
          </a:p>
          <a:p>
            <a:pPr algn="just">
              <a:lnSpc>
                <a:spcPct val="115000"/>
              </a:lnSpc>
              <a:spcAft>
                <a:spcPts val="800"/>
              </a:spcAft>
            </a:pPr>
            <a:endParaRPr lang="es-ES" sz="1200" kern="100" dirty="0">
              <a:effectLst/>
              <a:latin typeface="Aptos" panose="020B0004020202020204" pitchFamily="34" charset="0"/>
              <a:ea typeface="Aptos" panose="020B0004020202020204" pitchFamily="34" charset="0"/>
              <a:cs typeface="Times New Roman" panose="02020603050405020304" pitchFamily="18" charset="0"/>
            </a:endParaRPr>
          </a:p>
          <a:p>
            <a:pPr algn="just">
              <a:lnSpc>
                <a:spcPct val="115000"/>
              </a:lnSpc>
              <a:spcAft>
                <a:spcPts val="800"/>
              </a:spcAft>
            </a:pPr>
            <a:r>
              <a:rPr lang="es-ES" sz="1200" kern="100" dirty="0">
                <a:effectLst/>
                <a:latin typeface="Aptos" panose="020B0004020202020204" pitchFamily="34" charset="0"/>
                <a:ea typeface="Aptos" panose="020B0004020202020204" pitchFamily="34" charset="0"/>
                <a:cs typeface="Times New Roman" panose="02020603050405020304" pitchFamily="18" charset="0"/>
              </a:rPr>
              <a:t>Las enfermedades arteriales periféricas y aórticas deben evaluarse de forma holística: los pacientes con enfermedades aórticas corren el riesgo de padecer enfermedades arteriales periféricas y viceversa. </a:t>
            </a:r>
          </a:p>
          <a:p>
            <a:pPr algn="just">
              <a:lnSpc>
                <a:spcPct val="115000"/>
              </a:lnSpc>
              <a:spcAft>
                <a:spcPts val="800"/>
              </a:spcAft>
            </a:pPr>
            <a:endParaRPr lang="es-ES" sz="1200" kern="100" dirty="0">
              <a:effectLst/>
              <a:latin typeface="Aptos" panose="020B0004020202020204" pitchFamily="34" charset="0"/>
              <a:ea typeface="Aptos" panose="020B0004020202020204" pitchFamily="34" charset="0"/>
              <a:cs typeface="Times New Roman" panose="02020603050405020304" pitchFamily="18" charset="0"/>
            </a:endParaRPr>
          </a:p>
          <a:p>
            <a:pPr algn="just">
              <a:lnSpc>
                <a:spcPct val="115000"/>
              </a:lnSpc>
              <a:spcAft>
                <a:spcPts val="800"/>
              </a:spcAft>
            </a:pPr>
            <a:r>
              <a:rPr lang="es-ES" sz="1200" kern="100" dirty="0">
                <a:effectLst/>
                <a:latin typeface="Aptos" panose="020B0004020202020204" pitchFamily="34" charset="0"/>
                <a:ea typeface="Aptos" panose="020B0004020202020204" pitchFamily="34" charset="0"/>
                <a:cs typeface="Times New Roman" panose="02020603050405020304" pitchFamily="18" charset="0"/>
              </a:rPr>
              <a:t>En el diagnóstico y el tratamiento deben participar equipos multidisciplinares y los planes de cuidados deben plantearse en centros con experiencia en la enfermedad. </a:t>
            </a:r>
          </a:p>
          <a:p>
            <a:pPr algn="just">
              <a:lnSpc>
                <a:spcPct val="115000"/>
              </a:lnSpc>
              <a:spcAft>
                <a:spcPts val="800"/>
              </a:spcAft>
            </a:pPr>
            <a:endParaRPr lang="es-ES" sz="1200" kern="100" dirty="0">
              <a:effectLst/>
              <a:latin typeface="Aptos" panose="020B0004020202020204" pitchFamily="34" charset="0"/>
              <a:ea typeface="Aptos" panose="020B0004020202020204" pitchFamily="34" charset="0"/>
              <a:cs typeface="Times New Roman" panose="02020603050405020304" pitchFamily="18" charset="0"/>
            </a:endParaRPr>
          </a:p>
          <a:p>
            <a:pPr algn="just">
              <a:lnSpc>
                <a:spcPct val="115000"/>
              </a:lnSpc>
              <a:spcAft>
                <a:spcPts val="800"/>
              </a:spcAft>
            </a:pPr>
            <a:r>
              <a:rPr lang="es-ES" sz="1200" kern="100" dirty="0">
                <a:effectLst/>
                <a:latin typeface="Aptos" panose="020B0004020202020204" pitchFamily="34" charset="0"/>
                <a:ea typeface="Aptos" panose="020B0004020202020204" pitchFamily="34" charset="0"/>
                <a:cs typeface="Times New Roman" panose="02020603050405020304" pitchFamily="18" charset="0"/>
              </a:rPr>
              <a:t>Debe ayudarse al paciente y a sus familiares a comprender las enfermedades y a formar parte del equipo que toma las decisiones. Los familiares y cuidadores desempeñan un papel vital a la hora de apoyar la recuperación y el seguimiento del paciente, un estilo de vida saludable y el tratamiento médico crónico.</a:t>
            </a:r>
            <a:r>
              <a:rPr lang="es-ES" sz="1200" kern="100" dirty="0">
                <a:effectLst/>
                <a:latin typeface="Arial" panose="020B0604020202020204" pitchFamily="34" charset="0"/>
                <a:ea typeface="Aptos" panose="020B0004020202020204" pitchFamily="34" charset="0"/>
                <a:cs typeface="Times New Roman" panose="02020603050405020304" pitchFamily="18" charset="0"/>
              </a:rPr>
              <a:t> </a:t>
            </a:r>
            <a:r>
              <a:rPr lang="es-ES" sz="1200" kern="100" dirty="0">
                <a:effectLst/>
                <a:latin typeface="Aptos" panose="020B0004020202020204" pitchFamily="34" charset="0"/>
                <a:ea typeface="Aptos" panose="020B0004020202020204" pitchFamily="34" charset="0"/>
                <a:cs typeface="Times New Roman" panose="02020603050405020304" pitchFamily="18" charset="0"/>
              </a:rPr>
              <a:t> </a:t>
            </a:r>
          </a:p>
          <a:p>
            <a:pPr algn="just">
              <a:lnSpc>
                <a:spcPct val="115000"/>
              </a:lnSpc>
              <a:spcAft>
                <a:spcPts val="800"/>
              </a:spcAft>
            </a:pPr>
            <a:endParaRPr lang="es-ES" sz="1200" kern="100" dirty="0">
              <a:effectLst/>
              <a:latin typeface="Aptos" panose="020B0004020202020204" pitchFamily="34" charset="0"/>
              <a:ea typeface="Aptos" panose="020B0004020202020204" pitchFamily="34" charset="0"/>
              <a:cs typeface="Times New Roman" panose="02020603050405020304" pitchFamily="18" charset="0"/>
            </a:endParaRPr>
          </a:p>
          <a:p>
            <a:pPr algn="just">
              <a:lnSpc>
                <a:spcPct val="115000"/>
              </a:lnSpc>
              <a:spcAft>
                <a:spcPts val="800"/>
              </a:spcAft>
            </a:pPr>
            <a:r>
              <a:rPr lang="es-ES" sz="1200" kern="100" dirty="0">
                <a:effectLst/>
                <a:latin typeface="Aptos" panose="020B0004020202020204" pitchFamily="34" charset="0"/>
                <a:ea typeface="Aptos" panose="020B0004020202020204" pitchFamily="34" charset="0"/>
                <a:cs typeface="Times New Roman" panose="02020603050405020304" pitchFamily="18" charset="0"/>
              </a:rPr>
              <a:t>La prevención cardiovascular, incluido el ejercicio, y una dieta sana, son cruciales en la gestión de la enfermedad</a:t>
            </a:r>
            <a:r>
              <a:rPr lang="es-ES" sz="1200" kern="100" dirty="0">
                <a:effectLst/>
                <a:latin typeface="Arial" panose="020B0604020202020204" pitchFamily="34" charset="0"/>
                <a:ea typeface="Aptos" panose="020B0004020202020204" pitchFamily="34" charset="0"/>
                <a:cs typeface="Times New Roman" panose="02020603050405020304" pitchFamily="18" charset="0"/>
              </a:rPr>
              <a:t> </a:t>
            </a:r>
            <a:r>
              <a:rPr lang="es-ES" sz="1200" kern="100" dirty="0">
                <a:effectLst/>
                <a:latin typeface="Aptos" panose="020B0004020202020204" pitchFamily="34" charset="0"/>
                <a:ea typeface="Aptos" panose="020B0004020202020204" pitchFamily="34" charset="0"/>
                <a:cs typeface="Times New Roman" panose="02020603050405020304" pitchFamily="18" charset="0"/>
              </a:rPr>
              <a:t> </a:t>
            </a:r>
          </a:p>
          <a:p>
            <a:pPr algn="just">
              <a:lnSpc>
                <a:spcPct val="115000"/>
              </a:lnSpc>
              <a:spcAft>
                <a:spcPts val="800"/>
              </a:spcAft>
            </a:pPr>
            <a:endParaRPr lang="es-ES" sz="1200" kern="100" dirty="0">
              <a:effectLst/>
              <a:latin typeface="Aptos" panose="020B0004020202020204" pitchFamily="34" charset="0"/>
              <a:ea typeface="Aptos" panose="020B0004020202020204" pitchFamily="34" charset="0"/>
              <a:cs typeface="Times New Roman" panose="02020603050405020304" pitchFamily="18" charset="0"/>
            </a:endParaRPr>
          </a:p>
          <a:p>
            <a:pPr algn="just">
              <a:lnSpc>
                <a:spcPct val="115000"/>
              </a:lnSpc>
              <a:spcAft>
                <a:spcPts val="800"/>
              </a:spcAft>
            </a:pPr>
            <a:r>
              <a:rPr lang="es-ES" sz="1200" kern="100" dirty="0">
                <a:effectLst/>
                <a:latin typeface="Aptos" panose="020B0004020202020204" pitchFamily="34" charset="0"/>
                <a:ea typeface="Aptos" panose="020B0004020202020204" pitchFamily="34" charset="0"/>
                <a:cs typeface="Times New Roman" panose="02020603050405020304" pitchFamily="18" charset="0"/>
              </a:rPr>
              <a:t>Las mujeres suelen presentar una enfermedad atípica o asintomática, lo que justifica una atención especial durante el cribado </a:t>
            </a:r>
          </a:p>
          <a:p>
            <a:pPr algn="just">
              <a:lnSpc>
                <a:spcPct val="115000"/>
              </a:lnSpc>
              <a:spcAft>
                <a:spcPts val="800"/>
              </a:spcAft>
            </a:pPr>
            <a:endParaRPr lang="es-ES" sz="1200" kern="100" dirty="0">
              <a:effectLst/>
              <a:latin typeface="Aptos" panose="020B0004020202020204" pitchFamily="34" charset="0"/>
              <a:ea typeface="Aptos" panose="020B0004020202020204" pitchFamily="34" charset="0"/>
              <a:cs typeface="Times New Roman" panose="02020603050405020304" pitchFamily="18" charset="0"/>
            </a:endParaRPr>
          </a:p>
          <a:p>
            <a:pPr algn="just">
              <a:lnSpc>
                <a:spcPct val="115000"/>
              </a:lnSpc>
              <a:spcAft>
                <a:spcPts val="800"/>
              </a:spcAft>
            </a:pPr>
            <a:r>
              <a:rPr lang="es-ES" sz="1200" kern="100" dirty="0">
                <a:effectLst/>
                <a:latin typeface="Aptos" panose="020B0004020202020204" pitchFamily="34" charset="0"/>
                <a:ea typeface="Aptos" panose="020B0004020202020204" pitchFamily="34" charset="0"/>
                <a:cs typeface="Times New Roman" panose="02020603050405020304" pitchFamily="18" charset="0"/>
              </a:rPr>
              <a:t>Las recomendaciones más importantes de las nuevas Directrices 2024 son las que abordan la naturaleza crónica de la PAAD, la importancia del cribado y la necesidad de estrategias de tratamiento integrales, así como la concienciación de que se trata de una enfermedad crónica que requiere un seguimiento de por vid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p:txBody>
      </p:sp>
      <p:sp>
        <p:nvSpPr>
          <p:cNvPr id="4" name="Marcador de número de diapositiva 3">
            <a:extLst>
              <a:ext uri="{FF2B5EF4-FFF2-40B4-BE49-F238E27FC236}">
                <a16:creationId xmlns:a16="http://schemas.microsoft.com/office/drawing/2014/main" id="{0A805D32-00CD-8EE2-1F37-5422538054A5}"/>
              </a:ext>
            </a:extLst>
          </p:cNvPr>
          <p:cNvSpPr>
            <a:spLocks noGrp="1"/>
          </p:cNvSpPr>
          <p:nvPr>
            <p:ph type="sldNum" sz="quarter" idx="5"/>
          </p:nvPr>
        </p:nvSpPr>
        <p:spPr/>
        <p:txBody>
          <a:bodyPr/>
          <a:lstStyle/>
          <a:p>
            <a:fld id="{DE4CB052-C253-4640-86CA-525C5FEBA7E5}" type="slidenum">
              <a:rPr lang="es-ES" smtClean="0"/>
              <a:t>45</a:t>
            </a:fld>
            <a:endParaRPr lang="es-ES"/>
          </a:p>
        </p:txBody>
      </p:sp>
    </p:spTree>
    <p:extLst>
      <p:ext uri="{BB962C8B-B14F-4D97-AF65-F5344CB8AC3E}">
        <p14:creationId xmlns:p14="http://schemas.microsoft.com/office/powerpoint/2010/main" val="8427941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3CFC7F-B50C-1511-8978-4229A952A97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EA41BB04-2D9A-3AD8-7194-4BB67659CC7F}"/>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2A784B30-4151-50B0-73EE-9290C675A829}"/>
              </a:ext>
            </a:extLst>
          </p:cNvPr>
          <p:cNvSpPr>
            <a:spLocks noGrp="1"/>
          </p:cNvSpPr>
          <p:nvPr>
            <p:ph type="body" idx="1"/>
          </p:nvPr>
        </p:nvSpPr>
        <p:spPr/>
        <p:txBody>
          <a:bodyPr/>
          <a:lstStyle/>
          <a:p>
            <a:r>
              <a:rPr lang="es-ES" dirty="0"/>
              <a:t>La nueva definición de SCC, se basa en conceptos fisiopatológicos ampliados, y se aleja del concepto simple de isquemia miocárdica inducible causada por una estenosis aterosclerótica fija, focal y que limita el flujo de una arteria coronaria grande o mediana. </a:t>
            </a:r>
          </a:p>
          <a:p>
            <a:endParaRPr lang="es-ES" dirty="0"/>
          </a:p>
          <a:p>
            <a:r>
              <a:rPr lang="es-ES" dirty="0"/>
              <a:t>El modelo actual, más complejo y dinámico, abarca anomalías estructurales y funcionales tanto en los compartimentos </a:t>
            </a:r>
            <a:r>
              <a:rPr lang="es-ES" dirty="0" err="1"/>
              <a:t>macrovasculares</a:t>
            </a:r>
            <a:r>
              <a:rPr lang="es-ES" dirty="0"/>
              <a:t> como microvasculares del árbol coronario, que pueden ser focales o difus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p:txBody>
      </p:sp>
      <p:sp>
        <p:nvSpPr>
          <p:cNvPr id="4" name="Marcador de número de diapositiva 3">
            <a:extLst>
              <a:ext uri="{FF2B5EF4-FFF2-40B4-BE49-F238E27FC236}">
                <a16:creationId xmlns:a16="http://schemas.microsoft.com/office/drawing/2014/main" id="{3C024E2D-8B67-F536-8AC7-B7D182266462}"/>
              </a:ext>
            </a:extLst>
          </p:cNvPr>
          <p:cNvSpPr>
            <a:spLocks noGrp="1"/>
          </p:cNvSpPr>
          <p:nvPr>
            <p:ph type="sldNum" sz="quarter" idx="5"/>
          </p:nvPr>
        </p:nvSpPr>
        <p:spPr/>
        <p:txBody>
          <a:bodyPr/>
          <a:lstStyle/>
          <a:p>
            <a:fld id="{DE4CB052-C253-4640-86CA-525C5FEBA7E5}" type="slidenum">
              <a:rPr lang="es-ES" smtClean="0"/>
              <a:t>8</a:t>
            </a:fld>
            <a:endParaRPr lang="es-ES"/>
          </a:p>
        </p:txBody>
      </p:sp>
    </p:spTree>
    <p:extLst>
      <p:ext uri="{BB962C8B-B14F-4D97-AF65-F5344CB8AC3E}">
        <p14:creationId xmlns:p14="http://schemas.microsoft.com/office/powerpoint/2010/main" val="30890303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D1F8E3-8743-C9BA-C4A3-E15F9F8C7A1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E5BD90F8-C914-CA7E-76F5-58D9BD3A2B5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6A58FDD7-2260-B990-9CFC-E9F31B306BE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Prevalencia de las características de la enfermedad en pacientes con ANOCA/INOCA referidos para pruebas funcionales coronarias invasiva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n el registro ILIAS (Evaluación Fisiológica Invasiva Inclusiva en Síndromes de Angina), la ANOCA está presente en hasta el 70 % de los pacientes referidos para angiografía coronaria invasiva y pruebas funcionales. La disfunción endotelial está presente en el 80 % y una prueba de acetilcolina es positiva en el 60 % de estos pacient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Un CFR (Ratio de Flujo Coronario) reducido (≤2.5), medido por guías Doppler intracoronarias, está presente en el 50 %, mientras que la isquemia (INOCA) se documenta mediante pruebas funcionales no invasivas en solo el 25 % de los pacientes con ANOC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La prevalencia del vasoespasmo coronario puede variar en diferentes estudios según la dosis de acetilcolina y el protocolo de prueba.</a:t>
            </a:r>
          </a:p>
        </p:txBody>
      </p:sp>
      <p:sp>
        <p:nvSpPr>
          <p:cNvPr id="4" name="Marcador de número de diapositiva 3">
            <a:extLst>
              <a:ext uri="{FF2B5EF4-FFF2-40B4-BE49-F238E27FC236}">
                <a16:creationId xmlns:a16="http://schemas.microsoft.com/office/drawing/2014/main" id="{87495C62-63DF-8166-15BA-EBD0213767F5}"/>
              </a:ext>
            </a:extLst>
          </p:cNvPr>
          <p:cNvSpPr>
            <a:spLocks noGrp="1"/>
          </p:cNvSpPr>
          <p:nvPr>
            <p:ph type="sldNum" sz="quarter" idx="5"/>
          </p:nvPr>
        </p:nvSpPr>
        <p:spPr/>
        <p:txBody>
          <a:bodyPr/>
          <a:lstStyle/>
          <a:p>
            <a:fld id="{DE4CB052-C253-4640-86CA-525C5FEBA7E5}" type="slidenum">
              <a:rPr lang="es-ES" smtClean="0"/>
              <a:t>9</a:t>
            </a:fld>
            <a:endParaRPr lang="es-ES"/>
          </a:p>
        </p:txBody>
      </p:sp>
    </p:spTree>
    <p:extLst>
      <p:ext uri="{BB962C8B-B14F-4D97-AF65-F5344CB8AC3E}">
        <p14:creationId xmlns:p14="http://schemas.microsoft.com/office/powerpoint/2010/main" val="39627759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661890-C45A-CB36-0530-44FE53D0676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0640105-CD71-CAB3-48A2-2AF5F27E9361}"/>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EB1FEB8-26FC-CB84-2011-893A95BE4BC2}"/>
              </a:ext>
            </a:extLst>
          </p:cNvPr>
          <p:cNvSpPr>
            <a:spLocks noGrp="1"/>
          </p:cNvSpPr>
          <p:nvPr>
            <p:ph type="body" idx="1"/>
          </p:nvPr>
        </p:nvSpPr>
        <p:spPr/>
        <p:txBody>
          <a:bodyPr/>
          <a:lstStyle/>
          <a:p>
            <a:r>
              <a:rPr lang="es-ES" dirty="0"/>
              <a:t>Las directrices de 2024 recomiendan un enfoque escalonado para el manejo de la sospecha de SCC, con </a:t>
            </a:r>
          </a:p>
          <a:p>
            <a:endParaRPr lang="es-ES" dirty="0"/>
          </a:p>
          <a:p>
            <a:pPr marL="171450" indent="-171450">
              <a:buFontTx/>
              <a:buChar char="-"/>
            </a:pPr>
            <a:r>
              <a:rPr lang="es-ES" b="1" dirty="0"/>
              <a:t>Paso 1:  </a:t>
            </a:r>
            <a:r>
              <a:rPr lang="es-ES" dirty="0"/>
              <a:t>evaluación clínica general para diferenciar los signos y síntomas del </a:t>
            </a:r>
            <a:r>
              <a:rPr lang="es-ES" b="1" dirty="0"/>
              <a:t>paciente de causas no cardíacas de dolor torácico </a:t>
            </a:r>
            <a:r>
              <a:rPr lang="es-ES" dirty="0"/>
              <a:t>y descartar el síndrome coronario agudo. </a:t>
            </a:r>
          </a:p>
          <a:p>
            <a:pPr marL="171450" indent="-171450">
              <a:buFontTx/>
              <a:buChar char="-"/>
            </a:pPr>
            <a:endParaRPr lang="es-ES" dirty="0"/>
          </a:p>
          <a:p>
            <a:pPr marL="171450" indent="-171450">
              <a:buFontTx/>
              <a:buChar char="-"/>
            </a:pPr>
            <a:r>
              <a:rPr lang="es-ES" b="1" dirty="0"/>
              <a:t>Paso 2: </a:t>
            </a:r>
            <a:r>
              <a:rPr lang="es-ES" dirty="0"/>
              <a:t>examen por un especialista en cardiología, que incluye una ecocardiografía en reposo para descartar disfunción ventricular izquierda y enfermedad valvular cardíaca. Una nueva recomendación de Clase I respalda la estimación de la probabilidad previa al examen de </a:t>
            </a:r>
            <a:r>
              <a:rPr lang="es-ES" b="1" dirty="0"/>
              <a:t>enfermedad arterial coronaria obstructiva (CAD) </a:t>
            </a:r>
            <a:r>
              <a:rPr lang="es-ES" dirty="0"/>
              <a:t>utilizando el modelo de Probabilidad Clínica Ponderada por Factores de Riesgo.</a:t>
            </a:r>
          </a:p>
          <a:p>
            <a:pPr marL="171450" indent="-171450">
              <a:buFontTx/>
              <a:buChar char="-"/>
            </a:pPr>
            <a:endParaRPr lang="es-ES" dirty="0"/>
          </a:p>
          <a:p>
            <a:pPr marL="171450" indent="-171450">
              <a:buFontTx/>
              <a:buChar char="-"/>
            </a:pPr>
            <a:r>
              <a:rPr lang="es-ES" b="1" dirty="0"/>
              <a:t>Paso 3: </a:t>
            </a:r>
            <a:r>
              <a:rPr lang="es-ES" dirty="0"/>
              <a:t> pruebas para establecer el diagnóstico de SCC y determinar el riesgo del paciente de eventos futuros. Se recomienda el uso de la angiografía por tomografía computarizada coronaria para diagnosticar la CAD obstructiva y estimar el riesgo de eventos cardiovasculares adversos mayores (MACE) en personas con SCC sospechoso y una probabilidad previa al examen baja o moderada (&gt;5%-50%) de CAD obstructiva. </a:t>
            </a:r>
          </a:p>
          <a:p>
            <a:pPr marL="171450" indent="-171450">
              <a:buFontTx/>
              <a:buChar char="-"/>
            </a:pPr>
            <a:r>
              <a:rPr lang="es-ES" dirty="0"/>
              <a:t>En aquellos con una probabilidad moderada o alta (&gt;15%-85%) de CAD obstructiva, </a:t>
            </a:r>
            <a:r>
              <a:rPr lang="es-ES" b="1" dirty="0"/>
              <a:t>hay nuevas recomendaciones de Clase I </a:t>
            </a:r>
            <a:r>
              <a:rPr lang="es-ES" dirty="0"/>
              <a:t>sobre el uso de ecocardiografía de esfuerzo, tomografía por emisión de positrones y resonancia magnética cardíaca con perfusión, si están disponibles.</a:t>
            </a:r>
          </a:p>
          <a:p>
            <a:pPr marL="171450" indent="-171450">
              <a:buFontTx/>
              <a:buChar char="-"/>
            </a:pPr>
            <a:r>
              <a:rPr lang="es-ES" dirty="0"/>
              <a:t>Se recomienda la </a:t>
            </a:r>
            <a:r>
              <a:rPr lang="es-ES" b="1" dirty="0"/>
              <a:t>angiografía coronaria invasiva (ACI) </a:t>
            </a:r>
            <a:r>
              <a:rPr lang="es-ES" dirty="0"/>
              <a:t>para diagnosticar la enfermedad CAD en personas con una alta probabilidad previa o posterior a la prueba de la enfermedad, síntomas graves que no responden a la terapia médica, angina con bajo nivel de ejercicio y/o alto riesgo de eventos. Cuando se indica la ACI, se recomienda que la gravedad funcional de las estenosis "intermedias" se evalúe mediante pruebas funcionales invasivas (reserva fraccional de flujo y relación instantánea sin onda) antes de la revascularización.</a:t>
            </a:r>
          </a:p>
          <a:p>
            <a:pPr marL="171450" indent="-171450">
              <a:buFontTx/>
              <a:buChar char="-"/>
            </a:pPr>
            <a:endParaRPr lang="es-ES" dirty="0"/>
          </a:p>
          <a:p>
            <a:pPr marL="171450" indent="-171450">
              <a:buFontTx/>
              <a:buChar char="-"/>
            </a:pPr>
            <a:r>
              <a:rPr lang="es-ES" b="1" dirty="0"/>
              <a:t>Paso 4: </a:t>
            </a:r>
            <a:r>
              <a:rPr lang="es-ES" dirty="0"/>
              <a:t>incluye la modificación del estilo de vida y de los factores de riesgo, combinada con medicamentos que alteran el curso de la enfermedad, y la revascularización coronaria si los síntomas son refractarios al tratamiento médico o si está presente una CAD de alto riesgo</a:t>
            </a:r>
          </a:p>
          <a:p>
            <a:pPr marL="171450" indent="-171450">
              <a:buFontTx/>
              <a:buChar char="-"/>
            </a:pPr>
            <a:endParaRPr lang="es-ES" dirty="0"/>
          </a:p>
        </p:txBody>
      </p:sp>
      <p:sp>
        <p:nvSpPr>
          <p:cNvPr id="4" name="Marcador de número de diapositiva 3">
            <a:extLst>
              <a:ext uri="{FF2B5EF4-FFF2-40B4-BE49-F238E27FC236}">
                <a16:creationId xmlns:a16="http://schemas.microsoft.com/office/drawing/2014/main" id="{73F735D5-31B9-6643-8CA3-F1E63D8DEA01}"/>
              </a:ext>
            </a:extLst>
          </p:cNvPr>
          <p:cNvSpPr>
            <a:spLocks noGrp="1"/>
          </p:cNvSpPr>
          <p:nvPr>
            <p:ph type="sldNum" sz="quarter" idx="5"/>
          </p:nvPr>
        </p:nvSpPr>
        <p:spPr/>
        <p:txBody>
          <a:bodyPr/>
          <a:lstStyle/>
          <a:p>
            <a:fld id="{DE4CB052-C253-4640-86CA-525C5FEBA7E5}" type="slidenum">
              <a:rPr lang="es-ES" smtClean="0"/>
              <a:t>10</a:t>
            </a:fld>
            <a:endParaRPr lang="es-ES"/>
          </a:p>
        </p:txBody>
      </p:sp>
    </p:spTree>
    <p:extLst>
      <p:ext uri="{BB962C8B-B14F-4D97-AF65-F5344CB8AC3E}">
        <p14:creationId xmlns:p14="http://schemas.microsoft.com/office/powerpoint/2010/main" val="40575567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D4A7AE-795A-10AE-E566-28C1FEB6C2B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B774DD71-ECC8-3F58-2F7B-9D5948AE2B6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7639897-A605-A95F-9991-9262F82C9445}"/>
              </a:ext>
            </a:extLst>
          </p:cNvPr>
          <p:cNvSpPr>
            <a:spLocks noGrp="1"/>
          </p:cNvSpPr>
          <p:nvPr>
            <p:ph type="body" idx="1"/>
          </p:nvPr>
        </p:nvSpPr>
        <p:spPr/>
        <p:txBody>
          <a:bodyPr/>
          <a:lstStyle/>
          <a:p>
            <a:r>
              <a:rPr lang="es-ES" dirty="0"/>
              <a:t>Las directrices destacan la alta prevalencia de angina con arterias coronarias no obstructivas (ANOCA) e isquemia con arterias coronarias no obstructivas (INOCA), así como su tasa asociada de eventos cardiovasculares adversos mayores (MACE). </a:t>
            </a:r>
          </a:p>
          <a:p>
            <a:endParaRPr lang="es-ES" dirty="0"/>
          </a:p>
          <a:p>
            <a:r>
              <a:rPr lang="es-ES" dirty="0"/>
              <a:t>Se recomienda que los pacientes sintomáticos con sospecha de ANOCA/INOCA que no respondan a la terapia médica derivada de las directrices se sometan a pruebas funcionales coronarias invasivas para determinar los </a:t>
            </a:r>
            <a:r>
              <a:rPr lang="es-ES" dirty="0" err="1"/>
              <a:t>endotipos</a:t>
            </a:r>
            <a:r>
              <a:rPr lang="es-ES" dirty="0"/>
              <a:t> subyacentes y orientar la terapia médica adecuada.</a:t>
            </a:r>
          </a:p>
          <a:p>
            <a:endParaRPr lang="es-ES" dirty="0"/>
          </a:p>
          <a:p>
            <a:r>
              <a:rPr lang="es-ES" dirty="0"/>
              <a:t>Así, en cuanto al algoritmo diagnóstico y selección de pruebas adecuadas, tras estimar la probabilidad </a:t>
            </a:r>
            <a:r>
              <a:rPr lang="es-ES" dirty="0" err="1"/>
              <a:t>pre-test</a:t>
            </a:r>
            <a:r>
              <a:rPr lang="es-ES" dirty="0"/>
              <a:t> de enfermedad arterial coronaria (CAD) obstructiva en el epicardio, basada en el modelo de la p</a:t>
            </a:r>
            <a:r>
              <a:rPr lang="en-GB" dirty="0" err="1"/>
              <a:t>robabilidad</a:t>
            </a:r>
            <a:r>
              <a:rPr lang="en-GB" dirty="0"/>
              <a:t> </a:t>
            </a:r>
            <a:r>
              <a:rPr lang="en-GB" dirty="0" err="1"/>
              <a:t>Clínica</a:t>
            </a:r>
            <a:r>
              <a:rPr lang="en-GB" dirty="0"/>
              <a:t> </a:t>
            </a:r>
            <a:r>
              <a:rPr lang="en-GB" dirty="0" err="1"/>
              <a:t>Ponderada</a:t>
            </a:r>
            <a:r>
              <a:rPr lang="en-GB" dirty="0"/>
              <a:t> </a:t>
            </a:r>
            <a:r>
              <a:rPr lang="en-GB" dirty="0" err="1"/>
              <a:t>por</a:t>
            </a:r>
            <a:r>
              <a:rPr lang="en-GB" dirty="0"/>
              <a:t> </a:t>
            </a:r>
            <a:r>
              <a:rPr lang="en-GB" dirty="0" err="1"/>
              <a:t>Factores</a:t>
            </a:r>
            <a:r>
              <a:rPr lang="en-GB" dirty="0"/>
              <a:t> de </a:t>
            </a:r>
            <a:r>
              <a:rPr lang="en-GB" dirty="0" err="1"/>
              <a:t>Riesgo</a:t>
            </a:r>
            <a:r>
              <a:rPr lang="en-GB" dirty="0"/>
              <a:t> (RF-CL) (no </a:t>
            </a:r>
            <a:r>
              <a:rPr lang="en-GB" dirty="0" err="1"/>
              <a:t>mostrado</a:t>
            </a:r>
            <a:r>
              <a:rPr lang="en-GB" dirty="0"/>
              <a:t>)</a:t>
            </a:r>
            <a:r>
              <a:rPr lang="es-ES" dirty="0"/>
              <a:t>,  las pruebas diagnósticas adicionales dependen del escenario clínico, la condición general, la calidad de vida (</a:t>
            </a:r>
            <a:r>
              <a:rPr lang="es-ES" dirty="0" err="1"/>
              <a:t>QoL</a:t>
            </a:r>
            <a:r>
              <a:rPr lang="es-ES" dirty="0"/>
              <a:t>), la presencia de comorbilidades, la disponibilidad local y la experiencia con diferentes técnicas diagnósticas, y, lo que es más importante, las expectativas y preferencias del paciente.</a:t>
            </a:r>
          </a:p>
        </p:txBody>
      </p:sp>
      <p:sp>
        <p:nvSpPr>
          <p:cNvPr id="4" name="Marcador de número de diapositiva 3">
            <a:extLst>
              <a:ext uri="{FF2B5EF4-FFF2-40B4-BE49-F238E27FC236}">
                <a16:creationId xmlns:a16="http://schemas.microsoft.com/office/drawing/2014/main" id="{166387E0-25CA-3BBD-09B1-32FA511C1A87}"/>
              </a:ext>
            </a:extLst>
          </p:cNvPr>
          <p:cNvSpPr>
            <a:spLocks noGrp="1"/>
          </p:cNvSpPr>
          <p:nvPr>
            <p:ph type="sldNum" sz="quarter" idx="5"/>
          </p:nvPr>
        </p:nvSpPr>
        <p:spPr/>
        <p:txBody>
          <a:bodyPr/>
          <a:lstStyle/>
          <a:p>
            <a:fld id="{DE4CB052-C253-4640-86CA-525C5FEBA7E5}" type="slidenum">
              <a:rPr lang="es-ES" smtClean="0"/>
              <a:t>11</a:t>
            </a:fld>
            <a:endParaRPr lang="es-ES"/>
          </a:p>
        </p:txBody>
      </p:sp>
    </p:spTree>
    <p:extLst>
      <p:ext uri="{BB962C8B-B14F-4D97-AF65-F5344CB8AC3E}">
        <p14:creationId xmlns:p14="http://schemas.microsoft.com/office/powerpoint/2010/main" val="15207144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81FD80-E720-1D74-CB66-7CA814259B6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5CE37BD-EDE3-3F2B-C951-E54A89DA4555}"/>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3C80824-29A4-063D-49CD-F393095724A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n los pacientes con SCC, la educación sobre los factores de riesgo y el manejo de los síntomas está asociada con mejoras en el conocimiento, el autocuidado y el empoderamiento del paciente, y puede mejorar la calidad de vida relacionada con la salud (CV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n los casos en que se debe instaurar una terapia médica </a:t>
            </a:r>
            <a:r>
              <a:rPr lang="es-ES" dirty="0" err="1"/>
              <a:t>antianginosa</a:t>
            </a:r>
            <a:r>
              <a:rPr lang="es-ES" dirty="0"/>
              <a:t>, el objetivo consiste en controlar los síntomas mientras se asegura una tolerabilidad aceptable y la adherencia del paciente. Se deben considerar varios factores para la selección de esta terapia. En primer lugar, no hay evidencia sólida de comparaciones directas que indique que algunos medicamentos </a:t>
            </a:r>
            <a:r>
              <a:rPr lang="es-ES" dirty="0" err="1"/>
              <a:t>antianginosos</a:t>
            </a:r>
            <a:r>
              <a:rPr lang="es-ES" dirty="0"/>
              <a:t> sean más efectivos que otros para mejorar los síntomas.</a:t>
            </a:r>
          </a:p>
        </p:txBody>
      </p:sp>
      <p:sp>
        <p:nvSpPr>
          <p:cNvPr id="4" name="Marcador de número de diapositiva 3">
            <a:extLst>
              <a:ext uri="{FF2B5EF4-FFF2-40B4-BE49-F238E27FC236}">
                <a16:creationId xmlns:a16="http://schemas.microsoft.com/office/drawing/2014/main" id="{A072CE24-BDC9-7314-8A18-DC6AEFB50DCF}"/>
              </a:ext>
            </a:extLst>
          </p:cNvPr>
          <p:cNvSpPr>
            <a:spLocks noGrp="1"/>
          </p:cNvSpPr>
          <p:nvPr>
            <p:ph type="sldNum" sz="quarter" idx="5"/>
          </p:nvPr>
        </p:nvSpPr>
        <p:spPr/>
        <p:txBody>
          <a:bodyPr/>
          <a:lstStyle/>
          <a:p>
            <a:fld id="{DE4CB052-C253-4640-86CA-525C5FEBA7E5}" type="slidenum">
              <a:rPr lang="es-ES" smtClean="0"/>
              <a:t>12</a:t>
            </a:fld>
            <a:endParaRPr lang="es-ES"/>
          </a:p>
        </p:txBody>
      </p:sp>
    </p:spTree>
    <p:extLst>
      <p:ext uri="{BB962C8B-B14F-4D97-AF65-F5344CB8AC3E}">
        <p14:creationId xmlns:p14="http://schemas.microsoft.com/office/powerpoint/2010/main" val="14698738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6_Diseño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9A2BE49-8834-EC86-9E4A-E56FAC8A5F94}"/>
              </a:ext>
            </a:extLst>
          </p:cNvPr>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17724817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ver 2">
    <p:bg>
      <p:bgPr>
        <a:solidFill>
          <a:schemeClr val="bg1"/>
        </a:solidFill>
        <a:effectLst/>
      </p:bgPr>
    </p:bg>
    <p:spTree>
      <p:nvGrpSpPr>
        <p:cNvPr id="1" name=""/>
        <p:cNvGrpSpPr/>
        <p:nvPr/>
      </p:nvGrpSpPr>
      <p:grpSpPr>
        <a:xfrm>
          <a:off x="0" y="0"/>
          <a:ext cx="0" cy="0"/>
          <a:chOff x="0" y="0"/>
          <a:chExt cx="0" cy="0"/>
        </a:xfrm>
      </p:grpSpPr>
      <p:sp>
        <p:nvSpPr>
          <p:cNvPr id="10" name="Marcador de imagen 9">
            <a:extLst>
              <a:ext uri="{FF2B5EF4-FFF2-40B4-BE49-F238E27FC236}">
                <a16:creationId xmlns:a16="http://schemas.microsoft.com/office/drawing/2014/main" id="{F40AFF3F-2C00-A3D3-DBB3-2B5932B54A18}"/>
              </a:ext>
            </a:extLst>
          </p:cNvPr>
          <p:cNvSpPr>
            <a:spLocks noGrp="1"/>
          </p:cNvSpPr>
          <p:nvPr>
            <p:ph type="pic" sz="quarter" idx="15" hasCustomPrompt="1"/>
          </p:nvPr>
        </p:nvSpPr>
        <p:spPr>
          <a:xfrm>
            <a:off x="0" y="0"/>
            <a:ext cx="12195375" cy="6858000"/>
          </a:xfrm>
          <a:custGeom>
            <a:avLst/>
            <a:gdLst>
              <a:gd name="connsiteX0" fmla="*/ 0 w 9144000"/>
              <a:gd name="connsiteY0" fmla="*/ 0 h 6858000"/>
              <a:gd name="connsiteX1" fmla="*/ 9144000 w 9144000"/>
              <a:gd name="connsiteY1" fmla="*/ 0 h 6858000"/>
              <a:gd name="connsiteX2" fmla="*/ 9144000 w 9144000"/>
              <a:gd name="connsiteY2" fmla="*/ 6858000 h 6858000"/>
              <a:gd name="connsiteX3" fmla="*/ 0 w 9144000"/>
              <a:gd name="connsiteY3" fmla="*/ 6858000 h 6858000"/>
              <a:gd name="connsiteX4" fmla="*/ 0 w 9144000"/>
              <a:gd name="connsiteY4" fmla="*/ 0 h 6858000"/>
              <a:gd name="connsiteX0" fmla="*/ 0 w 9144000"/>
              <a:gd name="connsiteY0" fmla="*/ 0 h 6858000"/>
              <a:gd name="connsiteX1" fmla="*/ 9144000 w 9144000"/>
              <a:gd name="connsiteY1" fmla="*/ 0 h 6858000"/>
              <a:gd name="connsiteX2" fmla="*/ 9139666 w 9144000"/>
              <a:gd name="connsiteY2" fmla="*/ 6093111 h 6858000"/>
              <a:gd name="connsiteX3" fmla="*/ 9144000 w 9144000"/>
              <a:gd name="connsiteY3" fmla="*/ 6858000 h 6858000"/>
              <a:gd name="connsiteX4" fmla="*/ 0 w 9144000"/>
              <a:gd name="connsiteY4" fmla="*/ 6858000 h 6858000"/>
              <a:gd name="connsiteX5" fmla="*/ 0 w 9144000"/>
              <a:gd name="connsiteY5" fmla="*/ 0 h 6858000"/>
              <a:gd name="connsiteX0" fmla="*/ 0 w 9144000"/>
              <a:gd name="connsiteY0" fmla="*/ 0 h 6858000"/>
              <a:gd name="connsiteX1" fmla="*/ 9144000 w 9144000"/>
              <a:gd name="connsiteY1" fmla="*/ 0 h 6858000"/>
              <a:gd name="connsiteX2" fmla="*/ 9139666 w 9144000"/>
              <a:gd name="connsiteY2" fmla="*/ 6093111 h 6858000"/>
              <a:gd name="connsiteX3" fmla="*/ 8467950 w 9144000"/>
              <a:gd name="connsiteY3" fmla="*/ 6853667 h 6858000"/>
              <a:gd name="connsiteX4" fmla="*/ 0 w 9144000"/>
              <a:gd name="connsiteY4" fmla="*/ 6858000 h 6858000"/>
              <a:gd name="connsiteX5" fmla="*/ 0 w 9144000"/>
              <a:gd name="connsiteY5" fmla="*/ 0 h 6858000"/>
              <a:gd name="connsiteX0" fmla="*/ 0 w 9144000"/>
              <a:gd name="connsiteY0" fmla="*/ 0 h 6858000"/>
              <a:gd name="connsiteX1" fmla="*/ 9144000 w 9144000"/>
              <a:gd name="connsiteY1" fmla="*/ 0 h 6858000"/>
              <a:gd name="connsiteX2" fmla="*/ 9139666 w 9144000"/>
              <a:gd name="connsiteY2" fmla="*/ 6093111 h 6858000"/>
              <a:gd name="connsiteX3" fmla="*/ 8467950 w 9144000"/>
              <a:gd name="connsiteY3" fmla="*/ 6853667 h 6858000"/>
              <a:gd name="connsiteX4" fmla="*/ 0 w 9144000"/>
              <a:gd name="connsiteY4" fmla="*/ 6858000 h 6858000"/>
              <a:gd name="connsiteX5" fmla="*/ 0 w 9144000"/>
              <a:gd name="connsiteY5" fmla="*/ 0 h 6858000"/>
              <a:gd name="connsiteX0" fmla="*/ 0 w 9144000"/>
              <a:gd name="connsiteY0" fmla="*/ 0 h 6858000"/>
              <a:gd name="connsiteX1" fmla="*/ 9144000 w 9144000"/>
              <a:gd name="connsiteY1" fmla="*/ 0 h 6858000"/>
              <a:gd name="connsiteX2" fmla="*/ 9139666 w 9144000"/>
              <a:gd name="connsiteY2" fmla="*/ 6093111 h 6858000"/>
              <a:gd name="connsiteX3" fmla="*/ 8467950 w 9144000"/>
              <a:gd name="connsiteY3" fmla="*/ 6853667 h 6858000"/>
              <a:gd name="connsiteX4" fmla="*/ 0 w 9144000"/>
              <a:gd name="connsiteY4" fmla="*/ 6858000 h 6858000"/>
              <a:gd name="connsiteX5" fmla="*/ 0 w 9144000"/>
              <a:gd name="connsiteY5" fmla="*/ 0 h 6858000"/>
              <a:gd name="connsiteX0" fmla="*/ 0 w 9144000"/>
              <a:gd name="connsiteY0" fmla="*/ 0 h 6858000"/>
              <a:gd name="connsiteX1" fmla="*/ 9144000 w 9144000"/>
              <a:gd name="connsiteY1" fmla="*/ 0 h 6858000"/>
              <a:gd name="connsiteX2" fmla="*/ 9139666 w 9144000"/>
              <a:gd name="connsiteY2" fmla="*/ 6093111 h 6858000"/>
              <a:gd name="connsiteX3" fmla="*/ 8467950 w 9144000"/>
              <a:gd name="connsiteY3" fmla="*/ 6853667 h 6858000"/>
              <a:gd name="connsiteX4" fmla="*/ 0 w 9144000"/>
              <a:gd name="connsiteY4" fmla="*/ 6858000 h 6858000"/>
              <a:gd name="connsiteX5" fmla="*/ 0 w 9144000"/>
              <a:gd name="connsiteY5" fmla="*/ 0 h 6858000"/>
              <a:gd name="connsiteX0" fmla="*/ 0 w 9144000"/>
              <a:gd name="connsiteY0" fmla="*/ 0 h 6858000"/>
              <a:gd name="connsiteX1" fmla="*/ 9144000 w 9144000"/>
              <a:gd name="connsiteY1" fmla="*/ 0 h 6858000"/>
              <a:gd name="connsiteX2" fmla="*/ 9139666 w 9144000"/>
              <a:gd name="connsiteY2" fmla="*/ 6093111 h 6858000"/>
              <a:gd name="connsiteX3" fmla="*/ 8467950 w 9144000"/>
              <a:gd name="connsiteY3" fmla="*/ 6853667 h 6858000"/>
              <a:gd name="connsiteX4" fmla="*/ 0 w 9144000"/>
              <a:gd name="connsiteY4" fmla="*/ 6858000 h 6858000"/>
              <a:gd name="connsiteX5" fmla="*/ 0 w 9144000"/>
              <a:gd name="connsiteY5" fmla="*/ 0 h 6858000"/>
              <a:gd name="connsiteX0" fmla="*/ 0 w 9379985"/>
              <a:gd name="connsiteY0" fmla="*/ 0 h 6858000"/>
              <a:gd name="connsiteX1" fmla="*/ 9144000 w 9379985"/>
              <a:gd name="connsiteY1" fmla="*/ 0 h 6858000"/>
              <a:gd name="connsiteX2" fmla="*/ 9139666 w 9379985"/>
              <a:gd name="connsiteY2" fmla="*/ 6093111 h 6858000"/>
              <a:gd name="connsiteX3" fmla="*/ 9127281 w 9379985"/>
              <a:gd name="connsiteY3" fmla="*/ 6718912 h 6858000"/>
              <a:gd name="connsiteX4" fmla="*/ 0 w 9379985"/>
              <a:gd name="connsiteY4" fmla="*/ 6858000 h 6858000"/>
              <a:gd name="connsiteX5" fmla="*/ 0 w 9379985"/>
              <a:gd name="connsiteY5" fmla="*/ 0 h 6858000"/>
              <a:gd name="connsiteX0" fmla="*/ 0 w 9397790"/>
              <a:gd name="connsiteY0" fmla="*/ 0 h 6858000"/>
              <a:gd name="connsiteX1" fmla="*/ 9144000 w 9397790"/>
              <a:gd name="connsiteY1" fmla="*/ 0 h 6858000"/>
              <a:gd name="connsiteX2" fmla="*/ 9139666 w 9397790"/>
              <a:gd name="connsiteY2" fmla="*/ 6093111 h 6858000"/>
              <a:gd name="connsiteX3" fmla="*/ 9151344 w 9397790"/>
              <a:gd name="connsiteY3" fmla="*/ 6731745 h 6858000"/>
              <a:gd name="connsiteX4" fmla="*/ 0 w 9397790"/>
              <a:gd name="connsiteY4" fmla="*/ 6858000 h 6858000"/>
              <a:gd name="connsiteX5" fmla="*/ 0 w 9397790"/>
              <a:gd name="connsiteY5" fmla="*/ 0 h 6858000"/>
              <a:gd name="connsiteX0" fmla="*/ 0 w 9144000"/>
              <a:gd name="connsiteY0" fmla="*/ 0 h 6858000"/>
              <a:gd name="connsiteX1" fmla="*/ 9144000 w 9144000"/>
              <a:gd name="connsiteY1" fmla="*/ 0 h 6858000"/>
              <a:gd name="connsiteX2" fmla="*/ 9139666 w 9144000"/>
              <a:gd name="connsiteY2" fmla="*/ 6093111 h 6858000"/>
              <a:gd name="connsiteX3" fmla="*/ 8559391 w 9144000"/>
              <a:gd name="connsiteY3" fmla="*/ 6603409 h 6858000"/>
              <a:gd name="connsiteX4" fmla="*/ 0 w 9144000"/>
              <a:gd name="connsiteY4" fmla="*/ 6858000 h 6858000"/>
              <a:gd name="connsiteX5" fmla="*/ 0 w 9144000"/>
              <a:gd name="connsiteY5" fmla="*/ 0 h 6858000"/>
              <a:gd name="connsiteX0" fmla="*/ 0 w 9387070"/>
              <a:gd name="connsiteY0" fmla="*/ 0 h 6858000"/>
              <a:gd name="connsiteX1" fmla="*/ 9144000 w 9387070"/>
              <a:gd name="connsiteY1" fmla="*/ 0 h 6858000"/>
              <a:gd name="connsiteX2" fmla="*/ 9139666 w 9387070"/>
              <a:gd name="connsiteY2" fmla="*/ 6093111 h 6858000"/>
              <a:gd name="connsiteX3" fmla="*/ 9136906 w 9387070"/>
              <a:gd name="connsiteY3" fmla="*/ 6853667 h 6858000"/>
              <a:gd name="connsiteX4" fmla="*/ 0 w 9387070"/>
              <a:gd name="connsiteY4" fmla="*/ 6858000 h 6858000"/>
              <a:gd name="connsiteX5" fmla="*/ 0 w 9387070"/>
              <a:gd name="connsiteY5" fmla="*/ 0 h 6858000"/>
              <a:gd name="connsiteX0" fmla="*/ 0 w 9207408"/>
              <a:gd name="connsiteY0" fmla="*/ 0 h 6858000"/>
              <a:gd name="connsiteX1" fmla="*/ 9144000 w 9207408"/>
              <a:gd name="connsiteY1" fmla="*/ 0 h 6858000"/>
              <a:gd name="connsiteX2" fmla="*/ 9139666 w 9207408"/>
              <a:gd name="connsiteY2" fmla="*/ 6093111 h 6858000"/>
              <a:gd name="connsiteX3" fmla="*/ 9136906 w 9207408"/>
              <a:gd name="connsiteY3" fmla="*/ 6853667 h 6858000"/>
              <a:gd name="connsiteX4" fmla="*/ 0 w 9207408"/>
              <a:gd name="connsiteY4" fmla="*/ 6858000 h 6858000"/>
              <a:gd name="connsiteX5" fmla="*/ 0 w 9207408"/>
              <a:gd name="connsiteY5" fmla="*/ 0 h 6858000"/>
              <a:gd name="connsiteX0" fmla="*/ 0 w 9207408"/>
              <a:gd name="connsiteY0" fmla="*/ 0 h 6858000"/>
              <a:gd name="connsiteX1" fmla="*/ 9144000 w 9207408"/>
              <a:gd name="connsiteY1" fmla="*/ 0 h 6858000"/>
              <a:gd name="connsiteX2" fmla="*/ 9139666 w 9207408"/>
              <a:gd name="connsiteY2" fmla="*/ 6093111 h 6858000"/>
              <a:gd name="connsiteX3" fmla="*/ 9136906 w 9207408"/>
              <a:gd name="connsiteY3" fmla="*/ 6853667 h 6858000"/>
              <a:gd name="connsiteX4" fmla="*/ 0 w 9207408"/>
              <a:gd name="connsiteY4" fmla="*/ 6858000 h 6858000"/>
              <a:gd name="connsiteX5" fmla="*/ 0 w 9207408"/>
              <a:gd name="connsiteY5" fmla="*/ 0 h 6858000"/>
              <a:gd name="connsiteX0" fmla="*/ 0 w 9207408"/>
              <a:gd name="connsiteY0" fmla="*/ 0 h 6858000"/>
              <a:gd name="connsiteX1" fmla="*/ 9144000 w 9207408"/>
              <a:gd name="connsiteY1" fmla="*/ 0 h 6858000"/>
              <a:gd name="connsiteX2" fmla="*/ 9139666 w 9207408"/>
              <a:gd name="connsiteY2" fmla="*/ 6093111 h 6858000"/>
              <a:gd name="connsiteX3" fmla="*/ 9136906 w 9207408"/>
              <a:gd name="connsiteY3" fmla="*/ 6853667 h 6858000"/>
              <a:gd name="connsiteX4" fmla="*/ 0 w 9207408"/>
              <a:gd name="connsiteY4" fmla="*/ 6858000 h 6858000"/>
              <a:gd name="connsiteX5" fmla="*/ 0 w 9207408"/>
              <a:gd name="connsiteY5" fmla="*/ 0 h 6858000"/>
              <a:gd name="connsiteX0" fmla="*/ 0 w 9208695"/>
              <a:gd name="connsiteY0" fmla="*/ 0 h 6858000"/>
              <a:gd name="connsiteX1" fmla="*/ 9144000 w 9208695"/>
              <a:gd name="connsiteY1" fmla="*/ 0 h 6858000"/>
              <a:gd name="connsiteX2" fmla="*/ 9139666 w 9208695"/>
              <a:gd name="connsiteY2" fmla="*/ 6093111 h 6858000"/>
              <a:gd name="connsiteX3" fmla="*/ 9136906 w 9208695"/>
              <a:gd name="connsiteY3" fmla="*/ 6853667 h 6858000"/>
              <a:gd name="connsiteX4" fmla="*/ 0 w 9208695"/>
              <a:gd name="connsiteY4" fmla="*/ 6858000 h 6858000"/>
              <a:gd name="connsiteX5" fmla="*/ 0 w 9208695"/>
              <a:gd name="connsiteY5" fmla="*/ 0 h 6858000"/>
              <a:gd name="connsiteX0" fmla="*/ 0 w 9144000"/>
              <a:gd name="connsiteY0" fmla="*/ 0 h 6858000"/>
              <a:gd name="connsiteX1" fmla="*/ 9144000 w 9144000"/>
              <a:gd name="connsiteY1" fmla="*/ 0 h 6858000"/>
              <a:gd name="connsiteX2" fmla="*/ 9139666 w 9144000"/>
              <a:gd name="connsiteY2" fmla="*/ 6093111 h 6858000"/>
              <a:gd name="connsiteX3" fmla="*/ 9136906 w 9144000"/>
              <a:gd name="connsiteY3" fmla="*/ 6853667 h 6858000"/>
              <a:gd name="connsiteX4" fmla="*/ 0 w 9144000"/>
              <a:gd name="connsiteY4" fmla="*/ 6858000 h 6858000"/>
              <a:gd name="connsiteX5" fmla="*/ 0 w 9144000"/>
              <a:gd name="connsiteY5" fmla="*/ 0 h 6858000"/>
              <a:gd name="connsiteX0" fmla="*/ 0 w 9144000"/>
              <a:gd name="connsiteY0" fmla="*/ 0 h 6858000"/>
              <a:gd name="connsiteX1" fmla="*/ 9144000 w 9144000"/>
              <a:gd name="connsiteY1" fmla="*/ 0 h 6858000"/>
              <a:gd name="connsiteX2" fmla="*/ 9139666 w 9144000"/>
              <a:gd name="connsiteY2" fmla="*/ 6093111 h 6858000"/>
              <a:gd name="connsiteX3" fmla="*/ 9136906 w 9144000"/>
              <a:gd name="connsiteY3" fmla="*/ 6853667 h 6858000"/>
              <a:gd name="connsiteX4" fmla="*/ 0 w 9144000"/>
              <a:gd name="connsiteY4" fmla="*/ 6858000 h 6858000"/>
              <a:gd name="connsiteX5" fmla="*/ 0 w 9144000"/>
              <a:gd name="connsiteY5" fmla="*/ 0 h 6858000"/>
              <a:gd name="connsiteX0" fmla="*/ 0 w 9146545"/>
              <a:gd name="connsiteY0" fmla="*/ 0 h 6858000"/>
              <a:gd name="connsiteX1" fmla="*/ 9144000 w 9146545"/>
              <a:gd name="connsiteY1" fmla="*/ 0 h 6858000"/>
              <a:gd name="connsiteX2" fmla="*/ 9139666 w 9146545"/>
              <a:gd name="connsiteY2" fmla="*/ 6093111 h 6858000"/>
              <a:gd name="connsiteX3" fmla="*/ 9146531 w 9146545"/>
              <a:gd name="connsiteY3" fmla="*/ 6853667 h 6858000"/>
              <a:gd name="connsiteX4" fmla="*/ 0 w 9146545"/>
              <a:gd name="connsiteY4" fmla="*/ 6858000 h 6858000"/>
              <a:gd name="connsiteX5" fmla="*/ 0 w 9146545"/>
              <a:gd name="connsiteY5" fmla="*/ 0 h 6858000"/>
              <a:gd name="connsiteX0" fmla="*/ 0 w 9146545"/>
              <a:gd name="connsiteY0" fmla="*/ 0 h 6858000"/>
              <a:gd name="connsiteX1" fmla="*/ 9144000 w 9146545"/>
              <a:gd name="connsiteY1" fmla="*/ 0 h 6858000"/>
              <a:gd name="connsiteX2" fmla="*/ 9139666 w 9146545"/>
              <a:gd name="connsiteY2" fmla="*/ 6093111 h 6858000"/>
              <a:gd name="connsiteX3" fmla="*/ 9146531 w 9146545"/>
              <a:gd name="connsiteY3" fmla="*/ 6853667 h 6858000"/>
              <a:gd name="connsiteX4" fmla="*/ 0 w 9146545"/>
              <a:gd name="connsiteY4" fmla="*/ 6858000 h 6858000"/>
              <a:gd name="connsiteX5" fmla="*/ 0 w 9146545"/>
              <a:gd name="connsiteY5" fmla="*/ 0 h 6858000"/>
              <a:gd name="connsiteX0" fmla="*/ 0 w 10288424"/>
              <a:gd name="connsiteY0" fmla="*/ 0 h 6858000"/>
              <a:gd name="connsiteX1" fmla="*/ 9144000 w 10288424"/>
              <a:gd name="connsiteY1" fmla="*/ 0 h 6858000"/>
              <a:gd name="connsiteX2" fmla="*/ 9146531 w 10288424"/>
              <a:gd name="connsiteY2" fmla="*/ 6853667 h 6858000"/>
              <a:gd name="connsiteX3" fmla="*/ 0 w 10288424"/>
              <a:gd name="connsiteY3" fmla="*/ 6858000 h 6858000"/>
              <a:gd name="connsiteX4" fmla="*/ 0 w 10288424"/>
              <a:gd name="connsiteY4" fmla="*/ 0 h 6858000"/>
              <a:gd name="connsiteX0" fmla="*/ 0 w 9821895"/>
              <a:gd name="connsiteY0" fmla="*/ 0 h 6858000"/>
              <a:gd name="connsiteX1" fmla="*/ 9144000 w 9821895"/>
              <a:gd name="connsiteY1" fmla="*/ 0 h 6858000"/>
              <a:gd name="connsiteX2" fmla="*/ 9146531 w 9821895"/>
              <a:gd name="connsiteY2" fmla="*/ 6853667 h 6858000"/>
              <a:gd name="connsiteX3" fmla="*/ 0 w 9821895"/>
              <a:gd name="connsiteY3" fmla="*/ 6858000 h 6858000"/>
              <a:gd name="connsiteX4" fmla="*/ 0 w 9821895"/>
              <a:gd name="connsiteY4" fmla="*/ 0 h 6858000"/>
              <a:gd name="connsiteX0" fmla="*/ 0 w 9146531"/>
              <a:gd name="connsiteY0" fmla="*/ 0 h 6858000"/>
              <a:gd name="connsiteX1" fmla="*/ 9144000 w 9146531"/>
              <a:gd name="connsiteY1" fmla="*/ 0 h 6858000"/>
              <a:gd name="connsiteX2" fmla="*/ 9146531 w 9146531"/>
              <a:gd name="connsiteY2" fmla="*/ 6853667 h 6858000"/>
              <a:gd name="connsiteX3" fmla="*/ 0 w 9146531"/>
              <a:gd name="connsiteY3" fmla="*/ 6858000 h 6858000"/>
              <a:gd name="connsiteX4" fmla="*/ 0 w 914653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6531" h="6858000">
                <a:moveTo>
                  <a:pt x="0" y="0"/>
                </a:moveTo>
                <a:lnTo>
                  <a:pt x="9144000" y="0"/>
                </a:lnTo>
                <a:cubicBezTo>
                  <a:pt x="9145265" y="3426833"/>
                  <a:pt x="9145265" y="3426833"/>
                  <a:pt x="9146531" y="6853667"/>
                </a:cubicBezTo>
                <a:cubicBezTo>
                  <a:pt x="9146186" y="6860158"/>
                  <a:pt x="3045635" y="6856556"/>
                  <a:pt x="0" y="6858000"/>
                </a:cubicBezTo>
                <a:lnTo>
                  <a:pt x="0" y="0"/>
                </a:lnTo>
                <a:close/>
              </a:path>
            </a:pathLst>
          </a:custGeom>
        </p:spPr>
        <p:txBody>
          <a:bodyPr/>
          <a:lstStyle/>
          <a:p>
            <a:r>
              <a:rPr lang="en-US" noProof="0"/>
              <a:t>Picture</a:t>
            </a:r>
          </a:p>
        </p:txBody>
      </p:sp>
      <p:sp>
        <p:nvSpPr>
          <p:cNvPr id="5" name="Título 1">
            <a:extLst>
              <a:ext uri="{FF2B5EF4-FFF2-40B4-BE49-F238E27FC236}">
                <a16:creationId xmlns:a16="http://schemas.microsoft.com/office/drawing/2014/main" id="{5702C74A-2A32-76A2-9A84-9C20B3FC42E6}"/>
              </a:ext>
            </a:extLst>
          </p:cNvPr>
          <p:cNvSpPr>
            <a:spLocks noGrp="1"/>
          </p:cNvSpPr>
          <p:nvPr>
            <p:ph type="title" hasCustomPrompt="1"/>
          </p:nvPr>
        </p:nvSpPr>
        <p:spPr>
          <a:xfrm>
            <a:off x="6527800" y="740834"/>
            <a:ext cx="4389648" cy="2904732"/>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baseline="0">
                <a:solidFill>
                  <a:schemeClr val="accent1"/>
                </a:solidFill>
              </a:defRPr>
            </a:lvl1pPr>
          </a:lstStyle>
          <a:p>
            <a:r>
              <a:rPr lang="en-US" noProof="0"/>
              <a:t>Cover text is Arial Reg.38pt.</a:t>
            </a:r>
            <a:br>
              <a:rPr lang="en-US" noProof="0"/>
            </a:br>
            <a:r>
              <a:rPr lang="en-US" noProof="0"/>
              <a:t>Lorem ipsum dolor sit </a:t>
            </a:r>
            <a:r>
              <a:rPr lang="en-US" noProof="0" err="1"/>
              <a:t>amet</a:t>
            </a:r>
            <a:r>
              <a:rPr lang="en-US" noProof="0"/>
              <a:t>.</a:t>
            </a:r>
          </a:p>
        </p:txBody>
      </p:sp>
      <p:sp>
        <p:nvSpPr>
          <p:cNvPr id="11" name="Marcador de texto 6">
            <a:extLst>
              <a:ext uri="{FF2B5EF4-FFF2-40B4-BE49-F238E27FC236}">
                <a16:creationId xmlns:a16="http://schemas.microsoft.com/office/drawing/2014/main" id="{137E5D8D-495E-7E42-F8D5-77CB021C3BAE}"/>
              </a:ext>
            </a:extLst>
          </p:cNvPr>
          <p:cNvSpPr>
            <a:spLocks noGrp="1"/>
          </p:cNvSpPr>
          <p:nvPr>
            <p:ph type="body" sz="quarter" idx="20" hasCustomPrompt="1"/>
          </p:nvPr>
        </p:nvSpPr>
        <p:spPr>
          <a:xfrm>
            <a:off x="394249" y="323017"/>
            <a:ext cx="1611803" cy="520456"/>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2"/>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6" name="Marcador de texto 6">
            <a:extLst>
              <a:ext uri="{FF2B5EF4-FFF2-40B4-BE49-F238E27FC236}">
                <a16:creationId xmlns:a16="http://schemas.microsoft.com/office/drawing/2014/main" id="{EDB23873-6C69-BA7F-1949-367D5FEED74B}"/>
              </a:ext>
            </a:extLst>
          </p:cNvPr>
          <p:cNvSpPr>
            <a:spLocks noGrp="1"/>
          </p:cNvSpPr>
          <p:nvPr>
            <p:ph type="body" sz="quarter" idx="22" hasCustomPrompt="1"/>
          </p:nvPr>
        </p:nvSpPr>
        <p:spPr>
          <a:xfrm>
            <a:off x="0" y="2403565"/>
            <a:ext cx="2354797" cy="4454435"/>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3"/>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13" name="Marcador de texto 5">
            <a:extLst>
              <a:ext uri="{FF2B5EF4-FFF2-40B4-BE49-F238E27FC236}">
                <a16:creationId xmlns:a16="http://schemas.microsoft.com/office/drawing/2014/main" id="{03D49835-F206-7E4E-FF7C-6092FF27B460}"/>
              </a:ext>
            </a:extLst>
          </p:cNvPr>
          <p:cNvSpPr>
            <a:spLocks noGrp="1"/>
          </p:cNvSpPr>
          <p:nvPr>
            <p:ph type="body" sz="quarter" idx="25" hasCustomPrompt="1"/>
          </p:nvPr>
        </p:nvSpPr>
        <p:spPr>
          <a:xfrm>
            <a:off x="4039281" y="6417750"/>
            <a:ext cx="4113439" cy="195084"/>
          </a:xfrm>
          <a:prstGeom prst="rect">
            <a:avLst/>
          </a:prstGeom>
        </p:spPr>
        <p:txBody>
          <a:bodyPr/>
          <a:lstStyle>
            <a:lvl1pPr marL="0" indent="0" algn="ctr">
              <a:buNone/>
              <a:defRPr sz="933">
                <a:solidFill>
                  <a:schemeClr val="accent1"/>
                </a:solidFill>
              </a:defRPr>
            </a:lvl1pPr>
          </a:lstStyle>
          <a:p>
            <a:r>
              <a:rPr lang="es-ES" err="1"/>
              <a:t>Lorem</a:t>
            </a:r>
            <a:r>
              <a:rPr lang="es-ES"/>
              <a:t> </a:t>
            </a:r>
            <a:r>
              <a:rPr lang="es-ES" err="1"/>
              <a:t>ipsum</a:t>
            </a:r>
            <a:r>
              <a:rPr lang="es-ES"/>
              <a:t> dolor </a:t>
            </a:r>
            <a:r>
              <a:rPr lang="es-ES" err="1"/>
              <a:t>sit</a:t>
            </a:r>
            <a:r>
              <a:rPr lang="es-ES"/>
              <a:t> </a:t>
            </a:r>
            <a:r>
              <a:rPr lang="es-ES" err="1"/>
              <a:t>amet</a:t>
            </a:r>
            <a:r>
              <a:rPr lang="es-ES"/>
              <a:t>.</a:t>
            </a:r>
          </a:p>
        </p:txBody>
      </p:sp>
      <p:sp>
        <p:nvSpPr>
          <p:cNvPr id="16" name="Slide Number Placeholder 5">
            <a:extLst>
              <a:ext uri="{FF2B5EF4-FFF2-40B4-BE49-F238E27FC236}">
                <a16:creationId xmlns:a16="http://schemas.microsoft.com/office/drawing/2014/main" id="{809C3D71-D8E1-C267-AC91-CA2AF87B109C}"/>
              </a:ext>
            </a:extLst>
          </p:cNvPr>
          <p:cNvSpPr>
            <a:spLocks noGrp="1"/>
          </p:cNvSpPr>
          <p:nvPr>
            <p:ph type="sldNum" sz="quarter" idx="4"/>
          </p:nvPr>
        </p:nvSpPr>
        <p:spPr>
          <a:xfrm>
            <a:off x="10910403" y="6356351"/>
            <a:ext cx="1042415" cy="365125"/>
          </a:xfrm>
          <a:prstGeom prst="rect">
            <a:avLst/>
          </a:prstGeom>
        </p:spPr>
        <p:txBody>
          <a:bodyPr vert="horz" lIns="91440" tIns="45720" rIns="91440" bIns="45720" rtlCol="0" anchor="ctr"/>
          <a:lstStyle>
            <a:lvl1pPr algn="r">
              <a:defRPr sz="933">
                <a:solidFill>
                  <a:schemeClr val="accent1"/>
                </a:solidFill>
              </a:defRPr>
            </a:lvl1pPr>
          </a:lstStyle>
          <a:p>
            <a:fld id="{96F64DD7-E411-6141-89FE-121B5323FD5F}" type="slidenum">
              <a:rPr lang="en-US" smtClean="0"/>
              <a:pPr/>
              <a:t>‹Nº›</a:t>
            </a:fld>
            <a:endParaRPr lang="en-US"/>
          </a:p>
        </p:txBody>
      </p:sp>
    </p:spTree>
    <p:extLst>
      <p:ext uri="{BB962C8B-B14F-4D97-AF65-F5344CB8AC3E}">
        <p14:creationId xmlns:p14="http://schemas.microsoft.com/office/powerpoint/2010/main" val="2346421041"/>
      </p:ext>
    </p:extLst>
  </p:cSld>
  <p:clrMapOvr>
    <a:masterClrMapping/>
  </p:clrMapOvr>
  <p:extLst>
    <p:ext uri="{DCECCB84-F9BA-43D5-87BE-67443E8EF086}">
      <p15:sldGuideLst xmlns:p15="http://schemas.microsoft.com/office/powerpoint/2012/main">
        <p15:guide id="1" orient="horz" pos="2867">
          <p15:clr>
            <a:srgbClr val="FBAE40"/>
          </p15:clr>
        </p15:guide>
        <p15:guide id="2" pos="2880">
          <p15:clr>
            <a:srgbClr val="FBAE40"/>
          </p15:clr>
        </p15:guide>
        <p15:guide id="3" orient="horz" pos="35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 3">
    <p:bg>
      <p:bgPr>
        <a:solidFill>
          <a:schemeClr val="bg1"/>
        </a:solidFill>
        <a:effectLst/>
      </p:bgPr>
    </p:bg>
    <p:spTree>
      <p:nvGrpSpPr>
        <p:cNvPr id="1" name=""/>
        <p:cNvGrpSpPr/>
        <p:nvPr/>
      </p:nvGrpSpPr>
      <p:grpSpPr>
        <a:xfrm>
          <a:off x="0" y="0"/>
          <a:ext cx="0" cy="0"/>
          <a:chOff x="0" y="0"/>
          <a:chExt cx="0" cy="0"/>
        </a:xfrm>
      </p:grpSpPr>
      <p:sp>
        <p:nvSpPr>
          <p:cNvPr id="10" name="Marcador de imagen 9">
            <a:extLst>
              <a:ext uri="{FF2B5EF4-FFF2-40B4-BE49-F238E27FC236}">
                <a16:creationId xmlns:a16="http://schemas.microsoft.com/office/drawing/2014/main" id="{F40AFF3F-2C00-A3D3-DBB3-2B5932B54A18}"/>
              </a:ext>
            </a:extLst>
          </p:cNvPr>
          <p:cNvSpPr>
            <a:spLocks noGrp="1"/>
          </p:cNvSpPr>
          <p:nvPr>
            <p:ph type="pic" sz="quarter" idx="15" hasCustomPrompt="1"/>
          </p:nvPr>
        </p:nvSpPr>
        <p:spPr>
          <a:xfrm>
            <a:off x="0" y="0"/>
            <a:ext cx="12195375" cy="6858000"/>
          </a:xfrm>
          <a:custGeom>
            <a:avLst/>
            <a:gdLst>
              <a:gd name="connsiteX0" fmla="*/ 0 w 9144000"/>
              <a:gd name="connsiteY0" fmla="*/ 0 h 6858000"/>
              <a:gd name="connsiteX1" fmla="*/ 9144000 w 9144000"/>
              <a:gd name="connsiteY1" fmla="*/ 0 h 6858000"/>
              <a:gd name="connsiteX2" fmla="*/ 9144000 w 9144000"/>
              <a:gd name="connsiteY2" fmla="*/ 6858000 h 6858000"/>
              <a:gd name="connsiteX3" fmla="*/ 0 w 9144000"/>
              <a:gd name="connsiteY3" fmla="*/ 6858000 h 6858000"/>
              <a:gd name="connsiteX4" fmla="*/ 0 w 9144000"/>
              <a:gd name="connsiteY4" fmla="*/ 0 h 6858000"/>
              <a:gd name="connsiteX0" fmla="*/ 0 w 9144000"/>
              <a:gd name="connsiteY0" fmla="*/ 0 h 6858000"/>
              <a:gd name="connsiteX1" fmla="*/ 9144000 w 9144000"/>
              <a:gd name="connsiteY1" fmla="*/ 0 h 6858000"/>
              <a:gd name="connsiteX2" fmla="*/ 9139666 w 9144000"/>
              <a:gd name="connsiteY2" fmla="*/ 6093111 h 6858000"/>
              <a:gd name="connsiteX3" fmla="*/ 9144000 w 9144000"/>
              <a:gd name="connsiteY3" fmla="*/ 6858000 h 6858000"/>
              <a:gd name="connsiteX4" fmla="*/ 0 w 9144000"/>
              <a:gd name="connsiteY4" fmla="*/ 6858000 h 6858000"/>
              <a:gd name="connsiteX5" fmla="*/ 0 w 9144000"/>
              <a:gd name="connsiteY5" fmla="*/ 0 h 6858000"/>
              <a:gd name="connsiteX0" fmla="*/ 0 w 9144000"/>
              <a:gd name="connsiteY0" fmla="*/ 0 h 6858000"/>
              <a:gd name="connsiteX1" fmla="*/ 9144000 w 9144000"/>
              <a:gd name="connsiteY1" fmla="*/ 0 h 6858000"/>
              <a:gd name="connsiteX2" fmla="*/ 9139666 w 9144000"/>
              <a:gd name="connsiteY2" fmla="*/ 6093111 h 6858000"/>
              <a:gd name="connsiteX3" fmla="*/ 8467950 w 9144000"/>
              <a:gd name="connsiteY3" fmla="*/ 6853667 h 6858000"/>
              <a:gd name="connsiteX4" fmla="*/ 0 w 9144000"/>
              <a:gd name="connsiteY4" fmla="*/ 6858000 h 6858000"/>
              <a:gd name="connsiteX5" fmla="*/ 0 w 9144000"/>
              <a:gd name="connsiteY5" fmla="*/ 0 h 6858000"/>
              <a:gd name="connsiteX0" fmla="*/ 0 w 9144000"/>
              <a:gd name="connsiteY0" fmla="*/ 0 h 6858000"/>
              <a:gd name="connsiteX1" fmla="*/ 9144000 w 9144000"/>
              <a:gd name="connsiteY1" fmla="*/ 0 h 6858000"/>
              <a:gd name="connsiteX2" fmla="*/ 9139666 w 9144000"/>
              <a:gd name="connsiteY2" fmla="*/ 6093111 h 6858000"/>
              <a:gd name="connsiteX3" fmla="*/ 8467950 w 9144000"/>
              <a:gd name="connsiteY3" fmla="*/ 6853667 h 6858000"/>
              <a:gd name="connsiteX4" fmla="*/ 0 w 9144000"/>
              <a:gd name="connsiteY4" fmla="*/ 6858000 h 6858000"/>
              <a:gd name="connsiteX5" fmla="*/ 0 w 9144000"/>
              <a:gd name="connsiteY5" fmla="*/ 0 h 6858000"/>
              <a:gd name="connsiteX0" fmla="*/ 0 w 9144000"/>
              <a:gd name="connsiteY0" fmla="*/ 0 h 6858000"/>
              <a:gd name="connsiteX1" fmla="*/ 9144000 w 9144000"/>
              <a:gd name="connsiteY1" fmla="*/ 0 h 6858000"/>
              <a:gd name="connsiteX2" fmla="*/ 9139666 w 9144000"/>
              <a:gd name="connsiteY2" fmla="*/ 6093111 h 6858000"/>
              <a:gd name="connsiteX3" fmla="*/ 8467950 w 9144000"/>
              <a:gd name="connsiteY3" fmla="*/ 6853667 h 6858000"/>
              <a:gd name="connsiteX4" fmla="*/ 0 w 9144000"/>
              <a:gd name="connsiteY4" fmla="*/ 6858000 h 6858000"/>
              <a:gd name="connsiteX5" fmla="*/ 0 w 9144000"/>
              <a:gd name="connsiteY5" fmla="*/ 0 h 6858000"/>
              <a:gd name="connsiteX0" fmla="*/ 0 w 9144000"/>
              <a:gd name="connsiteY0" fmla="*/ 0 h 6858000"/>
              <a:gd name="connsiteX1" fmla="*/ 9144000 w 9144000"/>
              <a:gd name="connsiteY1" fmla="*/ 0 h 6858000"/>
              <a:gd name="connsiteX2" fmla="*/ 9139666 w 9144000"/>
              <a:gd name="connsiteY2" fmla="*/ 6093111 h 6858000"/>
              <a:gd name="connsiteX3" fmla="*/ 8467950 w 9144000"/>
              <a:gd name="connsiteY3" fmla="*/ 6853667 h 6858000"/>
              <a:gd name="connsiteX4" fmla="*/ 0 w 9144000"/>
              <a:gd name="connsiteY4" fmla="*/ 6858000 h 6858000"/>
              <a:gd name="connsiteX5" fmla="*/ 0 w 9144000"/>
              <a:gd name="connsiteY5" fmla="*/ 0 h 6858000"/>
              <a:gd name="connsiteX0" fmla="*/ 0 w 9144000"/>
              <a:gd name="connsiteY0" fmla="*/ 0 h 6858000"/>
              <a:gd name="connsiteX1" fmla="*/ 9144000 w 9144000"/>
              <a:gd name="connsiteY1" fmla="*/ 0 h 6858000"/>
              <a:gd name="connsiteX2" fmla="*/ 9139666 w 9144000"/>
              <a:gd name="connsiteY2" fmla="*/ 6093111 h 6858000"/>
              <a:gd name="connsiteX3" fmla="*/ 8467950 w 9144000"/>
              <a:gd name="connsiteY3" fmla="*/ 6853667 h 6858000"/>
              <a:gd name="connsiteX4" fmla="*/ 0 w 9144000"/>
              <a:gd name="connsiteY4" fmla="*/ 6858000 h 6858000"/>
              <a:gd name="connsiteX5" fmla="*/ 0 w 9144000"/>
              <a:gd name="connsiteY5" fmla="*/ 0 h 6858000"/>
              <a:gd name="connsiteX0" fmla="*/ 0 w 9379985"/>
              <a:gd name="connsiteY0" fmla="*/ 0 h 6858000"/>
              <a:gd name="connsiteX1" fmla="*/ 9144000 w 9379985"/>
              <a:gd name="connsiteY1" fmla="*/ 0 h 6858000"/>
              <a:gd name="connsiteX2" fmla="*/ 9139666 w 9379985"/>
              <a:gd name="connsiteY2" fmla="*/ 6093111 h 6858000"/>
              <a:gd name="connsiteX3" fmla="*/ 9127281 w 9379985"/>
              <a:gd name="connsiteY3" fmla="*/ 6718912 h 6858000"/>
              <a:gd name="connsiteX4" fmla="*/ 0 w 9379985"/>
              <a:gd name="connsiteY4" fmla="*/ 6858000 h 6858000"/>
              <a:gd name="connsiteX5" fmla="*/ 0 w 9379985"/>
              <a:gd name="connsiteY5" fmla="*/ 0 h 6858000"/>
              <a:gd name="connsiteX0" fmla="*/ 0 w 9397790"/>
              <a:gd name="connsiteY0" fmla="*/ 0 h 6858000"/>
              <a:gd name="connsiteX1" fmla="*/ 9144000 w 9397790"/>
              <a:gd name="connsiteY1" fmla="*/ 0 h 6858000"/>
              <a:gd name="connsiteX2" fmla="*/ 9139666 w 9397790"/>
              <a:gd name="connsiteY2" fmla="*/ 6093111 h 6858000"/>
              <a:gd name="connsiteX3" fmla="*/ 9151344 w 9397790"/>
              <a:gd name="connsiteY3" fmla="*/ 6731745 h 6858000"/>
              <a:gd name="connsiteX4" fmla="*/ 0 w 9397790"/>
              <a:gd name="connsiteY4" fmla="*/ 6858000 h 6858000"/>
              <a:gd name="connsiteX5" fmla="*/ 0 w 9397790"/>
              <a:gd name="connsiteY5" fmla="*/ 0 h 6858000"/>
              <a:gd name="connsiteX0" fmla="*/ 0 w 9144000"/>
              <a:gd name="connsiteY0" fmla="*/ 0 h 6858000"/>
              <a:gd name="connsiteX1" fmla="*/ 9144000 w 9144000"/>
              <a:gd name="connsiteY1" fmla="*/ 0 h 6858000"/>
              <a:gd name="connsiteX2" fmla="*/ 9139666 w 9144000"/>
              <a:gd name="connsiteY2" fmla="*/ 6093111 h 6858000"/>
              <a:gd name="connsiteX3" fmla="*/ 8559391 w 9144000"/>
              <a:gd name="connsiteY3" fmla="*/ 6603409 h 6858000"/>
              <a:gd name="connsiteX4" fmla="*/ 0 w 9144000"/>
              <a:gd name="connsiteY4" fmla="*/ 6858000 h 6858000"/>
              <a:gd name="connsiteX5" fmla="*/ 0 w 9144000"/>
              <a:gd name="connsiteY5" fmla="*/ 0 h 6858000"/>
              <a:gd name="connsiteX0" fmla="*/ 0 w 9387070"/>
              <a:gd name="connsiteY0" fmla="*/ 0 h 6858000"/>
              <a:gd name="connsiteX1" fmla="*/ 9144000 w 9387070"/>
              <a:gd name="connsiteY1" fmla="*/ 0 h 6858000"/>
              <a:gd name="connsiteX2" fmla="*/ 9139666 w 9387070"/>
              <a:gd name="connsiteY2" fmla="*/ 6093111 h 6858000"/>
              <a:gd name="connsiteX3" fmla="*/ 9136906 w 9387070"/>
              <a:gd name="connsiteY3" fmla="*/ 6853667 h 6858000"/>
              <a:gd name="connsiteX4" fmla="*/ 0 w 9387070"/>
              <a:gd name="connsiteY4" fmla="*/ 6858000 h 6858000"/>
              <a:gd name="connsiteX5" fmla="*/ 0 w 9387070"/>
              <a:gd name="connsiteY5" fmla="*/ 0 h 6858000"/>
              <a:gd name="connsiteX0" fmla="*/ 0 w 9207408"/>
              <a:gd name="connsiteY0" fmla="*/ 0 h 6858000"/>
              <a:gd name="connsiteX1" fmla="*/ 9144000 w 9207408"/>
              <a:gd name="connsiteY1" fmla="*/ 0 h 6858000"/>
              <a:gd name="connsiteX2" fmla="*/ 9139666 w 9207408"/>
              <a:gd name="connsiteY2" fmla="*/ 6093111 h 6858000"/>
              <a:gd name="connsiteX3" fmla="*/ 9136906 w 9207408"/>
              <a:gd name="connsiteY3" fmla="*/ 6853667 h 6858000"/>
              <a:gd name="connsiteX4" fmla="*/ 0 w 9207408"/>
              <a:gd name="connsiteY4" fmla="*/ 6858000 h 6858000"/>
              <a:gd name="connsiteX5" fmla="*/ 0 w 9207408"/>
              <a:gd name="connsiteY5" fmla="*/ 0 h 6858000"/>
              <a:gd name="connsiteX0" fmla="*/ 0 w 9207408"/>
              <a:gd name="connsiteY0" fmla="*/ 0 h 6858000"/>
              <a:gd name="connsiteX1" fmla="*/ 9144000 w 9207408"/>
              <a:gd name="connsiteY1" fmla="*/ 0 h 6858000"/>
              <a:gd name="connsiteX2" fmla="*/ 9139666 w 9207408"/>
              <a:gd name="connsiteY2" fmla="*/ 6093111 h 6858000"/>
              <a:gd name="connsiteX3" fmla="*/ 9136906 w 9207408"/>
              <a:gd name="connsiteY3" fmla="*/ 6853667 h 6858000"/>
              <a:gd name="connsiteX4" fmla="*/ 0 w 9207408"/>
              <a:gd name="connsiteY4" fmla="*/ 6858000 h 6858000"/>
              <a:gd name="connsiteX5" fmla="*/ 0 w 9207408"/>
              <a:gd name="connsiteY5" fmla="*/ 0 h 6858000"/>
              <a:gd name="connsiteX0" fmla="*/ 0 w 9207408"/>
              <a:gd name="connsiteY0" fmla="*/ 0 h 6858000"/>
              <a:gd name="connsiteX1" fmla="*/ 9144000 w 9207408"/>
              <a:gd name="connsiteY1" fmla="*/ 0 h 6858000"/>
              <a:gd name="connsiteX2" fmla="*/ 9139666 w 9207408"/>
              <a:gd name="connsiteY2" fmla="*/ 6093111 h 6858000"/>
              <a:gd name="connsiteX3" fmla="*/ 9136906 w 9207408"/>
              <a:gd name="connsiteY3" fmla="*/ 6853667 h 6858000"/>
              <a:gd name="connsiteX4" fmla="*/ 0 w 9207408"/>
              <a:gd name="connsiteY4" fmla="*/ 6858000 h 6858000"/>
              <a:gd name="connsiteX5" fmla="*/ 0 w 9207408"/>
              <a:gd name="connsiteY5" fmla="*/ 0 h 6858000"/>
              <a:gd name="connsiteX0" fmla="*/ 0 w 9208695"/>
              <a:gd name="connsiteY0" fmla="*/ 0 h 6858000"/>
              <a:gd name="connsiteX1" fmla="*/ 9144000 w 9208695"/>
              <a:gd name="connsiteY1" fmla="*/ 0 h 6858000"/>
              <a:gd name="connsiteX2" fmla="*/ 9139666 w 9208695"/>
              <a:gd name="connsiteY2" fmla="*/ 6093111 h 6858000"/>
              <a:gd name="connsiteX3" fmla="*/ 9136906 w 9208695"/>
              <a:gd name="connsiteY3" fmla="*/ 6853667 h 6858000"/>
              <a:gd name="connsiteX4" fmla="*/ 0 w 9208695"/>
              <a:gd name="connsiteY4" fmla="*/ 6858000 h 6858000"/>
              <a:gd name="connsiteX5" fmla="*/ 0 w 9208695"/>
              <a:gd name="connsiteY5" fmla="*/ 0 h 6858000"/>
              <a:gd name="connsiteX0" fmla="*/ 0 w 9144000"/>
              <a:gd name="connsiteY0" fmla="*/ 0 h 6858000"/>
              <a:gd name="connsiteX1" fmla="*/ 9144000 w 9144000"/>
              <a:gd name="connsiteY1" fmla="*/ 0 h 6858000"/>
              <a:gd name="connsiteX2" fmla="*/ 9139666 w 9144000"/>
              <a:gd name="connsiteY2" fmla="*/ 6093111 h 6858000"/>
              <a:gd name="connsiteX3" fmla="*/ 9136906 w 9144000"/>
              <a:gd name="connsiteY3" fmla="*/ 6853667 h 6858000"/>
              <a:gd name="connsiteX4" fmla="*/ 0 w 9144000"/>
              <a:gd name="connsiteY4" fmla="*/ 6858000 h 6858000"/>
              <a:gd name="connsiteX5" fmla="*/ 0 w 9144000"/>
              <a:gd name="connsiteY5" fmla="*/ 0 h 6858000"/>
              <a:gd name="connsiteX0" fmla="*/ 0 w 9144000"/>
              <a:gd name="connsiteY0" fmla="*/ 0 h 6858000"/>
              <a:gd name="connsiteX1" fmla="*/ 9144000 w 9144000"/>
              <a:gd name="connsiteY1" fmla="*/ 0 h 6858000"/>
              <a:gd name="connsiteX2" fmla="*/ 9139666 w 9144000"/>
              <a:gd name="connsiteY2" fmla="*/ 6093111 h 6858000"/>
              <a:gd name="connsiteX3" fmla="*/ 9136906 w 9144000"/>
              <a:gd name="connsiteY3" fmla="*/ 6853667 h 6858000"/>
              <a:gd name="connsiteX4" fmla="*/ 0 w 9144000"/>
              <a:gd name="connsiteY4" fmla="*/ 6858000 h 6858000"/>
              <a:gd name="connsiteX5" fmla="*/ 0 w 9144000"/>
              <a:gd name="connsiteY5" fmla="*/ 0 h 6858000"/>
              <a:gd name="connsiteX0" fmla="*/ 0 w 9146545"/>
              <a:gd name="connsiteY0" fmla="*/ 0 h 6858000"/>
              <a:gd name="connsiteX1" fmla="*/ 9144000 w 9146545"/>
              <a:gd name="connsiteY1" fmla="*/ 0 h 6858000"/>
              <a:gd name="connsiteX2" fmla="*/ 9139666 w 9146545"/>
              <a:gd name="connsiteY2" fmla="*/ 6093111 h 6858000"/>
              <a:gd name="connsiteX3" fmla="*/ 9146531 w 9146545"/>
              <a:gd name="connsiteY3" fmla="*/ 6853667 h 6858000"/>
              <a:gd name="connsiteX4" fmla="*/ 0 w 9146545"/>
              <a:gd name="connsiteY4" fmla="*/ 6858000 h 6858000"/>
              <a:gd name="connsiteX5" fmla="*/ 0 w 9146545"/>
              <a:gd name="connsiteY5" fmla="*/ 0 h 6858000"/>
              <a:gd name="connsiteX0" fmla="*/ 0 w 9146545"/>
              <a:gd name="connsiteY0" fmla="*/ 0 h 6858000"/>
              <a:gd name="connsiteX1" fmla="*/ 9144000 w 9146545"/>
              <a:gd name="connsiteY1" fmla="*/ 0 h 6858000"/>
              <a:gd name="connsiteX2" fmla="*/ 9139666 w 9146545"/>
              <a:gd name="connsiteY2" fmla="*/ 6093111 h 6858000"/>
              <a:gd name="connsiteX3" fmla="*/ 9146531 w 9146545"/>
              <a:gd name="connsiteY3" fmla="*/ 6853667 h 6858000"/>
              <a:gd name="connsiteX4" fmla="*/ 0 w 9146545"/>
              <a:gd name="connsiteY4" fmla="*/ 6858000 h 6858000"/>
              <a:gd name="connsiteX5" fmla="*/ 0 w 9146545"/>
              <a:gd name="connsiteY5" fmla="*/ 0 h 6858000"/>
              <a:gd name="connsiteX0" fmla="*/ 0 w 10288424"/>
              <a:gd name="connsiteY0" fmla="*/ 0 h 6858000"/>
              <a:gd name="connsiteX1" fmla="*/ 9144000 w 10288424"/>
              <a:gd name="connsiteY1" fmla="*/ 0 h 6858000"/>
              <a:gd name="connsiteX2" fmla="*/ 9146531 w 10288424"/>
              <a:gd name="connsiteY2" fmla="*/ 6853667 h 6858000"/>
              <a:gd name="connsiteX3" fmla="*/ 0 w 10288424"/>
              <a:gd name="connsiteY3" fmla="*/ 6858000 h 6858000"/>
              <a:gd name="connsiteX4" fmla="*/ 0 w 10288424"/>
              <a:gd name="connsiteY4" fmla="*/ 0 h 6858000"/>
              <a:gd name="connsiteX0" fmla="*/ 0 w 9821895"/>
              <a:gd name="connsiteY0" fmla="*/ 0 h 6858000"/>
              <a:gd name="connsiteX1" fmla="*/ 9144000 w 9821895"/>
              <a:gd name="connsiteY1" fmla="*/ 0 h 6858000"/>
              <a:gd name="connsiteX2" fmla="*/ 9146531 w 9821895"/>
              <a:gd name="connsiteY2" fmla="*/ 6853667 h 6858000"/>
              <a:gd name="connsiteX3" fmla="*/ 0 w 9821895"/>
              <a:gd name="connsiteY3" fmla="*/ 6858000 h 6858000"/>
              <a:gd name="connsiteX4" fmla="*/ 0 w 9821895"/>
              <a:gd name="connsiteY4" fmla="*/ 0 h 6858000"/>
              <a:gd name="connsiteX0" fmla="*/ 0 w 9146531"/>
              <a:gd name="connsiteY0" fmla="*/ 0 h 6858000"/>
              <a:gd name="connsiteX1" fmla="*/ 9144000 w 9146531"/>
              <a:gd name="connsiteY1" fmla="*/ 0 h 6858000"/>
              <a:gd name="connsiteX2" fmla="*/ 9146531 w 9146531"/>
              <a:gd name="connsiteY2" fmla="*/ 6853667 h 6858000"/>
              <a:gd name="connsiteX3" fmla="*/ 0 w 9146531"/>
              <a:gd name="connsiteY3" fmla="*/ 6858000 h 6858000"/>
              <a:gd name="connsiteX4" fmla="*/ 0 w 914653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6531" h="6858000">
                <a:moveTo>
                  <a:pt x="0" y="0"/>
                </a:moveTo>
                <a:lnTo>
                  <a:pt x="9144000" y="0"/>
                </a:lnTo>
                <a:cubicBezTo>
                  <a:pt x="9145265" y="3426833"/>
                  <a:pt x="9145265" y="3426833"/>
                  <a:pt x="9146531" y="6853667"/>
                </a:cubicBezTo>
                <a:cubicBezTo>
                  <a:pt x="9146186" y="6860158"/>
                  <a:pt x="3045635" y="6856556"/>
                  <a:pt x="0" y="6858000"/>
                </a:cubicBezTo>
                <a:lnTo>
                  <a:pt x="0" y="0"/>
                </a:lnTo>
                <a:close/>
              </a:path>
            </a:pathLst>
          </a:custGeom>
        </p:spPr>
        <p:txBody>
          <a:bodyPr/>
          <a:lstStyle/>
          <a:p>
            <a:r>
              <a:rPr lang="en-US" noProof="0"/>
              <a:t>Picture</a:t>
            </a:r>
          </a:p>
        </p:txBody>
      </p:sp>
      <p:sp>
        <p:nvSpPr>
          <p:cNvPr id="6" name="Marcador de texto 6">
            <a:extLst>
              <a:ext uri="{FF2B5EF4-FFF2-40B4-BE49-F238E27FC236}">
                <a16:creationId xmlns:a16="http://schemas.microsoft.com/office/drawing/2014/main" id="{EDB23873-6C69-BA7F-1949-367D5FEED74B}"/>
              </a:ext>
            </a:extLst>
          </p:cNvPr>
          <p:cNvSpPr>
            <a:spLocks noGrp="1"/>
          </p:cNvSpPr>
          <p:nvPr>
            <p:ph type="body" sz="quarter" idx="22" hasCustomPrompt="1"/>
          </p:nvPr>
        </p:nvSpPr>
        <p:spPr>
          <a:xfrm>
            <a:off x="0" y="2403565"/>
            <a:ext cx="2354797" cy="4454435"/>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2"/>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2" name="Título 1">
            <a:extLst>
              <a:ext uri="{FF2B5EF4-FFF2-40B4-BE49-F238E27FC236}">
                <a16:creationId xmlns:a16="http://schemas.microsoft.com/office/drawing/2014/main" id="{5EE9C790-8027-0F9D-FC35-1D4F15D40272}"/>
              </a:ext>
            </a:extLst>
          </p:cNvPr>
          <p:cNvSpPr>
            <a:spLocks noGrp="1"/>
          </p:cNvSpPr>
          <p:nvPr>
            <p:ph type="title" hasCustomPrompt="1"/>
          </p:nvPr>
        </p:nvSpPr>
        <p:spPr>
          <a:xfrm>
            <a:off x="1200151" y="740834"/>
            <a:ext cx="4389648" cy="2904732"/>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baseline="0">
                <a:solidFill>
                  <a:schemeClr val="accent1"/>
                </a:solidFill>
              </a:defRPr>
            </a:lvl1pPr>
          </a:lstStyle>
          <a:p>
            <a:r>
              <a:rPr lang="en-US" noProof="0"/>
              <a:t>Cover text is Arial Reg.38pt.</a:t>
            </a:r>
            <a:br>
              <a:rPr lang="en-US" noProof="0"/>
            </a:br>
            <a:r>
              <a:rPr lang="en-US" noProof="0"/>
              <a:t>Lorem ipsum dolor sit </a:t>
            </a:r>
            <a:r>
              <a:rPr lang="en-US" noProof="0" err="1"/>
              <a:t>amet</a:t>
            </a:r>
            <a:r>
              <a:rPr lang="en-US" noProof="0"/>
              <a:t>.</a:t>
            </a:r>
          </a:p>
        </p:txBody>
      </p:sp>
      <p:sp>
        <p:nvSpPr>
          <p:cNvPr id="3" name="Marcador de texto 6">
            <a:extLst>
              <a:ext uri="{FF2B5EF4-FFF2-40B4-BE49-F238E27FC236}">
                <a16:creationId xmlns:a16="http://schemas.microsoft.com/office/drawing/2014/main" id="{0063EB9B-D0A5-C46B-42A5-8D4525B92CA4}"/>
              </a:ext>
            </a:extLst>
          </p:cNvPr>
          <p:cNvSpPr>
            <a:spLocks noGrp="1"/>
          </p:cNvSpPr>
          <p:nvPr>
            <p:ph type="body" sz="quarter" idx="20" hasCustomPrompt="1"/>
          </p:nvPr>
        </p:nvSpPr>
        <p:spPr>
          <a:xfrm>
            <a:off x="10151280" y="323017"/>
            <a:ext cx="1611803" cy="520456"/>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3"/>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9" name="Marcador de texto 5">
            <a:extLst>
              <a:ext uri="{FF2B5EF4-FFF2-40B4-BE49-F238E27FC236}">
                <a16:creationId xmlns:a16="http://schemas.microsoft.com/office/drawing/2014/main" id="{9CE1C746-FFC0-E892-1FE1-3AEDCFBBF28E}"/>
              </a:ext>
            </a:extLst>
          </p:cNvPr>
          <p:cNvSpPr>
            <a:spLocks noGrp="1"/>
          </p:cNvSpPr>
          <p:nvPr>
            <p:ph type="body" sz="quarter" idx="25" hasCustomPrompt="1"/>
          </p:nvPr>
        </p:nvSpPr>
        <p:spPr>
          <a:xfrm>
            <a:off x="4039281" y="6417750"/>
            <a:ext cx="4113439" cy="195084"/>
          </a:xfrm>
          <a:prstGeom prst="rect">
            <a:avLst/>
          </a:prstGeom>
        </p:spPr>
        <p:txBody>
          <a:bodyPr/>
          <a:lstStyle>
            <a:lvl1pPr marL="0" indent="0" algn="ctr">
              <a:buNone/>
              <a:defRPr sz="933">
                <a:solidFill>
                  <a:schemeClr val="accent1"/>
                </a:solidFill>
              </a:defRPr>
            </a:lvl1pPr>
          </a:lstStyle>
          <a:p>
            <a:r>
              <a:rPr lang="es-ES" err="1"/>
              <a:t>Lorem</a:t>
            </a:r>
            <a:r>
              <a:rPr lang="es-ES"/>
              <a:t> </a:t>
            </a:r>
            <a:r>
              <a:rPr lang="es-ES" err="1"/>
              <a:t>ipsum</a:t>
            </a:r>
            <a:r>
              <a:rPr lang="es-ES"/>
              <a:t> dolor </a:t>
            </a:r>
            <a:r>
              <a:rPr lang="es-ES" err="1"/>
              <a:t>sit</a:t>
            </a:r>
            <a:r>
              <a:rPr lang="es-ES"/>
              <a:t> </a:t>
            </a:r>
            <a:r>
              <a:rPr lang="es-ES" err="1"/>
              <a:t>amet</a:t>
            </a:r>
            <a:r>
              <a:rPr lang="es-ES"/>
              <a:t>.</a:t>
            </a:r>
          </a:p>
        </p:txBody>
      </p:sp>
      <p:sp>
        <p:nvSpPr>
          <p:cNvPr id="12" name="Slide Number Placeholder 5">
            <a:extLst>
              <a:ext uri="{FF2B5EF4-FFF2-40B4-BE49-F238E27FC236}">
                <a16:creationId xmlns:a16="http://schemas.microsoft.com/office/drawing/2014/main" id="{CF8CBD17-A92A-DDE1-4864-DE28BA607DF7}"/>
              </a:ext>
            </a:extLst>
          </p:cNvPr>
          <p:cNvSpPr>
            <a:spLocks noGrp="1"/>
          </p:cNvSpPr>
          <p:nvPr>
            <p:ph type="sldNum" sz="quarter" idx="4"/>
          </p:nvPr>
        </p:nvSpPr>
        <p:spPr>
          <a:xfrm>
            <a:off x="10910403" y="6356351"/>
            <a:ext cx="1042415" cy="365125"/>
          </a:xfrm>
          <a:prstGeom prst="rect">
            <a:avLst/>
          </a:prstGeom>
        </p:spPr>
        <p:txBody>
          <a:bodyPr vert="horz" lIns="91440" tIns="45720" rIns="91440" bIns="45720" rtlCol="0" anchor="ctr"/>
          <a:lstStyle>
            <a:lvl1pPr algn="r">
              <a:defRPr sz="933">
                <a:solidFill>
                  <a:schemeClr val="accent1"/>
                </a:solidFill>
              </a:defRPr>
            </a:lvl1pPr>
          </a:lstStyle>
          <a:p>
            <a:fld id="{96F64DD7-E411-6141-89FE-121B5323FD5F}" type="slidenum">
              <a:rPr lang="en-US" smtClean="0"/>
              <a:pPr/>
              <a:t>‹Nº›</a:t>
            </a:fld>
            <a:endParaRPr lang="en-US"/>
          </a:p>
        </p:txBody>
      </p:sp>
    </p:spTree>
    <p:extLst>
      <p:ext uri="{BB962C8B-B14F-4D97-AF65-F5344CB8AC3E}">
        <p14:creationId xmlns:p14="http://schemas.microsoft.com/office/powerpoint/2010/main" val="1385553283"/>
      </p:ext>
    </p:extLst>
  </p:cSld>
  <p:clrMapOvr>
    <a:masterClrMapping/>
  </p:clrMapOvr>
  <p:extLst>
    <p:ext uri="{DCECCB84-F9BA-43D5-87BE-67443E8EF086}">
      <p15:sldGuideLst xmlns:p15="http://schemas.microsoft.com/office/powerpoint/2012/main">
        <p15:guide id="1" orient="horz" pos="2867">
          <p15:clr>
            <a:srgbClr val="FBAE40"/>
          </p15:clr>
        </p15:guide>
        <p15:guide id="2" pos="2880">
          <p15:clr>
            <a:srgbClr val="FBAE40"/>
          </p15:clr>
        </p15:guide>
        <p15:guide id="3" orient="horz" pos="35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dex 1">
    <p:bg>
      <p:bgPr>
        <a:solidFill>
          <a:schemeClr val="bg1"/>
        </a:solidFill>
        <a:effectLst/>
      </p:bgPr>
    </p:bg>
    <p:spTree>
      <p:nvGrpSpPr>
        <p:cNvPr id="1" name=""/>
        <p:cNvGrpSpPr/>
        <p:nvPr/>
      </p:nvGrpSpPr>
      <p:grpSpPr>
        <a:xfrm>
          <a:off x="0" y="0"/>
          <a:ext cx="0" cy="0"/>
          <a:chOff x="0" y="0"/>
          <a:chExt cx="0" cy="0"/>
        </a:xfrm>
      </p:grpSpPr>
      <p:sp>
        <p:nvSpPr>
          <p:cNvPr id="3" name="Marcador de texto 6">
            <a:extLst>
              <a:ext uri="{FF2B5EF4-FFF2-40B4-BE49-F238E27FC236}">
                <a16:creationId xmlns:a16="http://schemas.microsoft.com/office/drawing/2014/main" id="{24BDFAED-AECA-5EC5-4626-1A7220ADB3BC}"/>
              </a:ext>
            </a:extLst>
          </p:cNvPr>
          <p:cNvSpPr>
            <a:spLocks noGrp="1"/>
          </p:cNvSpPr>
          <p:nvPr>
            <p:ph type="body" sz="quarter" idx="24" hasCustomPrompt="1"/>
          </p:nvPr>
        </p:nvSpPr>
        <p:spPr>
          <a:xfrm>
            <a:off x="1" y="4563"/>
            <a:ext cx="1599212" cy="6858000"/>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2"/>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7" name="Marcador de texto 6">
            <a:extLst>
              <a:ext uri="{FF2B5EF4-FFF2-40B4-BE49-F238E27FC236}">
                <a16:creationId xmlns:a16="http://schemas.microsoft.com/office/drawing/2014/main" id="{68BE858D-3BBC-1B39-72FF-D41F50A33987}"/>
              </a:ext>
            </a:extLst>
          </p:cNvPr>
          <p:cNvSpPr>
            <a:spLocks noGrp="1"/>
          </p:cNvSpPr>
          <p:nvPr>
            <p:ph type="body" sz="quarter" idx="25" hasCustomPrompt="1"/>
          </p:nvPr>
        </p:nvSpPr>
        <p:spPr>
          <a:xfrm>
            <a:off x="10592789" y="4563"/>
            <a:ext cx="1599212" cy="6858000"/>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3"/>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8" name="Marcador de texto 2">
            <a:extLst>
              <a:ext uri="{FF2B5EF4-FFF2-40B4-BE49-F238E27FC236}">
                <a16:creationId xmlns:a16="http://schemas.microsoft.com/office/drawing/2014/main" id="{2820D2A9-09BB-1A87-A50B-028C7BA7A174}"/>
              </a:ext>
            </a:extLst>
          </p:cNvPr>
          <p:cNvSpPr>
            <a:spLocks noGrp="1"/>
          </p:cNvSpPr>
          <p:nvPr>
            <p:ph type="body" sz="quarter" idx="22" hasCustomPrompt="1"/>
          </p:nvPr>
        </p:nvSpPr>
        <p:spPr>
          <a:xfrm>
            <a:off x="3905964" y="1220250"/>
            <a:ext cx="4380072" cy="513301"/>
          </a:xfrm>
          <a:prstGeom prst="rect">
            <a:avLst/>
          </a:prstGeom>
        </p:spPr>
        <p:txBody>
          <a:bodyPr lIns="0" tIns="0" rIns="0" bIns="0"/>
          <a:lstStyle>
            <a:lvl1pPr marL="0" indent="0">
              <a:spcBef>
                <a:spcPts val="0"/>
              </a:spcBef>
              <a:buNone/>
              <a:defRPr sz="3733">
                <a:solidFill>
                  <a:schemeClr val="accent2"/>
                </a:solidFill>
              </a:defRPr>
            </a:lvl1pPr>
          </a:lstStyle>
          <a:p>
            <a:pPr lvl="0"/>
            <a:r>
              <a:rPr lang="es-ES" err="1"/>
              <a:t>Index</a:t>
            </a:r>
            <a:endParaRPr lang="es-ES"/>
          </a:p>
        </p:txBody>
      </p:sp>
      <p:sp>
        <p:nvSpPr>
          <p:cNvPr id="9" name="Marcador de texto 6">
            <a:extLst>
              <a:ext uri="{FF2B5EF4-FFF2-40B4-BE49-F238E27FC236}">
                <a16:creationId xmlns:a16="http://schemas.microsoft.com/office/drawing/2014/main" id="{22BE3632-EF45-C8AC-1199-63FA1047C6B4}"/>
              </a:ext>
            </a:extLst>
          </p:cNvPr>
          <p:cNvSpPr>
            <a:spLocks noGrp="1"/>
          </p:cNvSpPr>
          <p:nvPr>
            <p:ph type="body" sz="quarter" idx="23" hasCustomPrompt="1"/>
          </p:nvPr>
        </p:nvSpPr>
        <p:spPr>
          <a:xfrm>
            <a:off x="3904353" y="2300817"/>
            <a:ext cx="4432300" cy="3386667"/>
          </a:xfrm>
          <a:prstGeom prst="rect">
            <a:avLst/>
          </a:prstGeom>
        </p:spPr>
        <p:txBody>
          <a:bodyPr lIns="0" tIns="0" rIns="0" bIns="0"/>
          <a:lstStyle>
            <a:lvl1pPr marL="609585" indent="-609585">
              <a:buFont typeface="+mj-lt"/>
              <a:buAutoNum type="arabicPeriod"/>
              <a:defRPr sz="1867">
                <a:solidFill>
                  <a:schemeClr val="accent1"/>
                </a:solidFill>
              </a:defRPr>
            </a:lvl1pPr>
          </a:lstStyle>
          <a:p>
            <a:pPr marL="609585" marR="0" lvl="0" indent="-609585" algn="l" defTabSz="914377" rtl="0" eaLnBrk="1" fontAlgn="auto" latinLnBrk="0" hangingPunct="1">
              <a:lnSpc>
                <a:spcPct val="90000"/>
              </a:lnSpc>
              <a:spcBef>
                <a:spcPts val="1000"/>
              </a:spcBef>
              <a:spcAft>
                <a:spcPts val="0"/>
              </a:spcAft>
              <a:buClrTx/>
              <a:buSzTx/>
              <a:tabLst/>
              <a:defRPr/>
            </a:pPr>
            <a:r>
              <a:rPr lang="en-US" noProof="0"/>
              <a:t>Line is 15/Simple pt. lorem ipsum dolor sit </a:t>
            </a:r>
            <a:r>
              <a:rPr lang="en-US" noProof="0" err="1"/>
              <a:t>amet</a:t>
            </a:r>
            <a:r>
              <a:rPr lang="en-US" noProof="0"/>
              <a:t>.</a:t>
            </a:r>
          </a:p>
          <a:p>
            <a:pPr marL="609585" marR="0" lvl="0" indent="-609585" algn="l" defTabSz="914377" rtl="0" eaLnBrk="1" fontAlgn="auto" latinLnBrk="0" hangingPunct="1">
              <a:lnSpc>
                <a:spcPct val="90000"/>
              </a:lnSpc>
              <a:spcBef>
                <a:spcPts val="1000"/>
              </a:spcBef>
              <a:spcAft>
                <a:spcPts val="0"/>
              </a:spcAft>
              <a:buClrTx/>
              <a:buSzTx/>
              <a:tabLst/>
              <a:defRPr/>
            </a:pPr>
            <a:r>
              <a:rPr lang="en-US" noProof="0"/>
              <a:t>Line is 15/Simple pt. lorem ipsum dolor sit </a:t>
            </a:r>
            <a:r>
              <a:rPr lang="en-US" noProof="0" err="1"/>
              <a:t>amet</a:t>
            </a:r>
            <a:r>
              <a:rPr lang="en-US" noProof="0"/>
              <a:t>.</a:t>
            </a:r>
          </a:p>
          <a:p>
            <a:pPr marL="609585" marR="0" lvl="0" indent="-609585" algn="l" defTabSz="914377" rtl="0" eaLnBrk="1" fontAlgn="auto" latinLnBrk="0" hangingPunct="1">
              <a:lnSpc>
                <a:spcPct val="90000"/>
              </a:lnSpc>
              <a:spcBef>
                <a:spcPts val="1000"/>
              </a:spcBef>
              <a:spcAft>
                <a:spcPts val="0"/>
              </a:spcAft>
              <a:buClrTx/>
              <a:buSzTx/>
              <a:tabLst/>
              <a:defRPr/>
            </a:pPr>
            <a:r>
              <a:rPr lang="en-US" noProof="0"/>
              <a:t>Line is 15/Simple pt. lorem ipsum dolor sit </a:t>
            </a:r>
            <a:r>
              <a:rPr lang="en-US" noProof="0" err="1"/>
              <a:t>amet</a:t>
            </a:r>
            <a:r>
              <a:rPr lang="en-US" noProof="0"/>
              <a:t>.</a:t>
            </a:r>
          </a:p>
          <a:p>
            <a:pPr marL="609585" marR="0" lvl="0" indent="-609585" algn="l" defTabSz="914377" rtl="0" eaLnBrk="1" fontAlgn="auto" latinLnBrk="0" hangingPunct="1">
              <a:lnSpc>
                <a:spcPct val="90000"/>
              </a:lnSpc>
              <a:spcBef>
                <a:spcPts val="1000"/>
              </a:spcBef>
              <a:spcAft>
                <a:spcPts val="0"/>
              </a:spcAft>
              <a:buClrTx/>
              <a:buSzTx/>
              <a:tabLst/>
              <a:defRPr/>
            </a:pPr>
            <a:r>
              <a:rPr lang="en-US" noProof="0"/>
              <a:t>Line is 15/Simple pt. lorem ipsum dolor sit </a:t>
            </a:r>
            <a:r>
              <a:rPr lang="en-US" noProof="0" err="1"/>
              <a:t>amet</a:t>
            </a:r>
            <a:r>
              <a:rPr lang="en-US" noProof="0"/>
              <a:t>.</a:t>
            </a:r>
          </a:p>
          <a:p>
            <a:pPr marL="609585" marR="0" lvl="0" indent="-609585" algn="l" defTabSz="914377" rtl="0" eaLnBrk="1" fontAlgn="auto" latinLnBrk="0" hangingPunct="1">
              <a:lnSpc>
                <a:spcPct val="90000"/>
              </a:lnSpc>
              <a:spcBef>
                <a:spcPts val="1000"/>
              </a:spcBef>
              <a:spcAft>
                <a:spcPts val="0"/>
              </a:spcAft>
              <a:buClrTx/>
              <a:buSzTx/>
              <a:buFont typeface="+mj-lt"/>
              <a:buAutoNum type="arabicPeriod"/>
              <a:tabLst/>
              <a:defRPr/>
            </a:pPr>
            <a:r>
              <a:rPr lang="en-US" noProof="0"/>
              <a:t>Line is 15/Simple pt. lorem ipsum dolor sit </a:t>
            </a:r>
            <a:r>
              <a:rPr lang="en-US" noProof="0" err="1"/>
              <a:t>amet</a:t>
            </a:r>
            <a:r>
              <a:rPr lang="en-US" noProof="0"/>
              <a:t>.</a:t>
            </a:r>
          </a:p>
          <a:p>
            <a:pPr marL="609585" marR="0" lvl="0" indent="-609585" algn="l" defTabSz="914377" rtl="0" eaLnBrk="1" fontAlgn="auto" latinLnBrk="0" hangingPunct="1">
              <a:lnSpc>
                <a:spcPct val="90000"/>
              </a:lnSpc>
              <a:spcBef>
                <a:spcPts val="1000"/>
              </a:spcBef>
              <a:spcAft>
                <a:spcPts val="0"/>
              </a:spcAft>
              <a:buClrTx/>
              <a:buSzTx/>
              <a:tabLst/>
              <a:defRPr/>
            </a:pPr>
            <a:endParaRPr lang="en-US" noProof="0"/>
          </a:p>
          <a:p>
            <a:pPr marL="609585" marR="0" lvl="0" indent="-609585" algn="l" defTabSz="914377" rtl="0" eaLnBrk="1" fontAlgn="auto" latinLnBrk="0" hangingPunct="1">
              <a:lnSpc>
                <a:spcPct val="90000"/>
              </a:lnSpc>
              <a:spcBef>
                <a:spcPts val="1000"/>
              </a:spcBef>
              <a:spcAft>
                <a:spcPts val="0"/>
              </a:spcAft>
              <a:buClrTx/>
              <a:buSzTx/>
              <a:tabLst/>
              <a:defRPr/>
            </a:pPr>
            <a:endParaRPr lang="en-US" noProof="0"/>
          </a:p>
        </p:txBody>
      </p:sp>
      <p:sp>
        <p:nvSpPr>
          <p:cNvPr id="11" name="Slide Number Placeholder 5">
            <a:extLst>
              <a:ext uri="{FF2B5EF4-FFF2-40B4-BE49-F238E27FC236}">
                <a16:creationId xmlns:a16="http://schemas.microsoft.com/office/drawing/2014/main" id="{50CF8439-7B03-0D67-F754-60278F667859}"/>
              </a:ext>
            </a:extLst>
          </p:cNvPr>
          <p:cNvSpPr>
            <a:spLocks noGrp="1"/>
          </p:cNvSpPr>
          <p:nvPr>
            <p:ph type="sldNum" sz="quarter" idx="4"/>
          </p:nvPr>
        </p:nvSpPr>
        <p:spPr>
          <a:xfrm>
            <a:off x="10902443" y="6356351"/>
            <a:ext cx="1042415" cy="365125"/>
          </a:xfrm>
          <a:prstGeom prst="rect">
            <a:avLst/>
          </a:prstGeom>
        </p:spPr>
        <p:txBody>
          <a:bodyPr vert="horz" lIns="91440" tIns="45720" rIns="91440" bIns="45720" rtlCol="0" anchor="ctr"/>
          <a:lstStyle>
            <a:lvl1pPr algn="r">
              <a:defRPr sz="933">
                <a:solidFill>
                  <a:schemeClr val="bg1"/>
                </a:solidFill>
              </a:defRPr>
            </a:lvl1pPr>
          </a:lstStyle>
          <a:p>
            <a:fld id="{96F64DD7-E411-6141-89FE-121B5323FD5F}" type="slidenum">
              <a:rPr lang="en-US" smtClean="0"/>
              <a:pPr/>
              <a:t>‹Nº›</a:t>
            </a:fld>
            <a:endParaRPr lang="en-US"/>
          </a:p>
        </p:txBody>
      </p:sp>
      <p:sp>
        <p:nvSpPr>
          <p:cNvPr id="12" name="Marcador de texto 5">
            <a:extLst>
              <a:ext uri="{FF2B5EF4-FFF2-40B4-BE49-F238E27FC236}">
                <a16:creationId xmlns:a16="http://schemas.microsoft.com/office/drawing/2014/main" id="{67D66CC4-7055-F7C9-AEC0-35E7BA606592}"/>
              </a:ext>
            </a:extLst>
          </p:cNvPr>
          <p:cNvSpPr>
            <a:spLocks noGrp="1"/>
          </p:cNvSpPr>
          <p:nvPr>
            <p:ph type="body" sz="quarter" idx="26" hasCustomPrompt="1"/>
          </p:nvPr>
        </p:nvSpPr>
        <p:spPr>
          <a:xfrm>
            <a:off x="4039281" y="6417750"/>
            <a:ext cx="4113439" cy="195084"/>
          </a:xfrm>
          <a:prstGeom prst="rect">
            <a:avLst/>
          </a:prstGeom>
        </p:spPr>
        <p:txBody>
          <a:bodyPr/>
          <a:lstStyle>
            <a:lvl1pPr marL="0" indent="0" algn="ctr">
              <a:buNone/>
              <a:defRPr sz="933">
                <a:solidFill>
                  <a:schemeClr val="accent1"/>
                </a:solidFill>
              </a:defRPr>
            </a:lvl1pPr>
          </a:lstStyle>
          <a:p>
            <a:r>
              <a:rPr lang="es-ES" err="1"/>
              <a:t>Lorem</a:t>
            </a:r>
            <a:r>
              <a:rPr lang="es-ES"/>
              <a:t> </a:t>
            </a:r>
            <a:r>
              <a:rPr lang="es-ES" err="1"/>
              <a:t>ipsum</a:t>
            </a:r>
            <a:r>
              <a:rPr lang="es-ES"/>
              <a:t> dolor </a:t>
            </a:r>
            <a:r>
              <a:rPr lang="es-ES" err="1"/>
              <a:t>sit</a:t>
            </a:r>
            <a:r>
              <a:rPr lang="es-ES"/>
              <a:t> </a:t>
            </a:r>
            <a:r>
              <a:rPr lang="es-ES" err="1"/>
              <a:t>amet</a:t>
            </a:r>
            <a:r>
              <a:rPr lang="es-ES"/>
              <a:t>.</a:t>
            </a:r>
          </a:p>
        </p:txBody>
      </p:sp>
    </p:spTree>
    <p:extLst>
      <p:ext uri="{BB962C8B-B14F-4D97-AF65-F5344CB8AC3E}">
        <p14:creationId xmlns:p14="http://schemas.microsoft.com/office/powerpoint/2010/main" val="1626001679"/>
      </p:ext>
    </p:extLst>
  </p:cSld>
  <p:clrMapOvr>
    <a:masterClrMapping/>
  </p:clrMapOvr>
  <p:extLst>
    <p:ext uri="{DCECCB84-F9BA-43D5-87BE-67443E8EF086}">
      <p15:sldGuideLst xmlns:p15="http://schemas.microsoft.com/office/powerpoint/2012/main">
        <p15:guide id="1" orient="horz" pos="2867">
          <p15:clr>
            <a:srgbClr val="FBAE40"/>
          </p15:clr>
        </p15:guide>
        <p15:guide id="2" pos="2880">
          <p15:clr>
            <a:srgbClr val="FBAE40"/>
          </p15:clr>
        </p15:guide>
        <p15:guide id="3" orient="horz" pos="35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dex 2">
    <p:bg>
      <p:bgPr>
        <a:solidFill>
          <a:schemeClr val="bg1"/>
        </a:solidFill>
        <a:effectLst/>
      </p:bgPr>
    </p:bg>
    <p:spTree>
      <p:nvGrpSpPr>
        <p:cNvPr id="1" name=""/>
        <p:cNvGrpSpPr/>
        <p:nvPr/>
      </p:nvGrpSpPr>
      <p:grpSpPr>
        <a:xfrm>
          <a:off x="0" y="0"/>
          <a:ext cx="0" cy="0"/>
          <a:chOff x="0" y="0"/>
          <a:chExt cx="0" cy="0"/>
        </a:xfrm>
      </p:grpSpPr>
      <p:sp>
        <p:nvSpPr>
          <p:cNvPr id="8" name="Marcador de texto 2">
            <a:extLst>
              <a:ext uri="{FF2B5EF4-FFF2-40B4-BE49-F238E27FC236}">
                <a16:creationId xmlns:a16="http://schemas.microsoft.com/office/drawing/2014/main" id="{2820D2A9-09BB-1A87-A50B-028C7BA7A174}"/>
              </a:ext>
            </a:extLst>
          </p:cNvPr>
          <p:cNvSpPr>
            <a:spLocks noGrp="1"/>
          </p:cNvSpPr>
          <p:nvPr>
            <p:ph type="body" sz="quarter" idx="22" hasCustomPrompt="1"/>
          </p:nvPr>
        </p:nvSpPr>
        <p:spPr>
          <a:xfrm>
            <a:off x="3905964" y="1220250"/>
            <a:ext cx="4380072" cy="513301"/>
          </a:xfrm>
          <a:prstGeom prst="rect">
            <a:avLst/>
          </a:prstGeom>
        </p:spPr>
        <p:txBody>
          <a:bodyPr lIns="0" tIns="0" rIns="0" bIns="0"/>
          <a:lstStyle>
            <a:lvl1pPr marL="0" indent="0">
              <a:spcBef>
                <a:spcPts val="0"/>
              </a:spcBef>
              <a:buNone/>
              <a:defRPr sz="3733">
                <a:solidFill>
                  <a:schemeClr val="accent2"/>
                </a:solidFill>
              </a:defRPr>
            </a:lvl1pPr>
          </a:lstStyle>
          <a:p>
            <a:pPr lvl="0"/>
            <a:r>
              <a:rPr lang="es-ES" err="1"/>
              <a:t>Index</a:t>
            </a:r>
            <a:endParaRPr lang="es-ES"/>
          </a:p>
        </p:txBody>
      </p:sp>
      <p:sp>
        <p:nvSpPr>
          <p:cNvPr id="9" name="Marcador de texto 6">
            <a:extLst>
              <a:ext uri="{FF2B5EF4-FFF2-40B4-BE49-F238E27FC236}">
                <a16:creationId xmlns:a16="http://schemas.microsoft.com/office/drawing/2014/main" id="{22BE3632-EF45-C8AC-1199-63FA1047C6B4}"/>
              </a:ext>
            </a:extLst>
          </p:cNvPr>
          <p:cNvSpPr>
            <a:spLocks noGrp="1"/>
          </p:cNvSpPr>
          <p:nvPr>
            <p:ph type="body" sz="quarter" idx="23" hasCustomPrompt="1"/>
          </p:nvPr>
        </p:nvSpPr>
        <p:spPr>
          <a:xfrm>
            <a:off x="3904353" y="2300817"/>
            <a:ext cx="4432300" cy="3386667"/>
          </a:xfrm>
          <a:prstGeom prst="rect">
            <a:avLst/>
          </a:prstGeom>
        </p:spPr>
        <p:txBody>
          <a:bodyPr lIns="0" tIns="0" rIns="0" bIns="0"/>
          <a:lstStyle>
            <a:lvl1pPr marL="609585" indent="-609585">
              <a:buFont typeface="+mj-lt"/>
              <a:buAutoNum type="arabicPeriod"/>
              <a:defRPr sz="1867">
                <a:solidFill>
                  <a:schemeClr val="accent1"/>
                </a:solidFill>
              </a:defRPr>
            </a:lvl1pPr>
          </a:lstStyle>
          <a:p>
            <a:pPr marL="609585" marR="0" lvl="0" indent="-609585" algn="l" defTabSz="914377" rtl="0" eaLnBrk="1" fontAlgn="auto" latinLnBrk="0" hangingPunct="1">
              <a:lnSpc>
                <a:spcPct val="90000"/>
              </a:lnSpc>
              <a:spcBef>
                <a:spcPts val="1000"/>
              </a:spcBef>
              <a:spcAft>
                <a:spcPts val="0"/>
              </a:spcAft>
              <a:buClrTx/>
              <a:buSzTx/>
              <a:tabLst/>
              <a:defRPr/>
            </a:pPr>
            <a:r>
              <a:rPr lang="en-US" noProof="0"/>
              <a:t>Line is 15/Simple pt. lorem ipsum dolor sit </a:t>
            </a:r>
            <a:r>
              <a:rPr lang="en-US" noProof="0" err="1"/>
              <a:t>amet</a:t>
            </a:r>
            <a:r>
              <a:rPr lang="en-US" noProof="0"/>
              <a:t>.</a:t>
            </a:r>
          </a:p>
          <a:p>
            <a:pPr marL="609585" marR="0" lvl="0" indent="-609585" algn="l" defTabSz="914377" rtl="0" eaLnBrk="1" fontAlgn="auto" latinLnBrk="0" hangingPunct="1">
              <a:lnSpc>
                <a:spcPct val="90000"/>
              </a:lnSpc>
              <a:spcBef>
                <a:spcPts val="1000"/>
              </a:spcBef>
              <a:spcAft>
                <a:spcPts val="0"/>
              </a:spcAft>
              <a:buClrTx/>
              <a:buSzTx/>
              <a:tabLst/>
              <a:defRPr/>
            </a:pPr>
            <a:r>
              <a:rPr lang="en-US" noProof="0"/>
              <a:t>Line is 15/Simple pt. lorem ipsum dolor sit </a:t>
            </a:r>
            <a:r>
              <a:rPr lang="en-US" noProof="0" err="1"/>
              <a:t>amet</a:t>
            </a:r>
            <a:r>
              <a:rPr lang="en-US" noProof="0"/>
              <a:t>.</a:t>
            </a:r>
          </a:p>
          <a:p>
            <a:pPr marL="609585" marR="0" lvl="0" indent="-609585" algn="l" defTabSz="914377" rtl="0" eaLnBrk="1" fontAlgn="auto" latinLnBrk="0" hangingPunct="1">
              <a:lnSpc>
                <a:spcPct val="90000"/>
              </a:lnSpc>
              <a:spcBef>
                <a:spcPts val="1000"/>
              </a:spcBef>
              <a:spcAft>
                <a:spcPts val="0"/>
              </a:spcAft>
              <a:buClrTx/>
              <a:buSzTx/>
              <a:tabLst/>
              <a:defRPr/>
            </a:pPr>
            <a:r>
              <a:rPr lang="en-US" noProof="0"/>
              <a:t>Line is 15/Simple pt. lorem ipsum dolor sit </a:t>
            </a:r>
            <a:r>
              <a:rPr lang="en-US" noProof="0" err="1"/>
              <a:t>amet</a:t>
            </a:r>
            <a:r>
              <a:rPr lang="en-US" noProof="0"/>
              <a:t>.</a:t>
            </a:r>
          </a:p>
          <a:p>
            <a:pPr marL="609585" marR="0" lvl="0" indent="-609585" algn="l" defTabSz="914377" rtl="0" eaLnBrk="1" fontAlgn="auto" latinLnBrk="0" hangingPunct="1">
              <a:lnSpc>
                <a:spcPct val="90000"/>
              </a:lnSpc>
              <a:spcBef>
                <a:spcPts val="1000"/>
              </a:spcBef>
              <a:spcAft>
                <a:spcPts val="0"/>
              </a:spcAft>
              <a:buClrTx/>
              <a:buSzTx/>
              <a:tabLst/>
              <a:defRPr/>
            </a:pPr>
            <a:r>
              <a:rPr lang="en-US" noProof="0"/>
              <a:t>Line is 15/Simple pt. lorem ipsum dolor sit </a:t>
            </a:r>
            <a:r>
              <a:rPr lang="en-US" noProof="0" err="1"/>
              <a:t>amet</a:t>
            </a:r>
            <a:r>
              <a:rPr lang="en-US" noProof="0"/>
              <a:t>.</a:t>
            </a:r>
          </a:p>
          <a:p>
            <a:pPr marL="609585" marR="0" lvl="0" indent="-609585" algn="l" defTabSz="914377" rtl="0" eaLnBrk="1" fontAlgn="auto" latinLnBrk="0" hangingPunct="1">
              <a:lnSpc>
                <a:spcPct val="90000"/>
              </a:lnSpc>
              <a:spcBef>
                <a:spcPts val="1000"/>
              </a:spcBef>
              <a:spcAft>
                <a:spcPts val="0"/>
              </a:spcAft>
              <a:buClrTx/>
              <a:buSzTx/>
              <a:buFont typeface="+mj-lt"/>
              <a:buAutoNum type="arabicPeriod"/>
              <a:tabLst/>
              <a:defRPr/>
            </a:pPr>
            <a:r>
              <a:rPr lang="en-US" noProof="0"/>
              <a:t>Line is 15/Simple pt. lorem ipsum dolor sit </a:t>
            </a:r>
            <a:r>
              <a:rPr lang="en-US" noProof="0" err="1"/>
              <a:t>amet</a:t>
            </a:r>
            <a:r>
              <a:rPr lang="en-US" noProof="0"/>
              <a:t>.</a:t>
            </a:r>
          </a:p>
          <a:p>
            <a:pPr marL="609585" marR="0" lvl="0" indent="-609585" algn="l" defTabSz="914377" rtl="0" eaLnBrk="1" fontAlgn="auto" latinLnBrk="0" hangingPunct="1">
              <a:lnSpc>
                <a:spcPct val="90000"/>
              </a:lnSpc>
              <a:spcBef>
                <a:spcPts val="1000"/>
              </a:spcBef>
              <a:spcAft>
                <a:spcPts val="0"/>
              </a:spcAft>
              <a:buClrTx/>
              <a:buSzTx/>
              <a:tabLst/>
              <a:defRPr/>
            </a:pPr>
            <a:endParaRPr lang="en-US" noProof="0"/>
          </a:p>
          <a:p>
            <a:pPr marL="609585" marR="0" lvl="0" indent="-609585" algn="l" defTabSz="914377" rtl="0" eaLnBrk="1" fontAlgn="auto" latinLnBrk="0" hangingPunct="1">
              <a:lnSpc>
                <a:spcPct val="90000"/>
              </a:lnSpc>
              <a:spcBef>
                <a:spcPts val="1000"/>
              </a:spcBef>
              <a:spcAft>
                <a:spcPts val="0"/>
              </a:spcAft>
              <a:buClrTx/>
              <a:buSzTx/>
              <a:tabLst/>
              <a:defRPr/>
            </a:pPr>
            <a:endParaRPr lang="en-US" noProof="0"/>
          </a:p>
        </p:txBody>
      </p:sp>
      <p:sp>
        <p:nvSpPr>
          <p:cNvPr id="2" name="Marcador de texto 6">
            <a:extLst>
              <a:ext uri="{FF2B5EF4-FFF2-40B4-BE49-F238E27FC236}">
                <a16:creationId xmlns:a16="http://schemas.microsoft.com/office/drawing/2014/main" id="{70AF80C4-8F58-1A27-CF24-1D9B58B8BA35}"/>
              </a:ext>
            </a:extLst>
          </p:cNvPr>
          <p:cNvSpPr>
            <a:spLocks noGrp="1"/>
          </p:cNvSpPr>
          <p:nvPr>
            <p:ph type="body" sz="quarter" idx="25" hasCustomPrompt="1"/>
          </p:nvPr>
        </p:nvSpPr>
        <p:spPr>
          <a:xfrm>
            <a:off x="0" y="4563"/>
            <a:ext cx="12192000" cy="842544"/>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2"/>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5" name="Marcador de texto 6">
            <a:extLst>
              <a:ext uri="{FF2B5EF4-FFF2-40B4-BE49-F238E27FC236}">
                <a16:creationId xmlns:a16="http://schemas.microsoft.com/office/drawing/2014/main" id="{52F76A6C-4493-8436-B38A-E646DCD14B4F}"/>
              </a:ext>
            </a:extLst>
          </p:cNvPr>
          <p:cNvSpPr>
            <a:spLocks noGrp="1"/>
          </p:cNvSpPr>
          <p:nvPr>
            <p:ph type="body" sz="quarter" idx="26" hasCustomPrompt="1"/>
          </p:nvPr>
        </p:nvSpPr>
        <p:spPr>
          <a:xfrm>
            <a:off x="0" y="6015456"/>
            <a:ext cx="12192000" cy="842544"/>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3"/>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11" name="Marcador de texto 5">
            <a:extLst>
              <a:ext uri="{FF2B5EF4-FFF2-40B4-BE49-F238E27FC236}">
                <a16:creationId xmlns:a16="http://schemas.microsoft.com/office/drawing/2014/main" id="{3661FA78-8CE8-E954-A33A-ADBBB1F6F616}"/>
              </a:ext>
            </a:extLst>
          </p:cNvPr>
          <p:cNvSpPr>
            <a:spLocks noGrp="1"/>
          </p:cNvSpPr>
          <p:nvPr>
            <p:ph type="body" sz="quarter" idx="27" hasCustomPrompt="1"/>
          </p:nvPr>
        </p:nvSpPr>
        <p:spPr>
          <a:xfrm>
            <a:off x="4039281" y="6417750"/>
            <a:ext cx="4113439" cy="195084"/>
          </a:xfrm>
          <a:prstGeom prst="rect">
            <a:avLst/>
          </a:prstGeom>
        </p:spPr>
        <p:txBody>
          <a:bodyPr/>
          <a:lstStyle>
            <a:lvl1pPr marL="0" indent="0" algn="ctr">
              <a:buNone/>
              <a:defRPr sz="933">
                <a:solidFill>
                  <a:schemeClr val="bg1"/>
                </a:solidFill>
              </a:defRPr>
            </a:lvl1pPr>
          </a:lstStyle>
          <a:p>
            <a:r>
              <a:rPr lang="es-ES" err="1"/>
              <a:t>Lorem</a:t>
            </a:r>
            <a:r>
              <a:rPr lang="es-ES"/>
              <a:t> </a:t>
            </a:r>
            <a:r>
              <a:rPr lang="es-ES" err="1"/>
              <a:t>ipsum</a:t>
            </a:r>
            <a:r>
              <a:rPr lang="es-ES"/>
              <a:t> dolor </a:t>
            </a:r>
            <a:r>
              <a:rPr lang="es-ES" err="1"/>
              <a:t>sit</a:t>
            </a:r>
            <a:r>
              <a:rPr lang="es-ES"/>
              <a:t> </a:t>
            </a:r>
            <a:r>
              <a:rPr lang="es-ES" err="1"/>
              <a:t>amet</a:t>
            </a:r>
            <a:r>
              <a:rPr lang="es-ES"/>
              <a:t>.</a:t>
            </a:r>
          </a:p>
        </p:txBody>
      </p:sp>
      <p:sp>
        <p:nvSpPr>
          <p:cNvPr id="12" name="Slide Number Placeholder 5">
            <a:extLst>
              <a:ext uri="{FF2B5EF4-FFF2-40B4-BE49-F238E27FC236}">
                <a16:creationId xmlns:a16="http://schemas.microsoft.com/office/drawing/2014/main" id="{FFB581F5-DAF6-246B-821C-0A1A239C671B}"/>
              </a:ext>
            </a:extLst>
          </p:cNvPr>
          <p:cNvSpPr>
            <a:spLocks noGrp="1"/>
          </p:cNvSpPr>
          <p:nvPr>
            <p:ph type="sldNum" sz="quarter" idx="4"/>
          </p:nvPr>
        </p:nvSpPr>
        <p:spPr>
          <a:xfrm>
            <a:off x="10910403" y="6356351"/>
            <a:ext cx="1042415" cy="365125"/>
          </a:xfrm>
          <a:prstGeom prst="rect">
            <a:avLst/>
          </a:prstGeom>
        </p:spPr>
        <p:txBody>
          <a:bodyPr vert="horz" lIns="91440" tIns="45720" rIns="91440" bIns="45720" rtlCol="0" anchor="ctr"/>
          <a:lstStyle>
            <a:lvl1pPr algn="r">
              <a:defRPr sz="933">
                <a:solidFill>
                  <a:schemeClr val="bg1"/>
                </a:solidFill>
              </a:defRPr>
            </a:lvl1pPr>
          </a:lstStyle>
          <a:p>
            <a:fld id="{96F64DD7-E411-6141-89FE-121B5323FD5F}" type="slidenum">
              <a:rPr lang="en-US" smtClean="0"/>
              <a:pPr/>
              <a:t>‹Nº›</a:t>
            </a:fld>
            <a:endParaRPr lang="en-US"/>
          </a:p>
        </p:txBody>
      </p:sp>
    </p:spTree>
    <p:extLst>
      <p:ext uri="{BB962C8B-B14F-4D97-AF65-F5344CB8AC3E}">
        <p14:creationId xmlns:p14="http://schemas.microsoft.com/office/powerpoint/2010/main" val="662299194"/>
      </p:ext>
    </p:extLst>
  </p:cSld>
  <p:clrMapOvr>
    <a:masterClrMapping/>
  </p:clrMapOvr>
  <p:extLst>
    <p:ext uri="{DCECCB84-F9BA-43D5-87BE-67443E8EF086}">
      <p15:sldGuideLst xmlns:p15="http://schemas.microsoft.com/office/powerpoint/2012/main">
        <p15:guide id="1" orient="horz" pos="2867">
          <p15:clr>
            <a:srgbClr val="FBAE40"/>
          </p15:clr>
        </p15:guide>
        <p15:guide id="2" pos="2880">
          <p15:clr>
            <a:srgbClr val="FBAE40"/>
          </p15:clr>
        </p15:guide>
        <p15:guide id="3" orient="horz" pos="35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pter 1">
    <p:bg>
      <p:bgPr>
        <a:solidFill>
          <a:schemeClr val="bg1"/>
        </a:solidFill>
        <a:effectLst/>
      </p:bgPr>
    </p:bg>
    <p:spTree>
      <p:nvGrpSpPr>
        <p:cNvPr id="1" name=""/>
        <p:cNvGrpSpPr/>
        <p:nvPr/>
      </p:nvGrpSpPr>
      <p:grpSpPr>
        <a:xfrm>
          <a:off x="0" y="0"/>
          <a:ext cx="0" cy="0"/>
          <a:chOff x="0" y="0"/>
          <a:chExt cx="0" cy="0"/>
        </a:xfrm>
      </p:grpSpPr>
      <p:sp>
        <p:nvSpPr>
          <p:cNvPr id="6" name="Marcador de texto 6">
            <a:extLst>
              <a:ext uri="{FF2B5EF4-FFF2-40B4-BE49-F238E27FC236}">
                <a16:creationId xmlns:a16="http://schemas.microsoft.com/office/drawing/2014/main" id="{EDB23873-6C69-BA7F-1949-367D5FEED74B}"/>
              </a:ext>
            </a:extLst>
          </p:cNvPr>
          <p:cNvSpPr>
            <a:spLocks noGrp="1"/>
          </p:cNvSpPr>
          <p:nvPr>
            <p:ph type="body" sz="quarter" idx="22" hasCustomPrompt="1"/>
          </p:nvPr>
        </p:nvSpPr>
        <p:spPr>
          <a:xfrm>
            <a:off x="-7918" y="0"/>
            <a:ext cx="5795159" cy="6858000"/>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2"/>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2" name="Título 1">
            <a:extLst>
              <a:ext uri="{FF2B5EF4-FFF2-40B4-BE49-F238E27FC236}">
                <a16:creationId xmlns:a16="http://schemas.microsoft.com/office/drawing/2014/main" id="{5EE9C790-8027-0F9D-FC35-1D4F15D40272}"/>
              </a:ext>
            </a:extLst>
          </p:cNvPr>
          <p:cNvSpPr>
            <a:spLocks noGrp="1"/>
          </p:cNvSpPr>
          <p:nvPr>
            <p:ph type="title" hasCustomPrompt="1"/>
          </p:nvPr>
        </p:nvSpPr>
        <p:spPr>
          <a:xfrm>
            <a:off x="6527800" y="2435046"/>
            <a:ext cx="4389648" cy="2904732"/>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baseline="0">
                <a:solidFill>
                  <a:schemeClr val="accent1"/>
                </a:solidFill>
              </a:defRPr>
            </a:lvl1pPr>
          </a:lstStyle>
          <a:p>
            <a:r>
              <a:rPr lang="en-US" noProof="0"/>
              <a:t>Headline is Arial Reg.38pt.</a:t>
            </a:r>
            <a:br>
              <a:rPr lang="en-US" noProof="0"/>
            </a:br>
            <a:r>
              <a:rPr lang="en-US" noProof="0"/>
              <a:t>Lorem ipsum dolor sit </a:t>
            </a:r>
            <a:r>
              <a:rPr lang="en-US" noProof="0" err="1"/>
              <a:t>amet</a:t>
            </a:r>
            <a:r>
              <a:rPr lang="en-US" noProof="0"/>
              <a:t>.</a:t>
            </a:r>
          </a:p>
        </p:txBody>
      </p:sp>
      <p:sp>
        <p:nvSpPr>
          <p:cNvPr id="5" name="Marcador de texto 2">
            <a:extLst>
              <a:ext uri="{FF2B5EF4-FFF2-40B4-BE49-F238E27FC236}">
                <a16:creationId xmlns:a16="http://schemas.microsoft.com/office/drawing/2014/main" id="{D3F76F54-6050-86F6-D98E-ED10991BFE01}"/>
              </a:ext>
            </a:extLst>
          </p:cNvPr>
          <p:cNvSpPr>
            <a:spLocks noGrp="1"/>
          </p:cNvSpPr>
          <p:nvPr>
            <p:ph type="body" sz="quarter" idx="23" hasCustomPrompt="1"/>
          </p:nvPr>
        </p:nvSpPr>
        <p:spPr>
          <a:xfrm>
            <a:off x="6535763" y="1220249"/>
            <a:ext cx="4380072" cy="676419"/>
          </a:xfrm>
          <a:prstGeom prst="rect">
            <a:avLst/>
          </a:prstGeom>
        </p:spPr>
        <p:txBody>
          <a:bodyPr lIns="0" tIns="0" rIns="0" bIns="0"/>
          <a:lstStyle>
            <a:lvl1pPr marL="0" indent="0">
              <a:spcBef>
                <a:spcPts val="0"/>
              </a:spcBef>
              <a:buNone/>
              <a:defRPr sz="3733">
                <a:solidFill>
                  <a:schemeClr val="accent2"/>
                </a:solidFill>
              </a:defRPr>
            </a:lvl1pPr>
          </a:lstStyle>
          <a:p>
            <a:pPr lvl="0"/>
            <a:r>
              <a:rPr lang="es-ES" err="1"/>
              <a:t>Chapter</a:t>
            </a:r>
            <a:r>
              <a:rPr lang="es-ES"/>
              <a:t> 1</a:t>
            </a:r>
          </a:p>
        </p:txBody>
      </p:sp>
      <p:sp>
        <p:nvSpPr>
          <p:cNvPr id="9" name="Marcador de texto 5">
            <a:extLst>
              <a:ext uri="{FF2B5EF4-FFF2-40B4-BE49-F238E27FC236}">
                <a16:creationId xmlns:a16="http://schemas.microsoft.com/office/drawing/2014/main" id="{DE35CE4A-423D-049B-D008-41CCCF2F507C}"/>
              </a:ext>
            </a:extLst>
          </p:cNvPr>
          <p:cNvSpPr>
            <a:spLocks noGrp="1"/>
          </p:cNvSpPr>
          <p:nvPr>
            <p:ph type="body" sz="quarter" idx="25" hasCustomPrompt="1"/>
          </p:nvPr>
        </p:nvSpPr>
        <p:spPr>
          <a:xfrm>
            <a:off x="4039281" y="6417750"/>
            <a:ext cx="4113439" cy="195084"/>
          </a:xfrm>
          <a:prstGeom prst="rect">
            <a:avLst/>
          </a:prstGeom>
        </p:spPr>
        <p:txBody>
          <a:bodyPr/>
          <a:lstStyle>
            <a:lvl1pPr marL="0" indent="0" algn="ctr">
              <a:buNone/>
              <a:defRPr sz="933">
                <a:solidFill>
                  <a:schemeClr val="accent1"/>
                </a:solidFill>
              </a:defRPr>
            </a:lvl1pPr>
          </a:lstStyle>
          <a:p>
            <a:r>
              <a:rPr lang="es-ES" err="1"/>
              <a:t>Lorem</a:t>
            </a:r>
            <a:r>
              <a:rPr lang="es-ES"/>
              <a:t> </a:t>
            </a:r>
            <a:r>
              <a:rPr lang="es-ES" err="1"/>
              <a:t>ipsum</a:t>
            </a:r>
            <a:r>
              <a:rPr lang="es-ES"/>
              <a:t> dolor </a:t>
            </a:r>
            <a:r>
              <a:rPr lang="es-ES" err="1"/>
              <a:t>sit</a:t>
            </a:r>
            <a:r>
              <a:rPr lang="es-ES"/>
              <a:t> </a:t>
            </a:r>
            <a:r>
              <a:rPr lang="es-ES" err="1"/>
              <a:t>amet</a:t>
            </a:r>
            <a:r>
              <a:rPr lang="es-ES"/>
              <a:t>.</a:t>
            </a:r>
          </a:p>
        </p:txBody>
      </p:sp>
      <p:sp>
        <p:nvSpPr>
          <p:cNvPr id="11" name="Slide Number Placeholder 5">
            <a:extLst>
              <a:ext uri="{FF2B5EF4-FFF2-40B4-BE49-F238E27FC236}">
                <a16:creationId xmlns:a16="http://schemas.microsoft.com/office/drawing/2014/main" id="{5F7F4D00-68D5-533A-25F0-BFF42F81834E}"/>
              </a:ext>
            </a:extLst>
          </p:cNvPr>
          <p:cNvSpPr>
            <a:spLocks noGrp="1"/>
          </p:cNvSpPr>
          <p:nvPr>
            <p:ph type="sldNum" sz="quarter" idx="4"/>
          </p:nvPr>
        </p:nvSpPr>
        <p:spPr>
          <a:xfrm>
            <a:off x="10910403" y="6356351"/>
            <a:ext cx="1042415" cy="365125"/>
          </a:xfrm>
          <a:prstGeom prst="rect">
            <a:avLst/>
          </a:prstGeom>
        </p:spPr>
        <p:txBody>
          <a:bodyPr vert="horz" lIns="91440" tIns="45720" rIns="91440" bIns="45720" rtlCol="0" anchor="ctr"/>
          <a:lstStyle>
            <a:lvl1pPr algn="r">
              <a:defRPr sz="933">
                <a:solidFill>
                  <a:schemeClr val="accent1"/>
                </a:solidFill>
              </a:defRPr>
            </a:lvl1pPr>
          </a:lstStyle>
          <a:p>
            <a:fld id="{96F64DD7-E411-6141-89FE-121B5323FD5F}" type="slidenum">
              <a:rPr lang="en-US" smtClean="0"/>
              <a:pPr/>
              <a:t>‹Nº›</a:t>
            </a:fld>
            <a:endParaRPr lang="en-US"/>
          </a:p>
        </p:txBody>
      </p:sp>
    </p:spTree>
    <p:extLst>
      <p:ext uri="{BB962C8B-B14F-4D97-AF65-F5344CB8AC3E}">
        <p14:creationId xmlns:p14="http://schemas.microsoft.com/office/powerpoint/2010/main" val="782396489"/>
      </p:ext>
    </p:extLst>
  </p:cSld>
  <p:clrMapOvr>
    <a:masterClrMapping/>
  </p:clrMapOvr>
  <p:extLst>
    <p:ext uri="{DCECCB84-F9BA-43D5-87BE-67443E8EF086}">
      <p15:sldGuideLst xmlns:p15="http://schemas.microsoft.com/office/powerpoint/2012/main">
        <p15:guide id="1" orient="horz" pos="2867">
          <p15:clr>
            <a:srgbClr val="FBAE40"/>
          </p15:clr>
        </p15:guide>
        <p15:guide id="2" pos="2880">
          <p15:clr>
            <a:srgbClr val="FBAE40"/>
          </p15:clr>
        </p15:guide>
        <p15:guide id="3" orient="horz" pos="350">
          <p15:clr>
            <a:srgbClr val="FBAE40"/>
          </p15:clr>
        </p15:guide>
        <p15:guide id="4" orient="horz" pos="3117">
          <p15:clr>
            <a:srgbClr val="FBAE40"/>
          </p15:clr>
        </p15:guide>
        <p15:guide id="5" orient="horz" pos="75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pter 2">
    <p:bg>
      <p:bgPr>
        <a:solidFill>
          <a:schemeClr val="bg1"/>
        </a:solidFill>
        <a:effectLst/>
      </p:bgPr>
    </p:bg>
    <p:spTree>
      <p:nvGrpSpPr>
        <p:cNvPr id="1" name=""/>
        <p:cNvGrpSpPr/>
        <p:nvPr/>
      </p:nvGrpSpPr>
      <p:grpSpPr>
        <a:xfrm>
          <a:off x="0" y="0"/>
          <a:ext cx="0" cy="0"/>
          <a:chOff x="0" y="0"/>
          <a:chExt cx="0" cy="0"/>
        </a:xfrm>
      </p:grpSpPr>
      <p:sp>
        <p:nvSpPr>
          <p:cNvPr id="6" name="Marcador de texto 6">
            <a:extLst>
              <a:ext uri="{FF2B5EF4-FFF2-40B4-BE49-F238E27FC236}">
                <a16:creationId xmlns:a16="http://schemas.microsoft.com/office/drawing/2014/main" id="{EDB23873-6C69-BA7F-1949-367D5FEED74B}"/>
              </a:ext>
            </a:extLst>
          </p:cNvPr>
          <p:cNvSpPr>
            <a:spLocks noGrp="1"/>
          </p:cNvSpPr>
          <p:nvPr>
            <p:ph type="body" sz="quarter" idx="22" hasCustomPrompt="1"/>
          </p:nvPr>
        </p:nvSpPr>
        <p:spPr>
          <a:xfrm>
            <a:off x="6396842" y="0"/>
            <a:ext cx="5795159" cy="6858000"/>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2"/>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4" name="Marcador de texto 6">
            <a:extLst>
              <a:ext uri="{FF2B5EF4-FFF2-40B4-BE49-F238E27FC236}">
                <a16:creationId xmlns:a16="http://schemas.microsoft.com/office/drawing/2014/main" id="{1132573B-14F9-BE03-2250-F70334A434FF}"/>
              </a:ext>
            </a:extLst>
          </p:cNvPr>
          <p:cNvSpPr>
            <a:spLocks noGrp="1"/>
          </p:cNvSpPr>
          <p:nvPr>
            <p:ph type="body" sz="quarter" idx="19" hasCustomPrompt="1"/>
          </p:nvPr>
        </p:nvSpPr>
        <p:spPr>
          <a:xfrm>
            <a:off x="239186" y="6341105"/>
            <a:ext cx="960965" cy="310299"/>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3"/>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3" name="Título 1">
            <a:extLst>
              <a:ext uri="{FF2B5EF4-FFF2-40B4-BE49-F238E27FC236}">
                <a16:creationId xmlns:a16="http://schemas.microsoft.com/office/drawing/2014/main" id="{7939A6D0-D083-2A8F-0726-87C1259B202A}"/>
              </a:ext>
            </a:extLst>
          </p:cNvPr>
          <p:cNvSpPr>
            <a:spLocks noGrp="1"/>
          </p:cNvSpPr>
          <p:nvPr>
            <p:ph type="title" hasCustomPrompt="1"/>
          </p:nvPr>
        </p:nvSpPr>
        <p:spPr>
          <a:xfrm>
            <a:off x="768351" y="2435046"/>
            <a:ext cx="4389648" cy="2904732"/>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baseline="0">
                <a:solidFill>
                  <a:schemeClr val="accent1"/>
                </a:solidFill>
              </a:defRPr>
            </a:lvl1pPr>
          </a:lstStyle>
          <a:p>
            <a:r>
              <a:rPr lang="en-US" noProof="0"/>
              <a:t>Headline is Arial Reg.38pt.</a:t>
            </a:r>
            <a:br>
              <a:rPr lang="en-US" noProof="0"/>
            </a:br>
            <a:r>
              <a:rPr lang="en-US" noProof="0"/>
              <a:t>Lorem ipsum dolor sit </a:t>
            </a:r>
            <a:r>
              <a:rPr lang="en-US" noProof="0" err="1"/>
              <a:t>amet</a:t>
            </a:r>
            <a:r>
              <a:rPr lang="en-US" noProof="0"/>
              <a:t>.</a:t>
            </a:r>
          </a:p>
        </p:txBody>
      </p:sp>
      <p:sp>
        <p:nvSpPr>
          <p:cNvPr id="5" name="Marcador de texto 2">
            <a:extLst>
              <a:ext uri="{FF2B5EF4-FFF2-40B4-BE49-F238E27FC236}">
                <a16:creationId xmlns:a16="http://schemas.microsoft.com/office/drawing/2014/main" id="{3A087438-B8AC-5450-9BA0-2007DFE9E644}"/>
              </a:ext>
            </a:extLst>
          </p:cNvPr>
          <p:cNvSpPr>
            <a:spLocks noGrp="1"/>
          </p:cNvSpPr>
          <p:nvPr>
            <p:ph type="body" sz="quarter" idx="23" hasCustomPrompt="1"/>
          </p:nvPr>
        </p:nvSpPr>
        <p:spPr>
          <a:xfrm>
            <a:off x="776313" y="1220249"/>
            <a:ext cx="4380072" cy="676419"/>
          </a:xfrm>
          <a:prstGeom prst="rect">
            <a:avLst/>
          </a:prstGeom>
        </p:spPr>
        <p:txBody>
          <a:bodyPr lIns="0" tIns="0" rIns="0" bIns="0"/>
          <a:lstStyle>
            <a:lvl1pPr marL="0" indent="0">
              <a:spcBef>
                <a:spcPts val="0"/>
              </a:spcBef>
              <a:buNone/>
              <a:defRPr sz="3733">
                <a:solidFill>
                  <a:schemeClr val="accent2"/>
                </a:solidFill>
              </a:defRPr>
            </a:lvl1pPr>
          </a:lstStyle>
          <a:p>
            <a:pPr lvl="0"/>
            <a:r>
              <a:rPr lang="es-ES" err="1"/>
              <a:t>Chapter</a:t>
            </a:r>
            <a:r>
              <a:rPr lang="es-ES"/>
              <a:t> 1</a:t>
            </a:r>
          </a:p>
        </p:txBody>
      </p:sp>
      <p:sp>
        <p:nvSpPr>
          <p:cNvPr id="9" name="Slide Number Placeholder 5">
            <a:extLst>
              <a:ext uri="{FF2B5EF4-FFF2-40B4-BE49-F238E27FC236}">
                <a16:creationId xmlns:a16="http://schemas.microsoft.com/office/drawing/2014/main" id="{B295DE6F-1367-4489-5C5E-1A7542F37E18}"/>
              </a:ext>
            </a:extLst>
          </p:cNvPr>
          <p:cNvSpPr>
            <a:spLocks noGrp="1"/>
          </p:cNvSpPr>
          <p:nvPr>
            <p:ph type="sldNum" sz="quarter" idx="4"/>
          </p:nvPr>
        </p:nvSpPr>
        <p:spPr>
          <a:xfrm>
            <a:off x="10902443" y="6356351"/>
            <a:ext cx="1042415" cy="365125"/>
          </a:xfrm>
          <a:prstGeom prst="rect">
            <a:avLst/>
          </a:prstGeom>
        </p:spPr>
        <p:txBody>
          <a:bodyPr vert="horz" lIns="91440" tIns="45720" rIns="91440" bIns="45720" rtlCol="0" anchor="ctr"/>
          <a:lstStyle>
            <a:lvl1pPr algn="r">
              <a:defRPr sz="933">
                <a:solidFill>
                  <a:schemeClr val="bg1"/>
                </a:solidFill>
              </a:defRPr>
            </a:lvl1pPr>
          </a:lstStyle>
          <a:p>
            <a:fld id="{96F64DD7-E411-6141-89FE-121B5323FD5F}" type="slidenum">
              <a:rPr lang="en-US" smtClean="0"/>
              <a:pPr/>
              <a:t>‹Nº›</a:t>
            </a:fld>
            <a:endParaRPr lang="en-US"/>
          </a:p>
        </p:txBody>
      </p:sp>
      <p:sp>
        <p:nvSpPr>
          <p:cNvPr id="10" name="Marcador de texto 5">
            <a:extLst>
              <a:ext uri="{FF2B5EF4-FFF2-40B4-BE49-F238E27FC236}">
                <a16:creationId xmlns:a16="http://schemas.microsoft.com/office/drawing/2014/main" id="{06E474D7-B397-4BA1-C46B-AA56318A4BA3}"/>
              </a:ext>
            </a:extLst>
          </p:cNvPr>
          <p:cNvSpPr>
            <a:spLocks noGrp="1"/>
          </p:cNvSpPr>
          <p:nvPr>
            <p:ph type="body" sz="quarter" idx="25" hasCustomPrompt="1"/>
          </p:nvPr>
        </p:nvSpPr>
        <p:spPr>
          <a:xfrm>
            <a:off x="4039281" y="6417750"/>
            <a:ext cx="4113439" cy="195084"/>
          </a:xfrm>
          <a:prstGeom prst="rect">
            <a:avLst/>
          </a:prstGeom>
        </p:spPr>
        <p:txBody>
          <a:bodyPr/>
          <a:lstStyle>
            <a:lvl1pPr marL="0" indent="0" algn="ctr">
              <a:buNone/>
              <a:defRPr sz="933">
                <a:solidFill>
                  <a:schemeClr val="accent1"/>
                </a:solidFill>
              </a:defRPr>
            </a:lvl1pPr>
          </a:lstStyle>
          <a:p>
            <a:r>
              <a:rPr lang="es-ES" err="1"/>
              <a:t>Lorem</a:t>
            </a:r>
            <a:r>
              <a:rPr lang="es-ES"/>
              <a:t> </a:t>
            </a:r>
            <a:r>
              <a:rPr lang="es-ES" err="1"/>
              <a:t>ipsum</a:t>
            </a:r>
            <a:r>
              <a:rPr lang="es-ES"/>
              <a:t> dolor </a:t>
            </a:r>
            <a:r>
              <a:rPr lang="es-ES" err="1"/>
              <a:t>sit</a:t>
            </a:r>
            <a:r>
              <a:rPr lang="es-ES"/>
              <a:t> </a:t>
            </a:r>
            <a:r>
              <a:rPr lang="es-ES" err="1"/>
              <a:t>amet</a:t>
            </a:r>
            <a:r>
              <a:rPr lang="es-ES"/>
              <a:t>.</a:t>
            </a:r>
          </a:p>
        </p:txBody>
      </p:sp>
    </p:spTree>
    <p:extLst>
      <p:ext uri="{BB962C8B-B14F-4D97-AF65-F5344CB8AC3E}">
        <p14:creationId xmlns:p14="http://schemas.microsoft.com/office/powerpoint/2010/main" val="981610091"/>
      </p:ext>
    </p:extLst>
  </p:cSld>
  <p:clrMapOvr>
    <a:masterClrMapping/>
  </p:clrMapOvr>
  <p:extLst>
    <p:ext uri="{DCECCB84-F9BA-43D5-87BE-67443E8EF086}">
      <p15:sldGuideLst xmlns:p15="http://schemas.microsoft.com/office/powerpoint/2012/main">
        <p15:guide id="1" orient="horz" pos="2867">
          <p15:clr>
            <a:srgbClr val="FBAE40"/>
          </p15:clr>
        </p15:guide>
        <p15:guide id="2" pos="2880">
          <p15:clr>
            <a:srgbClr val="FBAE40"/>
          </p15:clr>
        </p15:guide>
        <p15:guide id="3" orient="horz" pos="35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pter 3">
    <p:bg>
      <p:bgPr>
        <a:solidFill>
          <a:schemeClr val="bg1"/>
        </a:solidFill>
        <a:effectLst/>
      </p:bgPr>
    </p:bg>
    <p:spTree>
      <p:nvGrpSpPr>
        <p:cNvPr id="1" name=""/>
        <p:cNvGrpSpPr/>
        <p:nvPr/>
      </p:nvGrpSpPr>
      <p:grpSpPr>
        <a:xfrm>
          <a:off x="0" y="0"/>
          <a:ext cx="0" cy="0"/>
          <a:chOff x="0" y="0"/>
          <a:chExt cx="0" cy="0"/>
        </a:xfrm>
      </p:grpSpPr>
      <p:sp>
        <p:nvSpPr>
          <p:cNvPr id="6" name="Marcador de texto 6">
            <a:extLst>
              <a:ext uri="{FF2B5EF4-FFF2-40B4-BE49-F238E27FC236}">
                <a16:creationId xmlns:a16="http://schemas.microsoft.com/office/drawing/2014/main" id="{EDB23873-6C69-BA7F-1949-367D5FEED74B}"/>
              </a:ext>
            </a:extLst>
          </p:cNvPr>
          <p:cNvSpPr>
            <a:spLocks noGrp="1"/>
          </p:cNvSpPr>
          <p:nvPr>
            <p:ph type="body" sz="quarter" idx="22" hasCustomPrompt="1"/>
          </p:nvPr>
        </p:nvSpPr>
        <p:spPr>
          <a:xfrm>
            <a:off x="0" y="3847605"/>
            <a:ext cx="2354797" cy="3010395"/>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2"/>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3" name="Título 1">
            <a:extLst>
              <a:ext uri="{FF2B5EF4-FFF2-40B4-BE49-F238E27FC236}">
                <a16:creationId xmlns:a16="http://schemas.microsoft.com/office/drawing/2014/main" id="{95828207-94F8-1703-67B2-73BF709349AF}"/>
              </a:ext>
            </a:extLst>
          </p:cNvPr>
          <p:cNvSpPr>
            <a:spLocks noGrp="1"/>
          </p:cNvSpPr>
          <p:nvPr>
            <p:ph type="title" hasCustomPrompt="1"/>
          </p:nvPr>
        </p:nvSpPr>
        <p:spPr>
          <a:xfrm>
            <a:off x="768351" y="2435046"/>
            <a:ext cx="4389648" cy="2904732"/>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baseline="0">
                <a:solidFill>
                  <a:schemeClr val="accent1"/>
                </a:solidFill>
              </a:defRPr>
            </a:lvl1pPr>
          </a:lstStyle>
          <a:p>
            <a:r>
              <a:rPr lang="en-US" noProof="0"/>
              <a:t>Headline is Arial Reg.38pt.</a:t>
            </a:r>
            <a:br>
              <a:rPr lang="en-US" noProof="0"/>
            </a:br>
            <a:r>
              <a:rPr lang="en-US" noProof="0"/>
              <a:t>Lorem ipsum dolor sit </a:t>
            </a:r>
            <a:r>
              <a:rPr lang="en-US" noProof="0" err="1"/>
              <a:t>amet</a:t>
            </a:r>
            <a:r>
              <a:rPr lang="en-US" noProof="0"/>
              <a:t>.</a:t>
            </a:r>
          </a:p>
        </p:txBody>
      </p:sp>
      <p:sp>
        <p:nvSpPr>
          <p:cNvPr id="4" name="Marcador de texto 2">
            <a:extLst>
              <a:ext uri="{FF2B5EF4-FFF2-40B4-BE49-F238E27FC236}">
                <a16:creationId xmlns:a16="http://schemas.microsoft.com/office/drawing/2014/main" id="{DFB39D16-DC03-92DC-6FAD-7F26F2AB497C}"/>
              </a:ext>
            </a:extLst>
          </p:cNvPr>
          <p:cNvSpPr>
            <a:spLocks noGrp="1"/>
          </p:cNvSpPr>
          <p:nvPr>
            <p:ph type="body" sz="quarter" idx="23" hasCustomPrompt="1"/>
          </p:nvPr>
        </p:nvSpPr>
        <p:spPr>
          <a:xfrm>
            <a:off x="776313" y="1220249"/>
            <a:ext cx="4380072" cy="676419"/>
          </a:xfrm>
          <a:prstGeom prst="rect">
            <a:avLst/>
          </a:prstGeom>
        </p:spPr>
        <p:txBody>
          <a:bodyPr lIns="0" tIns="0" rIns="0" bIns="0"/>
          <a:lstStyle>
            <a:lvl1pPr marL="0" indent="0">
              <a:spcBef>
                <a:spcPts val="0"/>
              </a:spcBef>
              <a:buNone/>
              <a:defRPr sz="3733">
                <a:solidFill>
                  <a:schemeClr val="accent2"/>
                </a:solidFill>
              </a:defRPr>
            </a:lvl1pPr>
          </a:lstStyle>
          <a:p>
            <a:pPr lvl="0"/>
            <a:r>
              <a:rPr lang="es-ES" err="1"/>
              <a:t>Chapter</a:t>
            </a:r>
            <a:r>
              <a:rPr lang="es-ES"/>
              <a:t> 1</a:t>
            </a:r>
          </a:p>
        </p:txBody>
      </p:sp>
      <p:sp>
        <p:nvSpPr>
          <p:cNvPr id="7" name="Marcador de imagen 7">
            <a:extLst>
              <a:ext uri="{FF2B5EF4-FFF2-40B4-BE49-F238E27FC236}">
                <a16:creationId xmlns:a16="http://schemas.microsoft.com/office/drawing/2014/main" id="{5CDECDDA-84B5-A21E-0CE1-6A9C732AB00E}"/>
              </a:ext>
            </a:extLst>
          </p:cNvPr>
          <p:cNvSpPr>
            <a:spLocks noGrp="1"/>
          </p:cNvSpPr>
          <p:nvPr>
            <p:ph type="pic" sz="quarter" idx="20" hasCustomPrompt="1"/>
          </p:nvPr>
        </p:nvSpPr>
        <p:spPr>
          <a:xfrm>
            <a:off x="6515661" y="994557"/>
            <a:ext cx="4891475" cy="4868883"/>
          </a:xfrm>
          <a:custGeom>
            <a:avLst/>
            <a:gdLst>
              <a:gd name="connsiteX0" fmla="*/ 0 w 8411266"/>
              <a:gd name="connsiteY0" fmla="*/ 0 h 2915921"/>
              <a:gd name="connsiteX1" fmla="*/ 8411266 w 8411266"/>
              <a:gd name="connsiteY1" fmla="*/ 0 h 2915921"/>
              <a:gd name="connsiteX2" fmla="*/ 8411266 w 8411266"/>
              <a:gd name="connsiteY2" fmla="*/ 2915921 h 2915921"/>
              <a:gd name="connsiteX3" fmla="*/ 0 w 8411266"/>
              <a:gd name="connsiteY3" fmla="*/ 2915921 h 2915921"/>
              <a:gd name="connsiteX4" fmla="*/ 0 w 8411266"/>
              <a:gd name="connsiteY4" fmla="*/ 0 h 2915921"/>
              <a:gd name="connsiteX0" fmla="*/ 0 w 8411266"/>
              <a:gd name="connsiteY0" fmla="*/ 0 h 2915922"/>
              <a:gd name="connsiteX1" fmla="*/ 8411266 w 8411266"/>
              <a:gd name="connsiteY1" fmla="*/ 0 h 2915922"/>
              <a:gd name="connsiteX2" fmla="*/ 8411266 w 8411266"/>
              <a:gd name="connsiteY2" fmla="*/ 2915921 h 2915922"/>
              <a:gd name="connsiteX3" fmla="*/ 7668987 w 8411266"/>
              <a:gd name="connsiteY3" fmla="*/ 2915922 h 2915922"/>
              <a:gd name="connsiteX4" fmla="*/ 0 w 8411266"/>
              <a:gd name="connsiteY4" fmla="*/ 2915921 h 2915922"/>
              <a:gd name="connsiteX5" fmla="*/ 0 w 8411266"/>
              <a:gd name="connsiteY5" fmla="*/ 0 h 2915922"/>
              <a:gd name="connsiteX0" fmla="*/ 0 w 8411266"/>
              <a:gd name="connsiteY0" fmla="*/ 0 h 2915922"/>
              <a:gd name="connsiteX1" fmla="*/ 8411266 w 8411266"/>
              <a:gd name="connsiteY1" fmla="*/ 0 h 2915922"/>
              <a:gd name="connsiteX2" fmla="*/ 8405886 w 8411266"/>
              <a:gd name="connsiteY2" fmla="*/ 2238189 h 2915922"/>
              <a:gd name="connsiteX3" fmla="*/ 8411266 w 8411266"/>
              <a:gd name="connsiteY3" fmla="*/ 2915921 h 2915922"/>
              <a:gd name="connsiteX4" fmla="*/ 7668987 w 8411266"/>
              <a:gd name="connsiteY4" fmla="*/ 2915922 h 2915922"/>
              <a:gd name="connsiteX5" fmla="*/ 0 w 8411266"/>
              <a:gd name="connsiteY5" fmla="*/ 2915921 h 2915922"/>
              <a:gd name="connsiteX6" fmla="*/ 0 w 8411266"/>
              <a:gd name="connsiteY6" fmla="*/ 0 h 2915922"/>
              <a:gd name="connsiteX0" fmla="*/ 0 w 8411782"/>
              <a:gd name="connsiteY0" fmla="*/ 0 h 2915922"/>
              <a:gd name="connsiteX1" fmla="*/ 8411266 w 8411782"/>
              <a:gd name="connsiteY1" fmla="*/ 0 h 2915922"/>
              <a:gd name="connsiteX2" fmla="*/ 8411265 w 8411782"/>
              <a:gd name="connsiteY2" fmla="*/ 2211294 h 2915922"/>
              <a:gd name="connsiteX3" fmla="*/ 8411266 w 8411782"/>
              <a:gd name="connsiteY3" fmla="*/ 2915921 h 2915922"/>
              <a:gd name="connsiteX4" fmla="*/ 7668987 w 8411782"/>
              <a:gd name="connsiteY4" fmla="*/ 2915922 h 2915922"/>
              <a:gd name="connsiteX5" fmla="*/ 0 w 8411782"/>
              <a:gd name="connsiteY5" fmla="*/ 2915921 h 2915922"/>
              <a:gd name="connsiteX6" fmla="*/ 0 w 8411782"/>
              <a:gd name="connsiteY6" fmla="*/ 0 h 2915922"/>
              <a:gd name="connsiteX0" fmla="*/ 0 w 8519559"/>
              <a:gd name="connsiteY0" fmla="*/ 0 h 2915922"/>
              <a:gd name="connsiteX1" fmla="*/ 8411266 w 8519559"/>
              <a:gd name="connsiteY1" fmla="*/ 0 h 2915922"/>
              <a:gd name="connsiteX2" fmla="*/ 8411265 w 8519559"/>
              <a:gd name="connsiteY2" fmla="*/ 2211294 h 2915922"/>
              <a:gd name="connsiteX3" fmla="*/ 7668987 w 8519559"/>
              <a:gd name="connsiteY3" fmla="*/ 2915922 h 2915922"/>
              <a:gd name="connsiteX4" fmla="*/ 0 w 8519559"/>
              <a:gd name="connsiteY4" fmla="*/ 2915921 h 2915922"/>
              <a:gd name="connsiteX5" fmla="*/ 0 w 8519559"/>
              <a:gd name="connsiteY5" fmla="*/ 0 h 2915922"/>
              <a:gd name="connsiteX0" fmla="*/ 0 w 8568374"/>
              <a:gd name="connsiteY0" fmla="*/ 0 h 2915922"/>
              <a:gd name="connsiteX1" fmla="*/ 8411266 w 8568374"/>
              <a:gd name="connsiteY1" fmla="*/ 0 h 2915922"/>
              <a:gd name="connsiteX2" fmla="*/ 8411265 w 8568374"/>
              <a:gd name="connsiteY2" fmla="*/ 2211294 h 2915922"/>
              <a:gd name="connsiteX3" fmla="*/ 7668987 w 8568374"/>
              <a:gd name="connsiteY3" fmla="*/ 2915922 h 2915922"/>
              <a:gd name="connsiteX4" fmla="*/ 0 w 8568374"/>
              <a:gd name="connsiteY4" fmla="*/ 2915921 h 2915922"/>
              <a:gd name="connsiteX5" fmla="*/ 0 w 8568374"/>
              <a:gd name="connsiteY5" fmla="*/ 0 h 2915922"/>
              <a:gd name="connsiteX0" fmla="*/ 0 w 8411782"/>
              <a:gd name="connsiteY0" fmla="*/ 0 h 2915922"/>
              <a:gd name="connsiteX1" fmla="*/ 8411266 w 8411782"/>
              <a:gd name="connsiteY1" fmla="*/ 0 h 2915922"/>
              <a:gd name="connsiteX2" fmla="*/ 8411265 w 8411782"/>
              <a:gd name="connsiteY2" fmla="*/ 2211294 h 2915922"/>
              <a:gd name="connsiteX3" fmla="*/ 7668987 w 8411782"/>
              <a:gd name="connsiteY3" fmla="*/ 2915922 h 2915922"/>
              <a:gd name="connsiteX4" fmla="*/ 0 w 8411782"/>
              <a:gd name="connsiteY4" fmla="*/ 2915921 h 2915922"/>
              <a:gd name="connsiteX5" fmla="*/ 0 w 8411782"/>
              <a:gd name="connsiteY5" fmla="*/ 0 h 2915922"/>
              <a:gd name="connsiteX0" fmla="*/ 0 w 8418465"/>
              <a:gd name="connsiteY0" fmla="*/ 0 h 2915922"/>
              <a:gd name="connsiteX1" fmla="*/ 8411266 w 8418465"/>
              <a:gd name="connsiteY1" fmla="*/ 0 h 2915922"/>
              <a:gd name="connsiteX2" fmla="*/ 8418046 w 8418465"/>
              <a:gd name="connsiteY2" fmla="*/ 2519966 h 2915922"/>
              <a:gd name="connsiteX3" fmla="*/ 7668987 w 8418465"/>
              <a:gd name="connsiteY3" fmla="*/ 2915922 h 2915922"/>
              <a:gd name="connsiteX4" fmla="*/ 0 w 8418465"/>
              <a:gd name="connsiteY4" fmla="*/ 2915921 h 2915922"/>
              <a:gd name="connsiteX5" fmla="*/ 0 w 8418465"/>
              <a:gd name="connsiteY5" fmla="*/ 0 h 2915922"/>
              <a:gd name="connsiteX0" fmla="*/ 0 w 8425205"/>
              <a:gd name="connsiteY0" fmla="*/ 0 h 2915922"/>
              <a:gd name="connsiteX1" fmla="*/ 8411266 w 8425205"/>
              <a:gd name="connsiteY1" fmla="*/ 0 h 2915922"/>
              <a:gd name="connsiteX2" fmla="*/ 8424827 w 8425205"/>
              <a:gd name="connsiteY2" fmla="*/ 2522560 h 2915922"/>
              <a:gd name="connsiteX3" fmla="*/ 7668987 w 8425205"/>
              <a:gd name="connsiteY3" fmla="*/ 2915922 h 2915922"/>
              <a:gd name="connsiteX4" fmla="*/ 0 w 8425205"/>
              <a:gd name="connsiteY4" fmla="*/ 2915921 h 2915922"/>
              <a:gd name="connsiteX5" fmla="*/ 0 w 8425205"/>
              <a:gd name="connsiteY5" fmla="*/ 0 h 2915922"/>
              <a:gd name="connsiteX0" fmla="*/ 0 w 8411783"/>
              <a:gd name="connsiteY0" fmla="*/ 0 h 2915922"/>
              <a:gd name="connsiteX1" fmla="*/ 8411266 w 8411783"/>
              <a:gd name="connsiteY1" fmla="*/ 0 h 2915922"/>
              <a:gd name="connsiteX2" fmla="*/ 8411265 w 8411783"/>
              <a:gd name="connsiteY2" fmla="*/ 2506997 h 2915922"/>
              <a:gd name="connsiteX3" fmla="*/ 7668987 w 8411783"/>
              <a:gd name="connsiteY3" fmla="*/ 2915922 h 2915922"/>
              <a:gd name="connsiteX4" fmla="*/ 0 w 8411783"/>
              <a:gd name="connsiteY4" fmla="*/ 2915921 h 2915922"/>
              <a:gd name="connsiteX5" fmla="*/ 0 w 8411783"/>
              <a:gd name="connsiteY5" fmla="*/ 0 h 2915922"/>
              <a:gd name="connsiteX0" fmla="*/ 0 w 8411781"/>
              <a:gd name="connsiteY0" fmla="*/ 0 h 2918516"/>
              <a:gd name="connsiteX1" fmla="*/ 8411266 w 8411781"/>
              <a:gd name="connsiteY1" fmla="*/ 0 h 2918516"/>
              <a:gd name="connsiteX2" fmla="*/ 8411265 w 8411781"/>
              <a:gd name="connsiteY2" fmla="*/ 2506997 h 2918516"/>
              <a:gd name="connsiteX3" fmla="*/ 7431649 w 8411781"/>
              <a:gd name="connsiteY3" fmla="*/ 2918516 h 2918516"/>
              <a:gd name="connsiteX4" fmla="*/ 0 w 8411781"/>
              <a:gd name="connsiteY4" fmla="*/ 2915921 h 2918516"/>
              <a:gd name="connsiteX5" fmla="*/ 0 w 8411781"/>
              <a:gd name="connsiteY5" fmla="*/ 0 h 2918516"/>
              <a:gd name="connsiteX0" fmla="*/ 0 w 8411783"/>
              <a:gd name="connsiteY0" fmla="*/ 0 h 2921109"/>
              <a:gd name="connsiteX1" fmla="*/ 8411266 w 8411783"/>
              <a:gd name="connsiteY1" fmla="*/ 0 h 2921109"/>
              <a:gd name="connsiteX2" fmla="*/ 8411265 w 8411783"/>
              <a:gd name="connsiteY2" fmla="*/ 2506997 h 2921109"/>
              <a:gd name="connsiteX3" fmla="*/ 7431649 w 8411783"/>
              <a:gd name="connsiteY3" fmla="*/ 2918516 h 2921109"/>
              <a:gd name="connsiteX4" fmla="*/ 0 w 8411783"/>
              <a:gd name="connsiteY4" fmla="*/ 2921109 h 2921109"/>
              <a:gd name="connsiteX5" fmla="*/ 0 w 8411783"/>
              <a:gd name="connsiteY5" fmla="*/ 0 h 2921109"/>
              <a:gd name="connsiteX0" fmla="*/ 0 w 8412159"/>
              <a:gd name="connsiteY0" fmla="*/ 0 h 2921109"/>
              <a:gd name="connsiteX1" fmla="*/ 8411266 w 8412159"/>
              <a:gd name="connsiteY1" fmla="*/ 0 h 2921109"/>
              <a:gd name="connsiteX2" fmla="*/ 8411265 w 8412159"/>
              <a:gd name="connsiteY2" fmla="*/ 2506997 h 2921109"/>
              <a:gd name="connsiteX3" fmla="*/ 7431649 w 8412159"/>
              <a:gd name="connsiteY3" fmla="*/ 2918516 h 2921109"/>
              <a:gd name="connsiteX4" fmla="*/ 0 w 8412159"/>
              <a:gd name="connsiteY4" fmla="*/ 2921109 h 2921109"/>
              <a:gd name="connsiteX5" fmla="*/ 0 w 8412159"/>
              <a:gd name="connsiteY5" fmla="*/ 0 h 2921109"/>
              <a:gd name="connsiteX0" fmla="*/ 13562 w 8412159"/>
              <a:gd name="connsiteY0" fmla="*/ 0 h 2921109"/>
              <a:gd name="connsiteX1" fmla="*/ 8411266 w 8412159"/>
              <a:gd name="connsiteY1" fmla="*/ 0 h 2921109"/>
              <a:gd name="connsiteX2" fmla="*/ 8411265 w 8412159"/>
              <a:gd name="connsiteY2" fmla="*/ 2506997 h 2921109"/>
              <a:gd name="connsiteX3" fmla="*/ 7431649 w 8412159"/>
              <a:gd name="connsiteY3" fmla="*/ 2918516 h 2921109"/>
              <a:gd name="connsiteX4" fmla="*/ 0 w 8412159"/>
              <a:gd name="connsiteY4" fmla="*/ 2921109 h 2921109"/>
              <a:gd name="connsiteX5" fmla="*/ 13562 w 8412159"/>
              <a:gd name="connsiteY5" fmla="*/ 0 h 2921109"/>
              <a:gd name="connsiteX0" fmla="*/ 13562 w 8415929"/>
              <a:gd name="connsiteY0" fmla="*/ 0 h 2922720"/>
              <a:gd name="connsiteX1" fmla="*/ 8411266 w 8415929"/>
              <a:gd name="connsiteY1" fmla="*/ 0 h 2922720"/>
              <a:gd name="connsiteX2" fmla="*/ 8411265 w 8415929"/>
              <a:gd name="connsiteY2" fmla="*/ 2506997 h 2922720"/>
              <a:gd name="connsiteX3" fmla="*/ 7514079 w 8415929"/>
              <a:gd name="connsiteY3" fmla="*/ 2922720 h 2922720"/>
              <a:gd name="connsiteX4" fmla="*/ 0 w 8415929"/>
              <a:gd name="connsiteY4" fmla="*/ 2921109 h 2922720"/>
              <a:gd name="connsiteX5" fmla="*/ 13562 w 8415929"/>
              <a:gd name="connsiteY5" fmla="*/ 0 h 2922720"/>
              <a:gd name="connsiteX0" fmla="*/ 13562 w 8415929"/>
              <a:gd name="connsiteY0" fmla="*/ 0 h 2922720"/>
              <a:gd name="connsiteX1" fmla="*/ 8411266 w 8415929"/>
              <a:gd name="connsiteY1" fmla="*/ 0 h 2922720"/>
              <a:gd name="connsiteX2" fmla="*/ 8411265 w 8415929"/>
              <a:gd name="connsiteY2" fmla="*/ 2481772 h 2922720"/>
              <a:gd name="connsiteX3" fmla="*/ 7514079 w 8415929"/>
              <a:gd name="connsiteY3" fmla="*/ 2922720 h 2922720"/>
              <a:gd name="connsiteX4" fmla="*/ 0 w 8415929"/>
              <a:gd name="connsiteY4" fmla="*/ 2921109 h 2922720"/>
              <a:gd name="connsiteX5" fmla="*/ 13562 w 8415929"/>
              <a:gd name="connsiteY5" fmla="*/ 0 h 2922720"/>
              <a:gd name="connsiteX0" fmla="*/ 13562 w 8414282"/>
              <a:gd name="connsiteY0" fmla="*/ 0 h 2922720"/>
              <a:gd name="connsiteX1" fmla="*/ 8411266 w 8414282"/>
              <a:gd name="connsiteY1" fmla="*/ 0 h 2922720"/>
              <a:gd name="connsiteX2" fmla="*/ 8411265 w 8414282"/>
              <a:gd name="connsiteY2" fmla="*/ 2481772 h 2922720"/>
              <a:gd name="connsiteX3" fmla="*/ 7514079 w 8414282"/>
              <a:gd name="connsiteY3" fmla="*/ 2922720 h 2922720"/>
              <a:gd name="connsiteX4" fmla="*/ 0 w 8414282"/>
              <a:gd name="connsiteY4" fmla="*/ 2921109 h 2922720"/>
              <a:gd name="connsiteX5" fmla="*/ 13562 w 8414282"/>
              <a:gd name="connsiteY5" fmla="*/ 0 h 2922720"/>
              <a:gd name="connsiteX0" fmla="*/ 13562 w 8418988"/>
              <a:gd name="connsiteY0" fmla="*/ 0 h 2926924"/>
              <a:gd name="connsiteX1" fmla="*/ 8411266 w 8418988"/>
              <a:gd name="connsiteY1" fmla="*/ 0 h 2926924"/>
              <a:gd name="connsiteX2" fmla="*/ 8411265 w 8418988"/>
              <a:gd name="connsiteY2" fmla="*/ 2481772 h 2926924"/>
              <a:gd name="connsiteX3" fmla="*/ 7567541 w 8418988"/>
              <a:gd name="connsiteY3" fmla="*/ 2926924 h 2926924"/>
              <a:gd name="connsiteX4" fmla="*/ 0 w 8418988"/>
              <a:gd name="connsiteY4" fmla="*/ 2921109 h 2926924"/>
              <a:gd name="connsiteX5" fmla="*/ 13562 w 8418988"/>
              <a:gd name="connsiteY5" fmla="*/ 0 h 2926924"/>
              <a:gd name="connsiteX0" fmla="*/ 13562 w 8411933"/>
              <a:gd name="connsiteY0" fmla="*/ 0 h 2926924"/>
              <a:gd name="connsiteX1" fmla="*/ 8411266 w 8411933"/>
              <a:gd name="connsiteY1" fmla="*/ 0 h 2926924"/>
              <a:gd name="connsiteX2" fmla="*/ 8411265 w 8411933"/>
              <a:gd name="connsiteY2" fmla="*/ 2481772 h 2926924"/>
              <a:gd name="connsiteX3" fmla="*/ 7567541 w 8411933"/>
              <a:gd name="connsiteY3" fmla="*/ 2926924 h 2926924"/>
              <a:gd name="connsiteX4" fmla="*/ 0 w 8411933"/>
              <a:gd name="connsiteY4" fmla="*/ 2921109 h 2926924"/>
              <a:gd name="connsiteX5" fmla="*/ 13562 w 8411933"/>
              <a:gd name="connsiteY5" fmla="*/ 0 h 2926924"/>
              <a:gd name="connsiteX0" fmla="*/ 2313266 w 8411933"/>
              <a:gd name="connsiteY0" fmla="*/ 0 h 3278300"/>
              <a:gd name="connsiteX1" fmla="*/ 8411266 w 8411933"/>
              <a:gd name="connsiteY1" fmla="*/ 351376 h 3278300"/>
              <a:gd name="connsiteX2" fmla="*/ 8411265 w 8411933"/>
              <a:gd name="connsiteY2" fmla="*/ 2833148 h 3278300"/>
              <a:gd name="connsiteX3" fmla="*/ 7567541 w 8411933"/>
              <a:gd name="connsiteY3" fmla="*/ 3278300 h 3278300"/>
              <a:gd name="connsiteX4" fmla="*/ 0 w 8411933"/>
              <a:gd name="connsiteY4" fmla="*/ 3272485 h 3278300"/>
              <a:gd name="connsiteX5" fmla="*/ 2313266 w 8411933"/>
              <a:gd name="connsiteY5" fmla="*/ 0 h 3278300"/>
              <a:gd name="connsiteX0" fmla="*/ 1267 w 6099934"/>
              <a:gd name="connsiteY0" fmla="*/ 0 h 3278300"/>
              <a:gd name="connsiteX1" fmla="*/ 6099267 w 6099934"/>
              <a:gd name="connsiteY1" fmla="*/ 351376 h 3278300"/>
              <a:gd name="connsiteX2" fmla="*/ 6099266 w 6099934"/>
              <a:gd name="connsiteY2" fmla="*/ 2833148 h 3278300"/>
              <a:gd name="connsiteX3" fmla="*/ 5255542 w 6099934"/>
              <a:gd name="connsiteY3" fmla="*/ 3278300 h 3278300"/>
              <a:gd name="connsiteX4" fmla="*/ 1602 w 6099934"/>
              <a:gd name="connsiteY4" fmla="*/ 3276184 h 3278300"/>
              <a:gd name="connsiteX5" fmla="*/ 1267 w 6099934"/>
              <a:gd name="connsiteY5" fmla="*/ 0 h 3278300"/>
              <a:gd name="connsiteX0" fmla="*/ 1267 w 6099934"/>
              <a:gd name="connsiteY0" fmla="*/ 0 h 3278300"/>
              <a:gd name="connsiteX1" fmla="*/ 6099267 w 6099934"/>
              <a:gd name="connsiteY1" fmla="*/ 3698 h 3278300"/>
              <a:gd name="connsiteX2" fmla="*/ 6099266 w 6099934"/>
              <a:gd name="connsiteY2" fmla="*/ 2833148 h 3278300"/>
              <a:gd name="connsiteX3" fmla="*/ 5255542 w 6099934"/>
              <a:gd name="connsiteY3" fmla="*/ 3278300 h 3278300"/>
              <a:gd name="connsiteX4" fmla="*/ 1602 w 6099934"/>
              <a:gd name="connsiteY4" fmla="*/ 3276184 h 3278300"/>
              <a:gd name="connsiteX5" fmla="*/ 1267 w 6099934"/>
              <a:gd name="connsiteY5" fmla="*/ 0 h 3278300"/>
              <a:gd name="connsiteX0" fmla="*/ -1 w 6098666"/>
              <a:gd name="connsiteY0" fmla="*/ 0 h 3278300"/>
              <a:gd name="connsiteX1" fmla="*/ 6097999 w 6098666"/>
              <a:gd name="connsiteY1" fmla="*/ 3698 h 3278300"/>
              <a:gd name="connsiteX2" fmla="*/ 6097998 w 6098666"/>
              <a:gd name="connsiteY2" fmla="*/ 2833148 h 3278300"/>
              <a:gd name="connsiteX3" fmla="*/ 5254274 w 6098666"/>
              <a:gd name="connsiteY3" fmla="*/ 3278300 h 3278300"/>
              <a:gd name="connsiteX4" fmla="*/ 334 w 6098666"/>
              <a:gd name="connsiteY4" fmla="*/ 3276184 h 3278300"/>
              <a:gd name="connsiteX5" fmla="*/ -1 w 6098666"/>
              <a:gd name="connsiteY5" fmla="*/ 0 h 3278300"/>
              <a:gd name="connsiteX0" fmla="*/ 1 w 6098668"/>
              <a:gd name="connsiteY0" fmla="*/ 0 h 3278300"/>
              <a:gd name="connsiteX1" fmla="*/ 6098001 w 6098668"/>
              <a:gd name="connsiteY1" fmla="*/ 3698 h 3278300"/>
              <a:gd name="connsiteX2" fmla="*/ 6098000 w 6098668"/>
              <a:gd name="connsiteY2" fmla="*/ 2833148 h 3278300"/>
              <a:gd name="connsiteX3" fmla="*/ 5254276 w 6098668"/>
              <a:gd name="connsiteY3" fmla="*/ 3278300 h 3278300"/>
              <a:gd name="connsiteX4" fmla="*/ 336 w 6098668"/>
              <a:gd name="connsiteY4" fmla="*/ 3276184 h 3278300"/>
              <a:gd name="connsiteX5" fmla="*/ 1 w 6098668"/>
              <a:gd name="connsiteY5" fmla="*/ 0 h 3278300"/>
              <a:gd name="connsiteX0" fmla="*/ -1 w 6098666"/>
              <a:gd name="connsiteY0" fmla="*/ 0 h 3278300"/>
              <a:gd name="connsiteX1" fmla="*/ 6097999 w 6098666"/>
              <a:gd name="connsiteY1" fmla="*/ 3698 h 3278300"/>
              <a:gd name="connsiteX2" fmla="*/ 6097998 w 6098666"/>
              <a:gd name="connsiteY2" fmla="*/ 2833148 h 3278300"/>
              <a:gd name="connsiteX3" fmla="*/ 5254274 w 6098666"/>
              <a:gd name="connsiteY3" fmla="*/ 3278300 h 3278300"/>
              <a:gd name="connsiteX4" fmla="*/ 334 w 6098666"/>
              <a:gd name="connsiteY4" fmla="*/ 3276184 h 3278300"/>
              <a:gd name="connsiteX5" fmla="*/ -1 w 6098666"/>
              <a:gd name="connsiteY5" fmla="*/ 0 h 3278300"/>
              <a:gd name="connsiteX0" fmla="*/ 1 w 6098796"/>
              <a:gd name="connsiteY0" fmla="*/ 0 h 3278300"/>
              <a:gd name="connsiteX1" fmla="*/ 6098001 w 6098796"/>
              <a:gd name="connsiteY1" fmla="*/ 3698 h 3278300"/>
              <a:gd name="connsiteX2" fmla="*/ 6098000 w 6098796"/>
              <a:gd name="connsiteY2" fmla="*/ 2833148 h 3278300"/>
              <a:gd name="connsiteX3" fmla="*/ 5254276 w 6098796"/>
              <a:gd name="connsiteY3" fmla="*/ 3278300 h 3278300"/>
              <a:gd name="connsiteX4" fmla="*/ 336 w 6098796"/>
              <a:gd name="connsiteY4" fmla="*/ 3276184 h 3278300"/>
              <a:gd name="connsiteX5" fmla="*/ 1 w 6098796"/>
              <a:gd name="connsiteY5" fmla="*/ 0 h 3278300"/>
              <a:gd name="connsiteX0" fmla="*/ -1 w 6098794"/>
              <a:gd name="connsiteY0" fmla="*/ 0 h 3276184"/>
              <a:gd name="connsiteX1" fmla="*/ 6097999 w 6098794"/>
              <a:gd name="connsiteY1" fmla="*/ 3698 h 3276184"/>
              <a:gd name="connsiteX2" fmla="*/ 6097998 w 6098794"/>
              <a:gd name="connsiteY2" fmla="*/ 2833148 h 3276184"/>
              <a:gd name="connsiteX3" fmla="*/ 3259278 w 6098794"/>
              <a:gd name="connsiteY3" fmla="*/ 3273473 h 3276184"/>
              <a:gd name="connsiteX4" fmla="*/ 334 w 6098794"/>
              <a:gd name="connsiteY4" fmla="*/ 3276184 h 3276184"/>
              <a:gd name="connsiteX5" fmla="*/ -1 w 6098794"/>
              <a:gd name="connsiteY5" fmla="*/ 0 h 3276184"/>
              <a:gd name="connsiteX0" fmla="*/ 1 w 6098000"/>
              <a:gd name="connsiteY0" fmla="*/ 0 h 3276184"/>
              <a:gd name="connsiteX1" fmla="*/ 6098001 w 6098000"/>
              <a:gd name="connsiteY1" fmla="*/ 3698 h 3276184"/>
              <a:gd name="connsiteX2" fmla="*/ 6079864 w 6098000"/>
              <a:gd name="connsiteY2" fmla="*/ 2529014 h 3276184"/>
              <a:gd name="connsiteX3" fmla="*/ 3259280 w 6098000"/>
              <a:gd name="connsiteY3" fmla="*/ 3273473 h 3276184"/>
              <a:gd name="connsiteX4" fmla="*/ 336 w 6098000"/>
              <a:gd name="connsiteY4" fmla="*/ 3276184 h 3276184"/>
              <a:gd name="connsiteX5" fmla="*/ 1 w 6098000"/>
              <a:gd name="connsiteY5" fmla="*/ 0 h 3276184"/>
              <a:gd name="connsiteX0" fmla="*/ 8737 w 6106737"/>
              <a:gd name="connsiteY0" fmla="*/ 0 h 3273473"/>
              <a:gd name="connsiteX1" fmla="*/ 6106737 w 6106737"/>
              <a:gd name="connsiteY1" fmla="*/ 3698 h 3273473"/>
              <a:gd name="connsiteX2" fmla="*/ 6088600 w 6106737"/>
              <a:gd name="connsiteY2" fmla="*/ 2529014 h 3273473"/>
              <a:gd name="connsiteX3" fmla="*/ 3268016 w 6106737"/>
              <a:gd name="connsiteY3" fmla="*/ 3273473 h 3273473"/>
              <a:gd name="connsiteX4" fmla="*/ 3 w 6106737"/>
              <a:gd name="connsiteY4" fmla="*/ 2329989 h 3273473"/>
              <a:gd name="connsiteX5" fmla="*/ 8737 w 6106737"/>
              <a:gd name="connsiteY5" fmla="*/ 0 h 3273473"/>
              <a:gd name="connsiteX0" fmla="*/ 335189 w 6106735"/>
              <a:gd name="connsiteY0" fmla="*/ 454917 h 3269775"/>
              <a:gd name="connsiteX1" fmla="*/ 6106735 w 6106735"/>
              <a:gd name="connsiteY1" fmla="*/ 0 h 3269775"/>
              <a:gd name="connsiteX2" fmla="*/ 6088598 w 6106735"/>
              <a:gd name="connsiteY2" fmla="*/ 2525316 h 3269775"/>
              <a:gd name="connsiteX3" fmla="*/ 3268014 w 6106735"/>
              <a:gd name="connsiteY3" fmla="*/ 3269775 h 3269775"/>
              <a:gd name="connsiteX4" fmla="*/ 1 w 6106735"/>
              <a:gd name="connsiteY4" fmla="*/ 2326291 h 3269775"/>
              <a:gd name="connsiteX5" fmla="*/ 335189 w 6106735"/>
              <a:gd name="connsiteY5" fmla="*/ 454917 h 3269775"/>
              <a:gd name="connsiteX0" fmla="*/ 335189 w 6106735"/>
              <a:gd name="connsiteY0" fmla="*/ 454917 h 3269775"/>
              <a:gd name="connsiteX1" fmla="*/ 3432891 w 6106735"/>
              <a:gd name="connsiteY1" fmla="*/ 205873 h 3269775"/>
              <a:gd name="connsiteX2" fmla="*/ 6106735 w 6106735"/>
              <a:gd name="connsiteY2" fmla="*/ 0 h 3269775"/>
              <a:gd name="connsiteX3" fmla="*/ 6088598 w 6106735"/>
              <a:gd name="connsiteY3" fmla="*/ 2525316 h 3269775"/>
              <a:gd name="connsiteX4" fmla="*/ 3268014 w 6106735"/>
              <a:gd name="connsiteY4" fmla="*/ 3269775 h 3269775"/>
              <a:gd name="connsiteX5" fmla="*/ 1 w 6106735"/>
              <a:gd name="connsiteY5" fmla="*/ 2326291 h 3269775"/>
              <a:gd name="connsiteX6" fmla="*/ 335189 w 6106735"/>
              <a:gd name="connsiteY6" fmla="*/ 454917 h 3269775"/>
              <a:gd name="connsiteX0" fmla="*/ 335189 w 6106735"/>
              <a:gd name="connsiteY0" fmla="*/ 454917 h 3269775"/>
              <a:gd name="connsiteX1" fmla="*/ 3260597 w 6106735"/>
              <a:gd name="connsiteY1" fmla="*/ 22428 h 3269775"/>
              <a:gd name="connsiteX2" fmla="*/ 6106735 w 6106735"/>
              <a:gd name="connsiteY2" fmla="*/ 0 h 3269775"/>
              <a:gd name="connsiteX3" fmla="*/ 6088598 w 6106735"/>
              <a:gd name="connsiteY3" fmla="*/ 2525316 h 3269775"/>
              <a:gd name="connsiteX4" fmla="*/ 3268014 w 6106735"/>
              <a:gd name="connsiteY4" fmla="*/ 3269775 h 3269775"/>
              <a:gd name="connsiteX5" fmla="*/ 1 w 6106735"/>
              <a:gd name="connsiteY5" fmla="*/ 2326291 h 3269775"/>
              <a:gd name="connsiteX6" fmla="*/ 335189 w 6106735"/>
              <a:gd name="connsiteY6" fmla="*/ 454917 h 3269775"/>
              <a:gd name="connsiteX0" fmla="*/ 335189 w 6124871"/>
              <a:gd name="connsiteY0" fmla="*/ 432489 h 3247347"/>
              <a:gd name="connsiteX1" fmla="*/ 3260597 w 6124871"/>
              <a:gd name="connsiteY1" fmla="*/ 0 h 3247347"/>
              <a:gd name="connsiteX2" fmla="*/ 6124871 w 6124871"/>
              <a:gd name="connsiteY2" fmla="*/ 281705 h 3247347"/>
              <a:gd name="connsiteX3" fmla="*/ 6088598 w 6124871"/>
              <a:gd name="connsiteY3" fmla="*/ 2502888 h 3247347"/>
              <a:gd name="connsiteX4" fmla="*/ 3268014 w 6124871"/>
              <a:gd name="connsiteY4" fmla="*/ 3247347 h 3247347"/>
              <a:gd name="connsiteX5" fmla="*/ 1 w 6124871"/>
              <a:gd name="connsiteY5" fmla="*/ 2303863 h 3247347"/>
              <a:gd name="connsiteX6" fmla="*/ 335189 w 6124871"/>
              <a:gd name="connsiteY6" fmla="*/ 432489 h 3247347"/>
              <a:gd name="connsiteX0" fmla="*/ 618041 w 6407723"/>
              <a:gd name="connsiteY0" fmla="*/ 432489 h 3247347"/>
              <a:gd name="connsiteX1" fmla="*/ 3543449 w 6407723"/>
              <a:gd name="connsiteY1" fmla="*/ 0 h 3247347"/>
              <a:gd name="connsiteX2" fmla="*/ 6407723 w 6407723"/>
              <a:gd name="connsiteY2" fmla="*/ 281705 h 3247347"/>
              <a:gd name="connsiteX3" fmla="*/ 6371450 w 6407723"/>
              <a:gd name="connsiteY3" fmla="*/ 2502888 h 3247347"/>
              <a:gd name="connsiteX4" fmla="*/ 3550866 w 6407723"/>
              <a:gd name="connsiteY4" fmla="*/ 3247347 h 3247347"/>
              <a:gd name="connsiteX5" fmla="*/ 282853 w 6407723"/>
              <a:gd name="connsiteY5" fmla="*/ 2303863 h 3247347"/>
              <a:gd name="connsiteX6" fmla="*/ 618041 w 6407723"/>
              <a:gd name="connsiteY6" fmla="*/ 432489 h 3247347"/>
              <a:gd name="connsiteX0" fmla="*/ 512943 w 6302625"/>
              <a:gd name="connsiteY0" fmla="*/ 432489 h 3247347"/>
              <a:gd name="connsiteX1" fmla="*/ 3438351 w 6302625"/>
              <a:gd name="connsiteY1" fmla="*/ 0 h 3247347"/>
              <a:gd name="connsiteX2" fmla="*/ 6302625 w 6302625"/>
              <a:gd name="connsiteY2" fmla="*/ 281705 h 3247347"/>
              <a:gd name="connsiteX3" fmla="*/ 6266352 w 6302625"/>
              <a:gd name="connsiteY3" fmla="*/ 2502888 h 3247347"/>
              <a:gd name="connsiteX4" fmla="*/ 3445768 w 6302625"/>
              <a:gd name="connsiteY4" fmla="*/ 3247347 h 3247347"/>
              <a:gd name="connsiteX5" fmla="*/ 177755 w 6302625"/>
              <a:gd name="connsiteY5" fmla="*/ 2303863 h 3247347"/>
              <a:gd name="connsiteX6" fmla="*/ 512943 w 6302625"/>
              <a:gd name="connsiteY6" fmla="*/ 432489 h 3247347"/>
              <a:gd name="connsiteX0" fmla="*/ 512943 w 6302625"/>
              <a:gd name="connsiteY0" fmla="*/ 432489 h 3283326"/>
              <a:gd name="connsiteX1" fmla="*/ 3438351 w 6302625"/>
              <a:gd name="connsiteY1" fmla="*/ 0 h 3283326"/>
              <a:gd name="connsiteX2" fmla="*/ 6302625 w 6302625"/>
              <a:gd name="connsiteY2" fmla="*/ 281705 h 3283326"/>
              <a:gd name="connsiteX3" fmla="*/ 6266352 w 6302625"/>
              <a:gd name="connsiteY3" fmla="*/ 2502888 h 3283326"/>
              <a:gd name="connsiteX4" fmla="*/ 3445768 w 6302625"/>
              <a:gd name="connsiteY4" fmla="*/ 3247347 h 3283326"/>
              <a:gd name="connsiteX5" fmla="*/ 177755 w 6302625"/>
              <a:gd name="connsiteY5" fmla="*/ 2303863 h 3283326"/>
              <a:gd name="connsiteX6" fmla="*/ 512943 w 6302625"/>
              <a:gd name="connsiteY6" fmla="*/ 432489 h 3283326"/>
              <a:gd name="connsiteX0" fmla="*/ 512943 w 6302625"/>
              <a:gd name="connsiteY0" fmla="*/ 432489 h 3283326"/>
              <a:gd name="connsiteX1" fmla="*/ 3438351 w 6302625"/>
              <a:gd name="connsiteY1" fmla="*/ 0 h 3283326"/>
              <a:gd name="connsiteX2" fmla="*/ 6302625 w 6302625"/>
              <a:gd name="connsiteY2" fmla="*/ 281705 h 3283326"/>
              <a:gd name="connsiteX3" fmla="*/ 6266352 w 6302625"/>
              <a:gd name="connsiteY3" fmla="*/ 2502888 h 3283326"/>
              <a:gd name="connsiteX4" fmla="*/ 3445768 w 6302625"/>
              <a:gd name="connsiteY4" fmla="*/ 3247347 h 3283326"/>
              <a:gd name="connsiteX5" fmla="*/ 177755 w 6302625"/>
              <a:gd name="connsiteY5" fmla="*/ 2303863 h 3283326"/>
              <a:gd name="connsiteX6" fmla="*/ 512943 w 6302625"/>
              <a:gd name="connsiteY6" fmla="*/ 432489 h 3283326"/>
              <a:gd name="connsiteX0" fmla="*/ 512943 w 6424948"/>
              <a:gd name="connsiteY0" fmla="*/ 432489 h 3283326"/>
              <a:gd name="connsiteX1" fmla="*/ 3438351 w 6424948"/>
              <a:gd name="connsiteY1" fmla="*/ 0 h 3283326"/>
              <a:gd name="connsiteX2" fmla="*/ 6302625 w 6424948"/>
              <a:gd name="connsiteY2" fmla="*/ 281705 h 3283326"/>
              <a:gd name="connsiteX3" fmla="*/ 6266352 w 6424948"/>
              <a:gd name="connsiteY3" fmla="*/ 2502888 h 3283326"/>
              <a:gd name="connsiteX4" fmla="*/ 3445768 w 6424948"/>
              <a:gd name="connsiteY4" fmla="*/ 3247347 h 3283326"/>
              <a:gd name="connsiteX5" fmla="*/ 177755 w 6424948"/>
              <a:gd name="connsiteY5" fmla="*/ 2303863 h 3283326"/>
              <a:gd name="connsiteX6" fmla="*/ 512943 w 642494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47782"/>
              <a:gd name="connsiteX1" fmla="*/ 3438351 w 6506888"/>
              <a:gd name="connsiteY1" fmla="*/ 0 h 3247782"/>
              <a:gd name="connsiteX2" fmla="*/ 6302625 w 6506888"/>
              <a:gd name="connsiteY2" fmla="*/ 281705 h 3247782"/>
              <a:gd name="connsiteX3" fmla="*/ 6266352 w 6506888"/>
              <a:gd name="connsiteY3" fmla="*/ 2502888 h 3247782"/>
              <a:gd name="connsiteX4" fmla="*/ 3445768 w 6506888"/>
              <a:gd name="connsiteY4" fmla="*/ 3247347 h 3247782"/>
              <a:gd name="connsiteX5" fmla="*/ 177755 w 6506888"/>
              <a:gd name="connsiteY5" fmla="*/ 2303863 h 3247782"/>
              <a:gd name="connsiteX6" fmla="*/ 512943 w 6506888"/>
              <a:gd name="connsiteY6" fmla="*/ 432489 h 3247782"/>
              <a:gd name="connsiteX0" fmla="*/ 512943 w 6640245"/>
              <a:gd name="connsiteY0" fmla="*/ 464431 h 3279724"/>
              <a:gd name="connsiteX1" fmla="*/ 3438351 w 6640245"/>
              <a:gd name="connsiteY1" fmla="*/ 31942 h 3279724"/>
              <a:gd name="connsiteX2" fmla="*/ 6302625 w 6640245"/>
              <a:gd name="connsiteY2" fmla="*/ 313647 h 3279724"/>
              <a:gd name="connsiteX3" fmla="*/ 6266352 w 6640245"/>
              <a:gd name="connsiteY3" fmla="*/ 2534830 h 3279724"/>
              <a:gd name="connsiteX4" fmla="*/ 3445768 w 6640245"/>
              <a:gd name="connsiteY4" fmla="*/ 3279289 h 3279724"/>
              <a:gd name="connsiteX5" fmla="*/ 177755 w 6640245"/>
              <a:gd name="connsiteY5" fmla="*/ 2335805 h 3279724"/>
              <a:gd name="connsiteX6" fmla="*/ 512943 w 6640245"/>
              <a:gd name="connsiteY6" fmla="*/ 464431 h 3279724"/>
              <a:gd name="connsiteX0" fmla="*/ 512943 w 6640245"/>
              <a:gd name="connsiteY0" fmla="*/ 435033 h 3250326"/>
              <a:gd name="connsiteX1" fmla="*/ 3438351 w 6640245"/>
              <a:gd name="connsiteY1" fmla="*/ 2544 h 3250326"/>
              <a:gd name="connsiteX2" fmla="*/ 6302625 w 6640245"/>
              <a:gd name="connsiteY2" fmla="*/ 284249 h 3250326"/>
              <a:gd name="connsiteX3" fmla="*/ 6266352 w 6640245"/>
              <a:gd name="connsiteY3" fmla="*/ 2505432 h 3250326"/>
              <a:gd name="connsiteX4" fmla="*/ 3445768 w 6640245"/>
              <a:gd name="connsiteY4" fmla="*/ 3249891 h 3250326"/>
              <a:gd name="connsiteX5" fmla="*/ 177755 w 6640245"/>
              <a:gd name="connsiteY5" fmla="*/ 2306407 h 3250326"/>
              <a:gd name="connsiteX6" fmla="*/ 512943 w 6640245"/>
              <a:gd name="connsiteY6" fmla="*/ 435033 h 3250326"/>
              <a:gd name="connsiteX0" fmla="*/ 512943 w 6481361"/>
              <a:gd name="connsiteY0" fmla="*/ 435033 h 3250326"/>
              <a:gd name="connsiteX1" fmla="*/ 3438351 w 6481361"/>
              <a:gd name="connsiteY1" fmla="*/ 2544 h 3250326"/>
              <a:gd name="connsiteX2" fmla="*/ 6302625 w 6481361"/>
              <a:gd name="connsiteY2" fmla="*/ 284249 h 3250326"/>
              <a:gd name="connsiteX3" fmla="*/ 6266352 w 6481361"/>
              <a:gd name="connsiteY3" fmla="*/ 2505432 h 3250326"/>
              <a:gd name="connsiteX4" fmla="*/ 3445768 w 6481361"/>
              <a:gd name="connsiteY4" fmla="*/ 3249891 h 3250326"/>
              <a:gd name="connsiteX5" fmla="*/ 177755 w 6481361"/>
              <a:gd name="connsiteY5" fmla="*/ 2306407 h 3250326"/>
              <a:gd name="connsiteX6" fmla="*/ 512943 w 6481361"/>
              <a:gd name="connsiteY6" fmla="*/ 435033 h 3250326"/>
              <a:gd name="connsiteX0" fmla="*/ 512943 w 6481363"/>
              <a:gd name="connsiteY0" fmla="*/ 435033 h 3250326"/>
              <a:gd name="connsiteX1" fmla="*/ 3438351 w 6481363"/>
              <a:gd name="connsiteY1" fmla="*/ 2544 h 3250326"/>
              <a:gd name="connsiteX2" fmla="*/ 6302625 w 6481363"/>
              <a:gd name="connsiteY2" fmla="*/ 284249 h 3250326"/>
              <a:gd name="connsiteX3" fmla="*/ 6266352 w 6481363"/>
              <a:gd name="connsiteY3" fmla="*/ 2505432 h 3250326"/>
              <a:gd name="connsiteX4" fmla="*/ 3445768 w 6481363"/>
              <a:gd name="connsiteY4" fmla="*/ 3249891 h 3250326"/>
              <a:gd name="connsiteX5" fmla="*/ 177755 w 6481363"/>
              <a:gd name="connsiteY5" fmla="*/ 2306407 h 3250326"/>
              <a:gd name="connsiteX6" fmla="*/ 512943 w 6481363"/>
              <a:gd name="connsiteY6" fmla="*/ 435033 h 3250326"/>
              <a:gd name="connsiteX0" fmla="*/ 512943 w 6481361"/>
              <a:gd name="connsiteY0" fmla="*/ 434187 h 3249480"/>
              <a:gd name="connsiteX1" fmla="*/ 3438351 w 6481361"/>
              <a:gd name="connsiteY1" fmla="*/ 1698 h 3249480"/>
              <a:gd name="connsiteX2" fmla="*/ 6302625 w 6481361"/>
              <a:gd name="connsiteY2" fmla="*/ 283403 h 3249480"/>
              <a:gd name="connsiteX3" fmla="*/ 6266352 w 6481361"/>
              <a:gd name="connsiteY3" fmla="*/ 2504586 h 3249480"/>
              <a:gd name="connsiteX4" fmla="*/ 3445768 w 6481361"/>
              <a:gd name="connsiteY4" fmla="*/ 3249045 h 3249480"/>
              <a:gd name="connsiteX5" fmla="*/ 177755 w 6481361"/>
              <a:gd name="connsiteY5" fmla="*/ 2305561 h 3249480"/>
              <a:gd name="connsiteX6" fmla="*/ 512943 w 6481361"/>
              <a:gd name="connsiteY6" fmla="*/ 434187 h 3249480"/>
              <a:gd name="connsiteX0" fmla="*/ 512943 w 6481363"/>
              <a:gd name="connsiteY0" fmla="*/ 435032 h 3250325"/>
              <a:gd name="connsiteX1" fmla="*/ 3438351 w 6481363"/>
              <a:gd name="connsiteY1" fmla="*/ 2543 h 3250325"/>
              <a:gd name="connsiteX2" fmla="*/ 6302625 w 6481363"/>
              <a:gd name="connsiteY2" fmla="*/ 284248 h 3250325"/>
              <a:gd name="connsiteX3" fmla="*/ 6266352 w 6481363"/>
              <a:gd name="connsiteY3" fmla="*/ 2505431 h 3250325"/>
              <a:gd name="connsiteX4" fmla="*/ 3445768 w 6481363"/>
              <a:gd name="connsiteY4" fmla="*/ 3249890 h 3250325"/>
              <a:gd name="connsiteX5" fmla="*/ 177755 w 6481363"/>
              <a:gd name="connsiteY5" fmla="*/ 2306406 h 3250325"/>
              <a:gd name="connsiteX6" fmla="*/ 512943 w 6481363"/>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356750 w 6146432"/>
              <a:gd name="connsiteY0" fmla="*/ 435032 h 3250325"/>
              <a:gd name="connsiteX1" fmla="*/ 3282158 w 6146432"/>
              <a:gd name="connsiteY1" fmla="*/ 2543 h 3250325"/>
              <a:gd name="connsiteX2" fmla="*/ 6146432 w 6146432"/>
              <a:gd name="connsiteY2" fmla="*/ 284248 h 3250325"/>
              <a:gd name="connsiteX3" fmla="*/ 6110159 w 6146432"/>
              <a:gd name="connsiteY3" fmla="*/ 2505431 h 3250325"/>
              <a:gd name="connsiteX4" fmla="*/ 3289575 w 6146432"/>
              <a:gd name="connsiteY4" fmla="*/ 3249890 h 3250325"/>
              <a:gd name="connsiteX5" fmla="*/ 21562 w 6146432"/>
              <a:gd name="connsiteY5" fmla="*/ 2306406 h 3250325"/>
              <a:gd name="connsiteX6" fmla="*/ 356750 w 6146432"/>
              <a:gd name="connsiteY6" fmla="*/ 435032 h 3250325"/>
              <a:gd name="connsiteX0" fmla="*/ 335225 w 6124907"/>
              <a:gd name="connsiteY0" fmla="*/ 435032 h 3250325"/>
              <a:gd name="connsiteX1" fmla="*/ 3260633 w 6124907"/>
              <a:gd name="connsiteY1" fmla="*/ 2543 h 3250325"/>
              <a:gd name="connsiteX2" fmla="*/ 6124907 w 6124907"/>
              <a:gd name="connsiteY2" fmla="*/ 284248 h 3250325"/>
              <a:gd name="connsiteX3" fmla="*/ 6088634 w 6124907"/>
              <a:gd name="connsiteY3" fmla="*/ 2505431 h 3250325"/>
              <a:gd name="connsiteX4" fmla="*/ 3268050 w 6124907"/>
              <a:gd name="connsiteY4" fmla="*/ 3249890 h 3250325"/>
              <a:gd name="connsiteX5" fmla="*/ 37 w 6124907"/>
              <a:gd name="connsiteY5" fmla="*/ 2306406 h 3250325"/>
              <a:gd name="connsiteX6" fmla="*/ 335225 w 6124907"/>
              <a:gd name="connsiteY6" fmla="*/ 435032 h 3250325"/>
              <a:gd name="connsiteX0" fmla="*/ 335225 w 6124907"/>
              <a:gd name="connsiteY0" fmla="*/ 515501 h 3330794"/>
              <a:gd name="connsiteX1" fmla="*/ 3260633 w 6124907"/>
              <a:gd name="connsiteY1" fmla="*/ 83012 h 3330794"/>
              <a:gd name="connsiteX2" fmla="*/ 6124907 w 6124907"/>
              <a:gd name="connsiteY2" fmla="*/ 364717 h 3330794"/>
              <a:gd name="connsiteX3" fmla="*/ 6088634 w 6124907"/>
              <a:gd name="connsiteY3" fmla="*/ 2585900 h 3330794"/>
              <a:gd name="connsiteX4" fmla="*/ 3268050 w 6124907"/>
              <a:gd name="connsiteY4" fmla="*/ 3330359 h 3330794"/>
              <a:gd name="connsiteX5" fmla="*/ 37 w 6124907"/>
              <a:gd name="connsiteY5" fmla="*/ 2386875 h 3330794"/>
              <a:gd name="connsiteX6" fmla="*/ 335225 w 6124907"/>
              <a:gd name="connsiteY6" fmla="*/ 515501 h 3330794"/>
              <a:gd name="connsiteX0" fmla="*/ 335225 w 6124907"/>
              <a:gd name="connsiteY0" fmla="*/ 432489 h 3247782"/>
              <a:gd name="connsiteX1" fmla="*/ 3260633 w 6124907"/>
              <a:gd name="connsiteY1" fmla="*/ 0 h 3247782"/>
              <a:gd name="connsiteX2" fmla="*/ 6124907 w 6124907"/>
              <a:gd name="connsiteY2" fmla="*/ 281705 h 3247782"/>
              <a:gd name="connsiteX3" fmla="*/ 6088634 w 6124907"/>
              <a:gd name="connsiteY3" fmla="*/ 2502888 h 3247782"/>
              <a:gd name="connsiteX4" fmla="*/ 3268050 w 6124907"/>
              <a:gd name="connsiteY4" fmla="*/ 3247347 h 3247782"/>
              <a:gd name="connsiteX5" fmla="*/ 37 w 6124907"/>
              <a:gd name="connsiteY5" fmla="*/ 2303863 h 3247782"/>
              <a:gd name="connsiteX6" fmla="*/ 335225 w 6124907"/>
              <a:gd name="connsiteY6" fmla="*/ 432489 h 3247782"/>
              <a:gd name="connsiteX0" fmla="*/ 335225 w 6223855"/>
              <a:gd name="connsiteY0" fmla="*/ 434186 h 3249479"/>
              <a:gd name="connsiteX1" fmla="*/ 3260633 w 6223855"/>
              <a:gd name="connsiteY1" fmla="*/ 1697 h 3249479"/>
              <a:gd name="connsiteX2" fmla="*/ 6124907 w 6223855"/>
              <a:gd name="connsiteY2" fmla="*/ 283402 h 3249479"/>
              <a:gd name="connsiteX3" fmla="*/ 6088634 w 6223855"/>
              <a:gd name="connsiteY3" fmla="*/ 2504585 h 3249479"/>
              <a:gd name="connsiteX4" fmla="*/ 3268050 w 6223855"/>
              <a:gd name="connsiteY4" fmla="*/ 3249044 h 3249479"/>
              <a:gd name="connsiteX5" fmla="*/ 37 w 6223855"/>
              <a:gd name="connsiteY5" fmla="*/ 2305560 h 3249479"/>
              <a:gd name="connsiteX6" fmla="*/ 335225 w 6223855"/>
              <a:gd name="connsiteY6" fmla="*/ 434186 h 3249479"/>
              <a:gd name="connsiteX0" fmla="*/ 335225 w 6124907"/>
              <a:gd name="connsiteY0" fmla="*/ 435032 h 3250325"/>
              <a:gd name="connsiteX1" fmla="*/ 3260633 w 6124907"/>
              <a:gd name="connsiteY1" fmla="*/ 2543 h 3250325"/>
              <a:gd name="connsiteX2" fmla="*/ 6124907 w 6124907"/>
              <a:gd name="connsiteY2" fmla="*/ 284248 h 3250325"/>
              <a:gd name="connsiteX3" fmla="*/ 6088634 w 6124907"/>
              <a:gd name="connsiteY3" fmla="*/ 2505431 h 3250325"/>
              <a:gd name="connsiteX4" fmla="*/ 3268050 w 6124907"/>
              <a:gd name="connsiteY4" fmla="*/ 3249890 h 3250325"/>
              <a:gd name="connsiteX5" fmla="*/ 37 w 6124907"/>
              <a:gd name="connsiteY5" fmla="*/ 2306406 h 3250325"/>
              <a:gd name="connsiteX6" fmla="*/ 335225 w 6124907"/>
              <a:gd name="connsiteY6" fmla="*/ 435032 h 3250325"/>
              <a:gd name="connsiteX0" fmla="*/ 335225 w 6124907"/>
              <a:gd name="connsiteY0" fmla="*/ 515501 h 3330794"/>
              <a:gd name="connsiteX1" fmla="*/ 3260633 w 6124907"/>
              <a:gd name="connsiteY1" fmla="*/ 83012 h 3330794"/>
              <a:gd name="connsiteX2" fmla="*/ 6124907 w 6124907"/>
              <a:gd name="connsiteY2" fmla="*/ 364717 h 3330794"/>
              <a:gd name="connsiteX3" fmla="*/ 6088634 w 6124907"/>
              <a:gd name="connsiteY3" fmla="*/ 2585900 h 3330794"/>
              <a:gd name="connsiteX4" fmla="*/ 3268050 w 6124907"/>
              <a:gd name="connsiteY4" fmla="*/ 3330359 h 3330794"/>
              <a:gd name="connsiteX5" fmla="*/ 37 w 6124907"/>
              <a:gd name="connsiteY5" fmla="*/ 2386875 h 3330794"/>
              <a:gd name="connsiteX6" fmla="*/ 335225 w 6124907"/>
              <a:gd name="connsiteY6" fmla="*/ 515501 h 3330794"/>
              <a:gd name="connsiteX0" fmla="*/ 335225 w 6124907"/>
              <a:gd name="connsiteY0" fmla="*/ 432489 h 3247782"/>
              <a:gd name="connsiteX1" fmla="*/ 3260633 w 6124907"/>
              <a:gd name="connsiteY1" fmla="*/ 0 h 3247782"/>
              <a:gd name="connsiteX2" fmla="*/ 6124907 w 6124907"/>
              <a:gd name="connsiteY2" fmla="*/ 281705 h 3247782"/>
              <a:gd name="connsiteX3" fmla="*/ 6088634 w 6124907"/>
              <a:gd name="connsiteY3" fmla="*/ 2502888 h 3247782"/>
              <a:gd name="connsiteX4" fmla="*/ 3268050 w 6124907"/>
              <a:gd name="connsiteY4" fmla="*/ 3247347 h 3247782"/>
              <a:gd name="connsiteX5" fmla="*/ 37 w 6124907"/>
              <a:gd name="connsiteY5" fmla="*/ 2303863 h 3247782"/>
              <a:gd name="connsiteX6" fmla="*/ 335225 w 6124907"/>
              <a:gd name="connsiteY6" fmla="*/ 432489 h 3247782"/>
              <a:gd name="connsiteX0" fmla="*/ 335225 w 6223855"/>
              <a:gd name="connsiteY0" fmla="*/ 434186 h 3249479"/>
              <a:gd name="connsiteX1" fmla="*/ 3260633 w 6223855"/>
              <a:gd name="connsiteY1" fmla="*/ 1697 h 3249479"/>
              <a:gd name="connsiteX2" fmla="*/ 6124907 w 6223855"/>
              <a:gd name="connsiteY2" fmla="*/ 283402 h 3249479"/>
              <a:gd name="connsiteX3" fmla="*/ 6088634 w 6223855"/>
              <a:gd name="connsiteY3" fmla="*/ 2504585 h 3249479"/>
              <a:gd name="connsiteX4" fmla="*/ 3268050 w 6223855"/>
              <a:gd name="connsiteY4" fmla="*/ 3249044 h 3249479"/>
              <a:gd name="connsiteX5" fmla="*/ 37 w 6223855"/>
              <a:gd name="connsiteY5" fmla="*/ 2305560 h 3249479"/>
              <a:gd name="connsiteX6" fmla="*/ 335225 w 6223855"/>
              <a:gd name="connsiteY6" fmla="*/ 434186 h 3249479"/>
              <a:gd name="connsiteX0" fmla="*/ 335225 w 6124907"/>
              <a:gd name="connsiteY0" fmla="*/ 435032 h 3250325"/>
              <a:gd name="connsiteX1" fmla="*/ 3260633 w 6124907"/>
              <a:gd name="connsiteY1" fmla="*/ 2543 h 3250325"/>
              <a:gd name="connsiteX2" fmla="*/ 6124907 w 6124907"/>
              <a:gd name="connsiteY2" fmla="*/ 284248 h 3250325"/>
              <a:gd name="connsiteX3" fmla="*/ 6088634 w 6124907"/>
              <a:gd name="connsiteY3" fmla="*/ 2505431 h 3250325"/>
              <a:gd name="connsiteX4" fmla="*/ 3268050 w 6124907"/>
              <a:gd name="connsiteY4" fmla="*/ 3249890 h 3250325"/>
              <a:gd name="connsiteX5" fmla="*/ 37 w 6124907"/>
              <a:gd name="connsiteY5" fmla="*/ 2306406 h 3250325"/>
              <a:gd name="connsiteX6" fmla="*/ 335225 w 6124907"/>
              <a:gd name="connsiteY6" fmla="*/ 435032 h 3250325"/>
              <a:gd name="connsiteX0" fmla="*/ 335225 w 6124907"/>
              <a:gd name="connsiteY0" fmla="*/ 434001 h 3249294"/>
              <a:gd name="connsiteX1" fmla="*/ 3260633 w 6124907"/>
              <a:gd name="connsiteY1" fmla="*/ 1512 h 3249294"/>
              <a:gd name="connsiteX2" fmla="*/ 6124907 w 6124907"/>
              <a:gd name="connsiteY2" fmla="*/ 283217 h 3249294"/>
              <a:gd name="connsiteX3" fmla="*/ 6088634 w 6124907"/>
              <a:gd name="connsiteY3" fmla="*/ 2504400 h 3249294"/>
              <a:gd name="connsiteX4" fmla="*/ 3268050 w 6124907"/>
              <a:gd name="connsiteY4" fmla="*/ 3248859 h 3249294"/>
              <a:gd name="connsiteX5" fmla="*/ 37 w 6124907"/>
              <a:gd name="connsiteY5" fmla="*/ 2305375 h 3249294"/>
              <a:gd name="connsiteX6" fmla="*/ 335225 w 6124907"/>
              <a:gd name="connsiteY6" fmla="*/ 434001 h 3249294"/>
              <a:gd name="connsiteX0" fmla="*/ 335225 w 6124907"/>
              <a:gd name="connsiteY0" fmla="*/ 432489 h 3247782"/>
              <a:gd name="connsiteX1" fmla="*/ 3260633 w 6124907"/>
              <a:gd name="connsiteY1" fmla="*/ 0 h 3247782"/>
              <a:gd name="connsiteX2" fmla="*/ 6124907 w 6124907"/>
              <a:gd name="connsiteY2" fmla="*/ 281705 h 3247782"/>
              <a:gd name="connsiteX3" fmla="*/ 6088634 w 6124907"/>
              <a:gd name="connsiteY3" fmla="*/ 2502888 h 3247782"/>
              <a:gd name="connsiteX4" fmla="*/ 3268050 w 6124907"/>
              <a:gd name="connsiteY4" fmla="*/ 3247347 h 3247782"/>
              <a:gd name="connsiteX5" fmla="*/ 37 w 6124907"/>
              <a:gd name="connsiteY5" fmla="*/ 2303863 h 3247782"/>
              <a:gd name="connsiteX6" fmla="*/ 335225 w 6124907"/>
              <a:gd name="connsiteY6" fmla="*/ 432489 h 3247782"/>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512181 h 3327474"/>
              <a:gd name="connsiteX1" fmla="*/ 3260633 w 6088641"/>
              <a:gd name="connsiteY1" fmla="*/ 79692 h 3327474"/>
              <a:gd name="connsiteX2" fmla="*/ 5816589 w 6088641"/>
              <a:gd name="connsiteY2" fmla="*/ 361397 h 3327474"/>
              <a:gd name="connsiteX3" fmla="*/ 6088634 w 6088641"/>
              <a:gd name="connsiteY3" fmla="*/ 2582580 h 3327474"/>
              <a:gd name="connsiteX4" fmla="*/ 3268050 w 6088641"/>
              <a:gd name="connsiteY4" fmla="*/ 3327039 h 3327474"/>
              <a:gd name="connsiteX5" fmla="*/ 37 w 6088641"/>
              <a:gd name="connsiteY5" fmla="*/ 2383555 h 3327474"/>
              <a:gd name="connsiteX6" fmla="*/ 335225 w 6088641"/>
              <a:gd name="connsiteY6" fmla="*/ 512181 h 3327474"/>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434186 h 3249479"/>
              <a:gd name="connsiteX1" fmla="*/ 3260633 w 6088641"/>
              <a:gd name="connsiteY1" fmla="*/ 1697 h 3249479"/>
              <a:gd name="connsiteX2" fmla="*/ 5816589 w 6088641"/>
              <a:gd name="connsiteY2" fmla="*/ 283402 h 3249479"/>
              <a:gd name="connsiteX3" fmla="*/ 6088634 w 6088641"/>
              <a:gd name="connsiteY3" fmla="*/ 2504585 h 3249479"/>
              <a:gd name="connsiteX4" fmla="*/ 3268050 w 6088641"/>
              <a:gd name="connsiteY4" fmla="*/ 3249044 h 3249479"/>
              <a:gd name="connsiteX5" fmla="*/ 37 w 6088641"/>
              <a:gd name="connsiteY5" fmla="*/ 2305560 h 3249479"/>
              <a:gd name="connsiteX6" fmla="*/ 335225 w 6088641"/>
              <a:gd name="connsiteY6" fmla="*/ 434186 h 3249479"/>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434692 h 3249985"/>
              <a:gd name="connsiteX1" fmla="*/ 3260633 w 6088641"/>
              <a:gd name="connsiteY1" fmla="*/ 2203 h 3249985"/>
              <a:gd name="connsiteX2" fmla="*/ 5816589 w 6088641"/>
              <a:gd name="connsiteY2" fmla="*/ 283908 h 3249985"/>
              <a:gd name="connsiteX3" fmla="*/ 6088634 w 6088641"/>
              <a:gd name="connsiteY3" fmla="*/ 2505091 h 3249985"/>
              <a:gd name="connsiteX4" fmla="*/ 3268050 w 6088641"/>
              <a:gd name="connsiteY4" fmla="*/ 3249550 h 3249985"/>
              <a:gd name="connsiteX5" fmla="*/ 37 w 6088641"/>
              <a:gd name="connsiteY5" fmla="*/ 2306066 h 3249985"/>
              <a:gd name="connsiteX6" fmla="*/ 335225 w 6088641"/>
              <a:gd name="connsiteY6" fmla="*/ 434692 h 3249985"/>
              <a:gd name="connsiteX0" fmla="*/ 335225 w 6088641"/>
              <a:gd name="connsiteY0" fmla="*/ 434455 h 3249748"/>
              <a:gd name="connsiteX1" fmla="*/ 3260633 w 6088641"/>
              <a:gd name="connsiteY1" fmla="*/ 1966 h 3249748"/>
              <a:gd name="connsiteX2" fmla="*/ 5816589 w 6088641"/>
              <a:gd name="connsiteY2" fmla="*/ 283671 h 3249748"/>
              <a:gd name="connsiteX3" fmla="*/ 6088634 w 6088641"/>
              <a:gd name="connsiteY3" fmla="*/ 2504854 h 3249748"/>
              <a:gd name="connsiteX4" fmla="*/ 3268050 w 6088641"/>
              <a:gd name="connsiteY4" fmla="*/ 3249313 h 3249748"/>
              <a:gd name="connsiteX5" fmla="*/ 37 w 6088641"/>
              <a:gd name="connsiteY5" fmla="*/ 2305829 h 3249748"/>
              <a:gd name="connsiteX6" fmla="*/ 335225 w 6088641"/>
              <a:gd name="connsiteY6" fmla="*/ 434455 h 3249748"/>
              <a:gd name="connsiteX0" fmla="*/ 335225 w 6088641"/>
              <a:gd name="connsiteY0" fmla="*/ 478129 h 3293422"/>
              <a:gd name="connsiteX1" fmla="*/ 3260633 w 6088641"/>
              <a:gd name="connsiteY1" fmla="*/ 45640 h 3293422"/>
              <a:gd name="connsiteX2" fmla="*/ 4969580 w 6088641"/>
              <a:gd name="connsiteY2" fmla="*/ 22169 h 3293422"/>
              <a:gd name="connsiteX3" fmla="*/ 5816589 w 6088641"/>
              <a:gd name="connsiteY3" fmla="*/ 327345 h 3293422"/>
              <a:gd name="connsiteX4" fmla="*/ 6088634 w 6088641"/>
              <a:gd name="connsiteY4" fmla="*/ 2548528 h 3293422"/>
              <a:gd name="connsiteX5" fmla="*/ 3268050 w 6088641"/>
              <a:gd name="connsiteY5" fmla="*/ 3292987 h 3293422"/>
              <a:gd name="connsiteX6" fmla="*/ 37 w 6088641"/>
              <a:gd name="connsiteY6" fmla="*/ 2349503 h 3293422"/>
              <a:gd name="connsiteX7" fmla="*/ 335225 w 6088641"/>
              <a:gd name="connsiteY7" fmla="*/ 478129 h 3293422"/>
              <a:gd name="connsiteX0" fmla="*/ 335225 w 6088641"/>
              <a:gd name="connsiteY0" fmla="*/ 464432 h 3279725"/>
              <a:gd name="connsiteX1" fmla="*/ 3260633 w 6088641"/>
              <a:gd name="connsiteY1" fmla="*/ 31943 h 3279725"/>
              <a:gd name="connsiteX2" fmla="*/ 5816589 w 6088641"/>
              <a:gd name="connsiteY2" fmla="*/ 313648 h 3279725"/>
              <a:gd name="connsiteX3" fmla="*/ 6088634 w 6088641"/>
              <a:gd name="connsiteY3" fmla="*/ 2534831 h 3279725"/>
              <a:gd name="connsiteX4" fmla="*/ 3268050 w 6088641"/>
              <a:gd name="connsiteY4" fmla="*/ 3279290 h 3279725"/>
              <a:gd name="connsiteX5" fmla="*/ 37 w 6088641"/>
              <a:gd name="connsiteY5" fmla="*/ 2335806 h 3279725"/>
              <a:gd name="connsiteX6" fmla="*/ 335225 w 6088641"/>
              <a:gd name="connsiteY6" fmla="*/ 464432 h 3279725"/>
              <a:gd name="connsiteX0" fmla="*/ 335225 w 6088641"/>
              <a:gd name="connsiteY0" fmla="*/ 434187 h 3249480"/>
              <a:gd name="connsiteX1" fmla="*/ 3260633 w 6088641"/>
              <a:gd name="connsiteY1" fmla="*/ 1698 h 3249480"/>
              <a:gd name="connsiteX2" fmla="*/ 5816589 w 6088641"/>
              <a:gd name="connsiteY2" fmla="*/ 283403 h 3249480"/>
              <a:gd name="connsiteX3" fmla="*/ 6088634 w 6088641"/>
              <a:gd name="connsiteY3" fmla="*/ 2504586 h 3249480"/>
              <a:gd name="connsiteX4" fmla="*/ 3268050 w 6088641"/>
              <a:gd name="connsiteY4" fmla="*/ 3249045 h 3249480"/>
              <a:gd name="connsiteX5" fmla="*/ 37 w 6088641"/>
              <a:gd name="connsiteY5" fmla="*/ 2305561 h 3249480"/>
              <a:gd name="connsiteX6" fmla="*/ 335225 w 6088641"/>
              <a:gd name="connsiteY6" fmla="*/ 434187 h 3249480"/>
              <a:gd name="connsiteX0" fmla="*/ 335225 w 6088641"/>
              <a:gd name="connsiteY0" fmla="*/ 434187 h 3249480"/>
              <a:gd name="connsiteX1" fmla="*/ 3260633 w 6088641"/>
              <a:gd name="connsiteY1" fmla="*/ 1698 h 3249480"/>
              <a:gd name="connsiteX2" fmla="*/ 5816589 w 6088641"/>
              <a:gd name="connsiteY2" fmla="*/ 283403 h 3249480"/>
              <a:gd name="connsiteX3" fmla="*/ 6088634 w 6088641"/>
              <a:gd name="connsiteY3" fmla="*/ 2504586 h 3249480"/>
              <a:gd name="connsiteX4" fmla="*/ 3268050 w 6088641"/>
              <a:gd name="connsiteY4" fmla="*/ 3249045 h 3249480"/>
              <a:gd name="connsiteX5" fmla="*/ 37 w 6088641"/>
              <a:gd name="connsiteY5" fmla="*/ 2305561 h 3249480"/>
              <a:gd name="connsiteX6" fmla="*/ 335225 w 6088641"/>
              <a:gd name="connsiteY6" fmla="*/ 434187 h 3249480"/>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512181 h 3327474"/>
              <a:gd name="connsiteX1" fmla="*/ 3260633 w 6088641"/>
              <a:gd name="connsiteY1" fmla="*/ 79692 h 3327474"/>
              <a:gd name="connsiteX2" fmla="*/ 5816589 w 6088641"/>
              <a:gd name="connsiteY2" fmla="*/ 361397 h 3327474"/>
              <a:gd name="connsiteX3" fmla="*/ 6088634 w 6088641"/>
              <a:gd name="connsiteY3" fmla="*/ 2582580 h 3327474"/>
              <a:gd name="connsiteX4" fmla="*/ 3268050 w 6088641"/>
              <a:gd name="connsiteY4" fmla="*/ 3327039 h 3327474"/>
              <a:gd name="connsiteX5" fmla="*/ 37 w 6088641"/>
              <a:gd name="connsiteY5" fmla="*/ 2383555 h 3327474"/>
              <a:gd name="connsiteX6" fmla="*/ 335225 w 6088641"/>
              <a:gd name="connsiteY6" fmla="*/ 512181 h 3327474"/>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434186 h 3249479"/>
              <a:gd name="connsiteX1" fmla="*/ 3260633 w 6088641"/>
              <a:gd name="connsiteY1" fmla="*/ 1697 h 3249479"/>
              <a:gd name="connsiteX2" fmla="*/ 5816589 w 6088641"/>
              <a:gd name="connsiteY2" fmla="*/ 283402 h 3249479"/>
              <a:gd name="connsiteX3" fmla="*/ 6088634 w 6088641"/>
              <a:gd name="connsiteY3" fmla="*/ 2504585 h 3249479"/>
              <a:gd name="connsiteX4" fmla="*/ 3268050 w 6088641"/>
              <a:gd name="connsiteY4" fmla="*/ 3249044 h 3249479"/>
              <a:gd name="connsiteX5" fmla="*/ 37 w 6088641"/>
              <a:gd name="connsiteY5" fmla="*/ 2305560 h 3249479"/>
              <a:gd name="connsiteX6" fmla="*/ 335225 w 6088641"/>
              <a:gd name="connsiteY6" fmla="*/ 434186 h 3249479"/>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433957 h 3249250"/>
              <a:gd name="connsiteX1" fmla="*/ 3260633 w 6088641"/>
              <a:gd name="connsiteY1" fmla="*/ 1468 h 3249250"/>
              <a:gd name="connsiteX2" fmla="*/ 5816589 w 6088641"/>
              <a:gd name="connsiteY2" fmla="*/ 283173 h 3249250"/>
              <a:gd name="connsiteX3" fmla="*/ 6088634 w 6088641"/>
              <a:gd name="connsiteY3" fmla="*/ 2504356 h 3249250"/>
              <a:gd name="connsiteX4" fmla="*/ 3268050 w 6088641"/>
              <a:gd name="connsiteY4" fmla="*/ 3248815 h 3249250"/>
              <a:gd name="connsiteX5" fmla="*/ 37 w 6088641"/>
              <a:gd name="connsiteY5" fmla="*/ 2305331 h 3249250"/>
              <a:gd name="connsiteX6" fmla="*/ 335225 w 6088641"/>
              <a:gd name="connsiteY6" fmla="*/ 433957 h 3249250"/>
              <a:gd name="connsiteX0" fmla="*/ 335225 w 6088641"/>
              <a:gd name="connsiteY0" fmla="*/ 433944 h 3249237"/>
              <a:gd name="connsiteX1" fmla="*/ 3260633 w 6088641"/>
              <a:gd name="connsiteY1" fmla="*/ 1455 h 3249237"/>
              <a:gd name="connsiteX2" fmla="*/ 5816589 w 6088641"/>
              <a:gd name="connsiteY2" fmla="*/ 283160 h 3249237"/>
              <a:gd name="connsiteX3" fmla="*/ 6088634 w 6088641"/>
              <a:gd name="connsiteY3" fmla="*/ 2504343 h 3249237"/>
              <a:gd name="connsiteX4" fmla="*/ 3268050 w 6088641"/>
              <a:gd name="connsiteY4" fmla="*/ 3248802 h 3249237"/>
              <a:gd name="connsiteX5" fmla="*/ 37 w 6088641"/>
              <a:gd name="connsiteY5" fmla="*/ 2305318 h 3249237"/>
              <a:gd name="connsiteX6" fmla="*/ 335225 w 6088641"/>
              <a:gd name="connsiteY6" fmla="*/ 433944 h 3249237"/>
              <a:gd name="connsiteX0" fmla="*/ 335225 w 6088641"/>
              <a:gd name="connsiteY0" fmla="*/ 433390 h 3248683"/>
              <a:gd name="connsiteX1" fmla="*/ 3260633 w 6088641"/>
              <a:gd name="connsiteY1" fmla="*/ 901 h 3248683"/>
              <a:gd name="connsiteX2" fmla="*/ 5816589 w 6088641"/>
              <a:gd name="connsiteY2" fmla="*/ 282606 h 3248683"/>
              <a:gd name="connsiteX3" fmla="*/ 6088634 w 6088641"/>
              <a:gd name="connsiteY3" fmla="*/ 2503789 h 3248683"/>
              <a:gd name="connsiteX4" fmla="*/ 3268050 w 6088641"/>
              <a:gd name="connsiteY4" fmla="*/ 3248248 h 3248683"/>
              <a:gd name="connsiteX5" fmla="*/ 37 w 6088641"/>
              <a:gd name="connsiteY5" fmla="*/ 2304764 h 3248683"/>
              <a:gd name="connsiteX6" fmla="*/ 335225 w 6088641"/>
              <a:gd name="connsiteY6" fmla="*/ 433390 h 3248683"/>
              <a:gd name="connsiteX0" fmla="*/ 335225 w 6088641"/>
              <a:gd name="connsiteY0" fmla="*/ 512181 h 3327474"/>
              <a:gd name="connsiteX1" fmla="*/ 3260633 w 6088641"/>
              <a:gd name="connsiteY1" fmla="*/ 79692 h 3327474"/>
              <a:gd name="connsiteX2" fmla="*/ 5816589 w 6088641"/>
              <a:gd name="connsiteY2" fmla="*/ 361397 h 3327474"/>
              <a:gd name="connsiteX3" fmla="*/ 6088634 w 6088641"/>
              <a:gd name="connsiteY3" fmla="*/ 2582580 h 3327474"/>
              <a:gd name="connsiteX4" fmla="*/ 3268050 w 6088641"/>
              <a:gd name="connsiteY4" fmla="*/ 3327039 h 3327474"/>
              <a:gd name="connsiteX5" fmla="*/ 37 w 6088641"/>
              <a:gd name="connsiteY5" fmla="*/ 2383555 h 3327474"/>
              <a:gd name="connsiteX6" fmla="*/ 335225 w 6088641"/>
              <a:gd name="connsiteY6" fmla="*/ 512181 h 3327474"/>
              <a:gd name="connsiteX0" fmla="*/ 335225 w 6088641"/>
              <a:gd name="connsiteY0" fmla="*/ 516824 h 3332117"/>
              <a:gd name="connsiteX1" fmla="*/ 3260633 w 6088641"/>
              <a:gd name="connsiteY1" fmla="*/ 84335 h 3332117"/>
              <a:gd name="connsiteX2" fmla="*/ 5816589 w 6088641"/>
              <a:gd name="connsiteY2" fmla="*/ 366040 h 3332117"/>
              <a:gd name="connsiteX3" fmla="*/ 6088634 w 6088641"/>
              <a:gd name="connsiteY3" fmla="*/ 2587223 h 3332117"/>
              <a:gd name="connsiteX4" fmla="*/ 3268050 w 6088641"/>
              <a:gd name="connsiteY4" fmla="*/ 3331682 h 3332117"/>
              <a:gd name="connsiteX5" fmla="*/ 37 w 6088641"/>
              <a:gd name="connsiteY5" fmla="*/ 2388198 h 3332117"/>
              <a:gd name="connsiteX6" fmla="*/ 335225 w 6088641"/>
              <a:gd name="connsiteY6" fmla="*/ 516824 h 3332117"/>
              <a:gd name="connsiteX0" fmla="*/ 335225 w 6088641"/>
              <a:gd name="connsiteY0" fmla="*/ 512182 h 3327475"/>
              <a:gd name="connsiteX1" fmla="*/ 3260633 w 6088641"/>
              <a:gd name="connsiteY1" fmla="*/ 79693 h 3327475"/>
              <a:gd name="connsiteX2" fmla="*/ 5816589 w 6088641"/>
              <a:gd name="connsiteY2" fmla="*/ 361398 h 3327475"/>
              <a:gd name="connsiteX3" fmla="*/ 6088634 w 6088641"/>
              <a:gd name="connsiteY3" fmla="*/ 2582581 h 3327475"/>
              <a:gd name="connsiteX4" fmla="*/ 3268050 w 6088641"/>
              <a:gd name="connsiteY4" fmla="*/ 3327040 h 3327475"/>
              <a:gd name="connsiteX5" fmla="*/ 37 w 6088641"/>
              <a:gd name="connsiteY5" fmla="*/ 2383556 h 3327475"/>
              <a:gd name="connsiteX6" fmla="*/ 335225 w 6088641"/>
              <a:gd name="connsiteY6" fmla="*/ 512182 h 3327475"/>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433961 h 3249254"/>
              <a:gd name="connsiteX1" fmla="*/ 3260633 w 6088641"/>
              <a:gd name="connsiteY1" fmla="*/ 1472 h 3249254"/>
              <a:gd name="connsiteX2" fmla="*/ 5816589 w 6088641"/>
              <a:gd name="connsiteY2" fmla="*/ 283177 h 3249254"/>
              <a:gd name="connsiteX3" fmla="*/ 6088634 w 6088641"/>
              <a:gd name="connsiteY3" fmla="*/ 2504360 h 3249254"/>
              <a:gd name="connsiteX4" fmla="*/ 3268050 w 6088641"/>
              <a:gd name="connsiteY4" fmla="*/ 3248819 h 3249254"/>
              <a:gd name="connsiteX5" fmla="*/ 37 w 6088641"/>
              <a:gd name="connsiteY5" fmla="*/ 2305335 h 3249254"/>
              <a:gd name="connsiteX6" fmla="*/ 335225 w 6088641"/>
              <a:gd name="connsiteY6" fmla="*/ 433961 h 3249254"/>
              <a:gd name="connsiteX0" fmla="*/ 335225 w 6088641"/>
              <a:gd name="connsiteY0" fmla="*/ 434186 h 3249479"/>
              <a:gd name="connsiteX1" fmla="*/ 3260633 w 6088641"/>
              <a:gd name="connsiteY1" fmla="*/ 1697 h 3249479"/>
              <a:gd name="connsiteX2" fmla="*/ 5816589 w 6088641"/>
              <a:gd name="connsiteY2" fmla="*/ 283402 h 3249479"/>
              <a:gd name="connsiteX3" fmla="*/ 6088634 w 6088641"/>
              <a:gd name="connsiteY3" fmla="*/ 2504585 h 3249479"/>
              <a:gd name="connsiteX4" fmla="*/ 3268050 w 6088641"/>
              <a:gd name="connsiteY4" fmla="*/ 3249044 h 3249479"/>
              <a:gd name="connsiteX5" fmla="*/ 37 w 6088641"/>
              <a:gd name="connsiteY5" fmla="*/ 2305560 h 3249479"/>
              <a:gd name="connsiteX6" fmla="*/ 335225 w 6088641"/>
              <a:gd name="connsiteY6" fmla="*/ 434186 h 3249479"/>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509718 h 3325011"/>
              <a:gd name="connsiteX1" fmla="*/ 3260633 w 6088641"/>
              <a:gd name="connsiteY1" fmla="*/ 77229 h 3325011"/>
              <a:gd name="connsiteX2" fmla="*/ 5816589 w 6088641"/>
              <a:gd name="connsiteY2" fmla="*/ 358934 h 3325011"/>
              <a:gd name="connsiteX3" fmla="*/ 6088634 w 6088641"/>
              <a:gd name="connsiteY3" fmla="*/ 2580117 h 3325011"/>
              <a:gd name="connsiteX4" fmla="*/ 3268050 w 6088641"/>
              <a:gd name="connsiteY4" fmla="*/ 3324576 h 3325011"/>
              <a:gd name="connsiteX5" fmla="*/ 37 w 6088641"/>
              <a:gd name="connsiteY5" fmla="*/ 2381092 h 3325011"/>
              <a:gd name="connsiteX6" fmla="*/ 335225 w 6088641"/>
              <a:gd name="connsiteY6" fmla="*/ 509718 h 3325011"/>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088641"/>
              <a:gd name="connsiteY0" fmla="*/ 440004 h 3255297"/>
              <a:gd name="connsiteX1" fmla="*/ 3260633 w 6088641"/>
              <a:gd name="connsiteY1" fmla="*/ 7515 h 3255297"/>
              <a:gd name="connsiteX2" fmla="*/ 6088634 w 6088641"/>
              <a:gd name="connsiteY2" fmla="*/ 2510403 h 3255297"/>
              <a:gd name="connsiteX3" fmla="*/ 3268050 w 6088641"/>
              <a:gd name="connsiteY3" fmla="*/ 3254862 h 3255297"/>
              <a:gd name="connsiteX4" fmla="*/ 37 w 6088641"/>
              <a:gd name="connsiteY4" fmla="*/ 2311378 h 3255297"/>
              <a:gd name="connsiteX5" fmla="*/ 335225 w 6088641"/>
              <a:gd name="connsiteY5" fmla="*/ 440004 h 3255297"/>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123026"/>
              <a:gd name="connsiteY0" fmla="*/ 432489 h 3247782"/>
              <a:gd name="connsiteX1" fmla="*/ 3260633 w 6123026"/>
              <a:gd name="connsiteY1" fmla="*/ 0 h 3247782"/>
              <a:gd name="connsiteX2" fmla="*/ 4736515 w 6123026"/>
              <a:gd name="connsiteY2" fmla="*/ 1160782 h 3247782"/>
              <a:gd name="connsiteX3" fmla="*/ 6088634 w 6123026"/>
              <a:gd name="connsiteY3" fmla="*/ 2502888 h 3247782"/>
              <a:gd name="connsiteX4" fmla="*/ 3268050 w 6123026"/>
              <a:gd name="connsiteY4" fmla="*/ 3247347 h 3247782"/>
              <a:gd name="connsiteX5" fmla="*/ 37 w 6123026"/>
              <a:gd name="connsiteY5" fmla="*/ 2303863 h 3247782"/>
              <a:gd name="connsiteX6" fmla="*/ 335225 w 6123026"/>
              <a:gd name="connsiteY6" fmla="*/ 432489 h 3247782"/>
              <a:gd name="connsiteX0" fmla="*/ 335225 w 6213970"/>
              <a:gd name="connsiteY0" fmla="*/ 432489 h 3247782"/>
              <a:gd name="connsiteX1" fmla="*/ 3260633 w 6213970"/>
              <a:gd name="connsiteY1" fmla="*/ 0 h 3247782"/>
              <a:gd name="connsiteX2" fmla="*/ 5748245 w 6213970"/>
              <a:gd name="connsiteY2" fmla="*/ 440703 h 3247782"/>
              <a:gd name="connsiteX3" fmla="*/ 6088634 w 6213970"/>
              <a:gd name="connsiteY3" fmla="*/ 2502888 h 3247782"/>
              <a:gd name="connsiteX4" fmla="*/ 3268050 w 6213970"/>
              <a:gd name="connsiteY4" fmla="*/ 3247347 h 3247782"/>
              <a:gd name="connsiteX5" fmla="*/ 37 w 6213970"/>
              <a:gd name="connsiteY5" fmla="*/ 2303863 h 3247782"/>
              <a:gd name="connsiteX6" fmla="*/ 335225 w 6213970"/>
              <a:gd name="connsiteY6" fmla="*/ 432489 h 3247782"/>
              <a:gd name="connsiteX0" fmla="*/ 335225 w 6213972"/>
              <a:gd name="connsiteY0" fmla="*/ 432489 h 3247782"/>
              <a:gd name="connsiteX1" fmla="*/ 3260633 w 6213972"/>
              <a:gd name="connsiteY1" fmla="*/ 0 h 3247782"/>
              <a:gd name="connsiteX2" fmla="*/ 5748245 w 6213972"/>
              <a:gd name="connsiteY2" fmla="*/ 440703 h 3247782"/>
              <a:gd name="connsiteX3" fmla="*/ 6088634 w 6213972"/>
              <a:gd name="connsiteY3" fmla="*/ 2502888 h 3247782"/>
              <a:gd name="connsiteX4" fmla="*/ 3268050 w 6213972"/>
              <a:gd name="connsiteY4" fmla="*/ 3247347 h 3247782"/>
              <a:gd name="connsiteX5" fmla="*/ 37 w 6213972"/>
              <a:gd name="connsiteY5" fmla="*/ 2303863 h 3247782"/>
              <a:gd name="connsiteX6" fmla="*/ 335225 w 6213972"/>
              <a:gd name="connsiteY6" fmla="*/ 432489 h 3247782"/>
              <a:gd name="connsiteX0" fmla="*/ 335225 w 6213970"/>
              <a:gd name="connsiteY0" fmla="*/ 432489 h 3247782"/>
              <a:gd name="connsiteX1" fmla="*/ 3260633 w 6213970"/>
              <a:gd name="connsiteY1" fmla="*/ 0 h 3247782"/>
              <a:gd name="connsiteX2" fmla="*/ 5748245 w 6213970"/>
              <a:gd name="connsiteY2" fmla="*/ 440703 h 3247782"/>
              <a:gd name="connsiteX3" fmla="*/ 6088634 w 6213970"/>
              <a:gd name="connsiteY3" fmla="*/ 2502888 h 3247782"/>
              <a:gd name="connsiteX4" fmla="*/ 3268050 w 6213970"/>
              <a:gd name="connsiteY4" fmla="*/ 3247347 h 3247782"/>
              <a:gd name="connsiteX5" fmla="*/ 37 w 6213970"/>
              <a:gd name="connsiteY5" fmla="*/ 2303863 h 3247782"/>
              <a:gd name="connsiteX6" fmla="*/ 335225 w 6213970"/>
              <a:gd name="connsiteY6" fmla="*/ 432489 h 3247782"/>
              <a:gd name="connsiteX0" fmla="*/ 335225 w 6147867"/>
              <a:gd name="connsiteY0" fmla="*/ 432489 h 3247782"/>
              <a:gd name="connsiteX1" fmla="*/ 3260633 w 6147867"/>
              <a:gd name="connsiteY1" fmla="*/ 0 h 3247782"/>
              <a:gd name="connsiteX2" fmla="*/ 5748245 w 6147867"/>
              <a:gd name="connsiteY2" fmla="*/ 440703 h 3247782"/>
              <a:gd name="connsiteX3" fmla="*/ 6088634 w 6147867"/>
              <a:gd name="connsiteY3" fmla="*/ 2502888 h 3247782"/>
              <a:gd name="connsiteX4" fmla="*/ 3268050 w 6147867"/>
              <a:gd name="connsiteY4" fmla="*/ 3247347 h 3247782"/>
              <a:gd name="connsiteX5" fmla="*/ 37 w 6147867"/>
              <a:gd name="connsiteY5" fmla="*/ 2303863 h 3247782"/>
              <a:gd name="connsiteX6" fmla="*/ 335225 w 6147867"/>
              <a:gd name="connsiteY6" fmla="*/ 432489 h 3247782"/>
              <a:gd name="connsiteX0" fmla="*/ 335225 w 6088640"/>
              <a:gd name="connsiteY0" fmla="*/ 432489 h 3247782"/>
              <a:gd name="connsiteX1" fmla="*/ 3260633 w 6088640"/>
              <a:gd name="connsiteY1" fmla="*/ 0 h 3247782"/>
              <a:gd name="connsiteX2" fmla="*/ 5748245 w 6088640"/>
              <a:gd name="connsiteY2" fmla="*/ 440703 h 3247782"/>
              <a:gd name="connsiteX3" fmla="*/ 6088634 w 6088640"/>
              <a:gd name="connsiteY3" fmla="*/ 2502888 h 3247782"/>
              <a:gd name="connsiteX4" fmla="*/ 3268050 w 6088640"/>
              <a:gd name="connsiteY4" fmla="*/ 3247347 h 3247782"/>
              <a:gd name="connsiteX5" fmla="*/ 37 w 6088640"/>
              <a:gd name="connsiteY5" fmla="*/ 2303863 h 3247782"/>
              <a:gd name="connsiteX6" fmla="*/ 335225 w 6088640"/>
              <a:gd name="connsiteY6" fmla="*/ 432489 h 3247782"/>
              <a:gd name="connsiteX0" fmla="*/ 335225 w 6088642"/>
              <a:gd name="connsiteY0" fmla="*/ 432489 h 3247782"/>
              <a:gd name="connsiteX1" fmla="*/ 3260633 w 6088642"/>
              <a:gd name="connsiteY1" fmla="*/ 0 h 3247782"/>
              <a:gd name="connsiteX2" fmla="*/ 5748245 w 6088642"/>
              <a:gd name="connsiteY2" fmla="*/ 440703 h 3247782"/>
              <a:gd name="connsiteX3" fmla="*/ 6088634 w 6088642"/>
              <a:gd name="connsiteY3" fmla="*/ 2502888 h 3247782"/>
              <a:gd name="connsiteX4" fmla="*/ 3268050 w 6088642"/>
              <a:gd name="connsiteY4" fmla="*/ 3247347 h 3247782"/>
              <a:gd name="connsiteX5" fmla="*/ 37 w 6088642"/>
              <a:gd name="connsiteY5" fmla="*/ 2303863 h 3247782"/>
              <a:gd name="connsiteX6" fmla="*/ 335225 w 6088642"/>
              <a:gd name="connsiteY6" fmla="*/ 432489 h 3247782"/>
              <a:gd name="connsiteX0" fmla="*/ 335225 w 6088640"/>
              <a:gd name="connsiteY0" fmla="*/ 432489 h 3247782"/>
              <a:gd name="connsiteX1" fmla="*/ 3260633 w 6088640"/>
              <a:gd name="connsiteY1" fmla="*/ 0 h 3247782"/>
              <a:gd name="connsiteX2" fmla="*/ 5748245 w 6088640"/>
              <a:gd name="connsiteY2" fmla="*/ 440703 h 3247782"/>
              <a:gd name="connsiteX3" fmla="*/ 6088634 w 6088640"/>
              <a:gd name="connsiteY3" fmla="*/ 2502888 h 3247782"/>
              <a:gd name="connsiteX4" fmla="*/ 3268050 w 6088640"/>
              <a:gd name="connsiteY4" fmla="*/ 3247347 h 3247782"/>
              <a:gd name="connsiteX5" fmla="*/ 37 w 6088640"/>
              <a:gd name="connsiteY5" fmla="*/ 2303863 h 3247782"/>
              <a:gd name="connsiteX6" fmla="*/ 335225 w 6088640"/>
              <a:gd name="connsiteY6" fmla="*/ 432489 h 3247782"/>
              <a:gd name="connsiteX0" fmla="*/ 335225 w 6088642"/>
              <a:gd name="connsiteY0" fmla="*/ 432489 h 3247782"/>
              <a:gd name="connsiteX1" fmla="*/ 3260633 w 6088642"/>
              <a:gd name="connsiteY1" fmla="*/ 0 h 3247782"/>
              <a:gd name="connsiteX2" fmla="*/ 5748245 w 6088642"/>
              <a:gd name="connsiteY2" fmla="*/ 440703 h 3247782"/>
              <a:gd name="connsiteX3" fmla="*/ 6088634 w 6088642"/>
              <a:gd name="connsiteY3" fmla="*/ 2502888 h 3247782"/>
              <a:gd name="connsiteX4" fmla="*/ 3268050 w 6088642"/>
              <a:gd name="connsiteY4" fmla="*/ 3247347 h 3247782"/>
              <a:gd name="connsiteX5" fmla="*/ 37 w 6088642"/>
              <a:gd name="connsiteY5" fmla="*/ 2303863 h 3247782"/>
              <a:gd name="connsiteX6" fmla="*/ 335225 w 6088642"/>
              <a:gd name="connsiteY6" fmla="*/ 432489 h 3247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88642" h="3247782">
                <a:moveTo>
                  <a:pt x="335225" y="432489"/>
                </a:moveTo>
                <a:lnTo>
                  <a:pt x="3260633" y="0"/>
                </a:lnTo>
                <a:lnTo>
                  <a:pt x="5748245" y="440703"/>
                </a:lnTo>
                <a:cubicBezTo>
                  <a:pt x="5740060" y="439923"/>
                  <a:pt x="6088854" y="2501343"/>
                  <a:pt x="6088634" y="2502888"/>
                </a:cubicBezTo>
                <a:cubicBezTo>
                  <a:pt x="6094013" y="2499402"/>
                  <a:pt x="3306859" y="3268671"/>
                  <a:pt x="3268050" y="3247347"/>
                </a:cubicBezTo>
                <a:cubicBezTo>
                  <a:pt x="3229241" y="3226023"/>
                  <a:pt x="-12764" y="2302723"/>
                  <a:pt x="37" y="2303863"/>
                </a:cubicBezTo>
                <a:cubicBezTo>
                  <a:pt x="9484" y="2304704"/>
                  <a:pt x="167631" y="1368176"/>
                  <a:pt x="335225" y="432489"/>
                </a:cubicBezTo>
                <a:close/>
              </a:path>
            </a:pathLst>
          </a:custGeom>
          <a:ln w="50800">
            <a:noFill/>
          </a:ln>
        </p:spPr>
        <p:txBody>
          <a:bodyPr/>
          <a:lstStyle/>
          <a:p>
            <a:pPr marL="304778" marR="0" lvl="0" indent="-304778" algn="l" defTabSz="1219108" rtl="0" eaLnBrk="1" fontAlgn="auto" latinLnBrk="0" hangingPunct="1">
              <a:lnSpc>
                <a:spcPct val="90000"/>
              </a:lnSpc>
              <a:spcBef>
                <a:spcPts val="1333"/>
              </a:spcBef>
              <a:spcAft>
                <a:spcPts val="0"/>
              </a:spcAft>
              <a:buClrTx/>
              <a:buSzTx/>
              <a:buFont typeface="Arial" panose="020B0604020202020204" pitchFamily="34" charset="0"/>
              <a:buNone/>
              <a:tabLst/>
              <a:defRPr/>
            </a:pPr>
            <a:r>
              <a:rPr lang="en-US" noProof="0"/>
              <a:t>Picture</a:t>
            </a:r>
          </a:p>
        </p:txBody>
      </p:sp>
      <p:sp>
        <p:nvSpPr>
          <p:cNvPr id="12" name="Marcador de texto 5">
            <a:extLst>
              <a:ext uri="{FF2B5EF4-FFF2-40B4-BE49-F238E27FC236}">
                <a16:creationId xmlns:a16="http://schemas.microsoft.com/office/drawing/2014/main" id="{345C7096-B9C9-63C4-9044-D1FF11125623}"/>
              </a:ext>
            </a:extLst>
          </p:cNvPr>
          <p:cNvSpPr>
            <a:spLocks noGrp="1"/>
          </p:cNvSpPr>
          <p:nvPr>
            <p:ph type="body" sz="quarter" idx="25" hasCustomPrompt="1"/>
          </p:nvPr>
        </p:nvSpPr>
        <p:spPr>
          <a:xfrm>
            <a:off x="4039281" y="6417750"/>
            <a:ext cx="4113439" cy="195084"/>
          </a:xfrm>
          <a:prstGeom prst="rect">
            <a:avLst/>
          </a:prstGeom>
        </p:spPr>
        <p:txBody>
          <a:bodyPr/>
          <a:lstStyle>
            <a:lvl1pPr marL="0" indent="0" algn="ctr">
              <a:buNone/>
              <a:defRPr sz="933">
                <a:solidFill>
                  <a:schemeClr val="accent1"/>
                </a:solidFill>
              </a:defRPr>
            </a:lvl1pPr>
          </a:lstStyle>
          <a:p>
            <a:r>
              <a:rPr lang="es-ES" err="1"/>
              <a:t>Lorem</a:t>
            </a:r>
            <a:r>
              <a:rPr lang="es-ES"/>
              <a:t> </a:t>
            </a:r>
            <a:r>
              <a:rPr lang="es-ES" err="1"/>
              <a:t>ipsum</a:t>
            </a:r>
            <a:r>
              <a:rPr lang="es-ES"/>
              <a:t> dolor </a:t>
            </a:r>
            <a:r>
              <a:rPr lang="es-ES" err="1"/>
              <a:t>sit</a:t>
            </a:r>
            <a:r>
              <a:rPr lang="es-ES"/>
              <a:t> </a:t>
            </a:r>
            <a:r>
              <a:rPr lang="es-ES" err="1"/>
              <a:t>amet</a:t>
            </a:r>
            <a:r>
              <a:rPr lang="es-ES"/>
              <a:t>.</a:t>
            </a:r>
          </a:p>
        </p:txBody>
      </p:sp>
      <p:sp>
        <p:nvSpPr>
          <p:cNvPr id="13" name="Slide Number Placeholder 5">
            <a:extLst>
              <a:ext uri="{FF2B5EF4-FFF2-40B4-BE49-F238E27FC236}">
                <a16:creationId xmlns:a16="http://schemas.microsoft.com/office/drawing/2014/main" id="{6481F3FC-1F59-9EC7-D6ED-A29DFD83A66E}"/>
              </a:ext>
            </a:extLst>
          </p:cNvPr>
          <p:cNvSpPr>
            <a:spLocks noGrp="1"/>
          </p:cNvSpPr>
          <p:nvPr>
            <p:ph type="sldNum" sz="quarter" idx="4"/>
          </p:nvPr>
        </p:nvSpPr>
        <p:spPr>
          <a:xfrm>
            <a:off x="10910403" y="6356351"/>
            <a:ext cx="1042415" cy="365125"/>
          </a:xfrm>
          <a:prstGeom prst="rect">
            <a:avLst/>
          </a:prstGeom>
        </p:spPr>
        <p:txBody>
          <a:bodyPr vert="horz" lIns="91440" tIns="45720" rIns="91440" bIns="45720" rtlCol="0" anchor="ctr"/>
          <a:lstStyle>
            <a:lvl1pPr algn="r">
              <a:defRPr sz="933">
                <a:solidFill>
                  <a:schemeClr val="accent1"/>
                </a:solidFill>
              </a:defRPr>
            </a:lvl1pPr>
          </a:lstStyle>
          <a:p>
            <a:fld id="{96F64DD7-E411-6141-89FE-121B5323FD5F}" type="slidenum">
              <a:rPr lang="en-US" smtClean="0"/>
              <a:pPr/>
              <a:t>‹Nº›</a:t>
            </a:fld>
            <a:endParaRPr lang="en-US"/>
          </a:p>
        </p:txBody>
      </p:sp>
    </p:spTree>
    <p:extLst>
      <p:ext uri="{BB962C8B-B14F-4D97-AF65-F5344CB8AC3E}">
        <p14:creationId xmlns:p14="http://schemas.microsoft.com/office/powerpoint/2010/main" val="830172045"/>
      </p:ext>
    </p:extLst>
  </p:cSld>
  <p:clrMapOvr>
    <a:masterClrMapping/>
  </p:clrMapOvr>
  <p:extLst>
    <p:ext uri="{DCECCB84-F9BA-43D5-87BE-67443E8EF086}">
      <p15:sldGuideLst xmlns:p15="http://schemas.microsoft.com/office/powerpoint/2012/main">
        <p15:guide id="1" orient="horz" pos="2867">
          <p15:clr>
            <a:srgbClr val="FBAE40"/>
          </p15:clr>
        </p15:guide>
        <p15:guide id="2" pos="2880">
          <p15:clr>
            <a:srgbClr val="FBAE40"/>
          </p15:clr>
        </p15:guide>
        <p15:guide id="3" orient="horz" pos="35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pter 4">
    <p:bg>
      <p:bgPr>
        <a:solidFill>
          <a:schemeClr val="bg1"/>
        </a:solidFill>
        <a:effectLst/>
      </p:bgPr>
    </p:bg>
    <p:spTree>
      <p:nvGrpSpPr>
        <p:cNvPr id="1" name=""/>
        <p:cNvGrpSpPr/>
        <p:nvPr/>
      </p:nvGrpSpPr>
      <p:grpSpPr>
        <a:xfrm>
          <a:off x="0" y="0"/>
          <a:ext cx="0" cy="0"/>
          <a:chOff x="0" y="0"/>
          <a:chExt cx="0" cy="0"/>
        </a:xfrm>
      </p:grpSpPr>
      <p:sp>
        <p:nvSpPr>
          <p:cNvPr id="6" name="Marcador de texto 6">
            <a:extLst>
              <a:ext uri="{FF2B5EF4-FFF2-40B4-BE49-F238E27FC236}">
                <a16:creationId xmlns:a16="http://schemas.microsoft.com/office/drawing/2014/main" id="{EDB23873-6C69-BA7F-1949-367D5FEED74B}"/>
              </a:ext>
            </a:extLst>
          </p:cNvPr>
          <p:cNvSpPr>
            <a:spLocks noGrp="1"/>
          </p:cNvSpPr>
          <p:nvPr>
            <p:ph type="body" sz="quarter" idx="22" hasCustomPrompt="1"/>
          </p:nvPr>
        </p:nvSpPr>
        <p:spPr>
          <a:xfrm>
            <a:off x="9837203" y="0"/>
            <a:ext cx="2354797" cy="3010395"/>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2"/>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3" name="Título 1">
            <a:extLst>
              <a:ext uri="{FF2B5EF4-FFF2-40B4-BE49-F238E27FC236}">
                <a16:creationId xmlns:a16="http://schemas.microsoft.com/office/drawing/2014/main" id="{95828207-94F8-1703-67B2-73BF709349AF}"/>
              </a:ext>
            </a:extLst>
          </p:cNvPr>
          <p:cNvSpPr>
            <a:spLocks noGrp="1"/>
          </p:cNvSpPr>
          <p:nvPr>
            <p:ph type="title" hasCustomPrompt="1"/>
          </p:nvPr>
        </p:nvSpPr>
        <p:spPr>
          <a:xfrm>
            <a:off x="6527800" y="2435046"/>
            <a:ext cx="4389648" cy="2904732"/>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baseline="0">
                <a:solidFill>
                  <a:schemeClr val="accent1"/>
                </a:solidFill>
              </a:defRPr>
            </a:lvl1pPr>
          </a:lstStyle>
          <a:p>
            <a:r>
              <a:rPr lang="en-US" noProof="0"/>
              <a:t>Headline is Arial Reg.38pt.</a:t>
            </a:r>
            <a:br>
              <a:rPr lang="en-US" noProof="0"/>
            </a:br>
            <a:r>
              <a:rPr lang="en-US" noProof="0"/>
              <a:t>Lorem ipsum dolor sit </a:t>
            </a:r>
            <a:r>
              <a:rPr lang="en-US" noProof="0" err="1"/>
              <a:t>amet</a:t>
            </a:r>
            <a:r>
              <a:rPr lang="en-US" noProof="0"/>
              <a:t>.</a:t>
            </a:r>
          </a:p>
        </p:txBody>
      </p:sp>
      <p:sp>
        <p:nvSpPr>
          <p:cNvPr id="4" name="Marcador de texto 2">
            <a:extLst>
              <a:ext uri="{FF2B5EF4-FFF2-40B4-BE49-F238E27FC236}">
                <a16:creationId xmlns:a16="http://schemas.microsoft.com/office/drawing/2014/main" id="{DFB39D16-DC03-92DC-6FAD-7F26F2AB497C}"/>
              </a:ext>
            </a:extLst>
          </p:cNvPr>
          <p:cNvSpPr>
            <a:spLocks noGrp="1"/>
          </p:cNvSpPr>
          <p:nvPr>
            <p:ph type="body" sz="quarter" idx="23" hasCustomPrompt="1"/>
          </p:nvPr>
        </p:nvSpPr>
        <p:spPr>
          <a:xfrm>
            <a:off x="6535763" y="1220249"/>
            <a:ext cx="4380072" cy="676419"/>
          </a:xfrm>
          <a:prstGeom prst="rect">
            <a:avLst/>
          </a:prstGeom>
        </p:spPr>
        <p:txBody>
          <a:bodyPr lIns="0" tIns="0" rIns="0" bIns="0"/>
          <a:lstStyle>
            <a:lvl1pPr marL="0" indent="0">
              <a:spcBef>
                <a:spcPts val="0"/>
              </a:spcBef>
              <a:buNone/>
              <a:defRPr sz="3733">
                <a:solidFill>
                  <a:schemeClr val="accent2"/>
                </a:solidFill>
              </a:defRPr>
            </a:lvl1pPr>
          </a:lstStyle>
          <a:p>
            <a:pPr lvl="0"/>
            <a:r>
              <a:rPr lang="es-ES" err="1"/>
              <a:t>Chapter</a:t>
            </a:r>
            <a:r>
              <a:rPr lang="es-ES"/>
              <a:t> 1</a:t>
            </a:r>
          </a:p>
        </p:txBody>
      </p:sp>
      <p:sp>
        <p:nvSpPr>
          <p:cNvPr id="7" name="Marcador de imagen 7">
            <a:extLst>
              <a:ext uri="{FF2B5EF4-FFF2-40B4-BE49-F238E27FC236}">
                <a16:creationId xmlns:a16="http://schemas.microsoft.com/office/drawing/2014/main" id="{5CDECDDA-84B5-A21E-0CE1-6A9C732AB00E}"/>
              </a:ext>
            </a:extLst>
          </p:cNvPr>
          <p:cNvSpPr>
            <a:spLocks noGrp="1"/>
          </p:cNvSpPr>
          <p:nvPr>
            <p:ph type="pic" sz="quarter" idx="20" hasCustomPrompt="1"/>
          </p:nvPr>
        </p:nvSpPr>
        <p:spPr>
          <a:xfrm>
            <a:off x="768351" y="770918"/>
            <a:ext cx="4618008" cy="5091871"/>
          </a:xfrm>
          <a:custGeom>
            <a:avLst/>
            <a:gdLst>
              <a:gd name="connsiteX0" fmla="*/ 0 w 8411266"/>
              <a:gd name="connsiteY0" fmla="*/ 0 h 2915921"/>
              <a:gd name="connsiteX1" fmla="*/ 8411266 w 8411266"/>
              <a:gd name="connsiteY1" fmla="*/ 0 h 2915921"/>
              <a:gd name="connsiteX2" fmla="*/ 8411266 w 8411266"/>
              <a:gd name="connsiteY2" fmla="*/ 2915921 h 2915921"/>
              <a:gd name="connsiteX3" fmla="*/ 0 w 8411266"/>
              <a:gd name="connsiteY3" fmla="*/ 2915921 h 2915921"/>
              <a:gd name="connsiteX4" fmla="*/ 0 w 8411266"/>
              <a:gd name="connsiteY4" fmla="*/ 0 h 2915921"/>
              <a:gd name="connsiteX0" fmla="*/ 0 w 8411266"/>
              <a:gd name="connsiteY0" fmla="*/ 0 h 2915922"/>
              <a:gd name="connsiteX1" fmla="*/ 8411266 w 8411266"/>
              <a:gd name="connsiteY1" fmla="*/ 0 h 2915922"/>
              <a:gd name="connsiteX2" fmla="*/ 8411266 w 8411266"/>
              <a:gd name="connsiteY2" fmla="*/ 2915921 h 2915922"/>
              <a:gd name="connsiteX3" fmla="*/ 7668987 w 8411266"/>
              <a:gd name="connsiteY3" fmla="*/ 2915922 h 2915922"/>
              <a:gd name="connsiteX4" fmla="*/ 0 w 8411266"/>
              <a:gd name="connsiteY4" fmla="*/ 2915921 h 2915922"/>
              <a:gd name="connsiteX5" fmla="*/ 0 w 8411266"/>
              <a:gd name="connsiteY5" fmla="*/ 0 h 2915922"/>
              <a:gd name="connsiteX0" fmla="*/ 0 w 8411266"/>
              <a:gd name="connsiteY0" fmla="*/ 0 h 2915922"/>
              <a:gd name="connsiteX1" fmla="*/ 8411266 w 8411266"/>
              <a:gd name="connsiteY1" fmla="*/ 0 h 2915922"/>
              <a:gd name="connsiteX2" fmla="*/ 8405886 w 8411266"/>
              <a:gd name="connsiteY2" fmla="*/ 2238189 h 2915922"/>
              <a:gd name="connsiteX3" fmla="*/ 8411266 w 8411266"/>
              <a:gd name="connsiteY3" fmla="*/ 2915921 h 2915922"/>
              <a:gd name="connsiteX4" fmla="*/ 7668987 w 8411266"/>
              <a:gd name="connsiteY4" fmla="*/ 2915922 h 2915922"/>
              <a:gd name="connsiteX5" fmla="*/ 0 w 8411266"/>
              <a:gd name="connsiteY5" fmla="*/ 2915921 h 2915922"/>
              <a:gd name="connsiteX6" fmla="*/ 0 w 8411266"/>
              <a:gd name="connsiteY6" fmla="*/ 0 h 2915922"/>
              <a:gd name="connsiteX0" fmla="*/ 0 w 8411782"/>
              <a:gd name="connsiteY0" fmla="*/ 0 h 2915922"/>
              <a:gd name="connsiteX1" fmla="*/ 8411266 w 8411782"/>
              <a:gd name="connsiteY1" fmla="*/ 0 h 2915922"/>
              <a:gd name="connsiteX2" fmla="*/ 8411265 w 8411782"/>
              <a:gd name="connsiteY2" fmla="*/ 2211294 h 2915922"/>
              <a:gd name="connsiteX3" fmla="*/ 8411266 w 8411782"/>
              <a:gd name="connsiteY3" fmla="*/ 2915921 h 2915922"/>
              <a:gd name="connsiteX4" fmla="*/ 7668987 w 8411782"/>
              <a:gd name="connsiteY4" fmla="*/ 2915922 h 2915922"/>
              <a:gd name="connsiteX5" fmla="*/ 0 w 8411782"/>
              <a:gd name="connsiteY5" fmla="*/ 2915921 h 2915922"/>
              <a:gd name="connsiteX6" fmla="*/ 0 w 8411782"/>
              <a:gd name="connsiteY6" fmla="*/ 0 h 2915922"/>
              <a:gd name="connsiteX0" fmla="*/ 0 w 8519559"/>
              <a:gd name="connsiteY0" fmla="*/ 0 h 2915922"/>
              <a:gd name="connsiteX1" fmla="*/ 8411266 w 8519559"/>
              <a:gd name="connsiteY1" fmla="*/ 0 h 2915922"/>
              <a:gd name="connsiteX2" fmla="*/ 8411265 w 8519559"/>
              <a:gd name="connsiteY2" fmla="*/ 2211294 h 2915922"/>
              <a:gd name="connsiteX3" fmla="*/ 7668987 w 8519559"/>
              <a:gd name="connsiteY3" fmla="*/ 2915922 h 2915922"/>
              <a:gd name="connsiteX4" fmla="*/ 0 w 8519559"/>
              <a:gd name="connsiteY4" fmla="*/ 2915921 h 2915922"/>
              <a:gd name="connsiteX5" fmla="*/ 0 w 8519559"/>
              <a:gd name="connsiteY5" fmla="*/ 0 h 2915922"/>
              <a:gd name="connsiteX0" fmla="*/ 0 w 8568374"/>
              <a:gd name="connsiteY0" fmla="*/ 0 h 2915922"/>
              <a:gd name="connsiteX1" fmla="*/ 8411266 w 8568374"/>
              <a:gd name="connsiteY1" fmla="*/ 0 h 2915922"/>
              <a:gd name="connsiteX2" fmla="*/ 8411265 w 8568374"/>
              <a:gd name="connsiteY2" fmla="*/ 2211294 h 2915922"/>
              <a:gd name="connsiteX3" fmla="*/ 7668987 w 8568374"/>
              <a:gd name="connsiteY3" fmla="*/ 2915922 h 2915922"/>
              <a:gd name="connsiteX4" fmla="*/ 0 w 8568374"/>
              <a:gd name="connsiteY4" fmla="*/ 2915921 h 2915922"/>
              <a:gd name="connsiteX5" fmla="*/ 0 w 8568374"/>
              <a:gd name="connsiteY5" fmla="*/ 0 h 2915922"/>
              <a:gd name="connsiteX0" fmla="*/ 0 w 8411782"/>
              <a:gd name="connsiteY0" fmla="*/ 0 h 2915922"/>
              <a:gd name="connsiteX1" fmla="*/ 8411266 w 8411782"/>
              <a:gd name="connsiteY1" fmla="*/ 0 h 2915922"/>
              <a:gd name="connsiteX2" fmla="*/ 8411265 w 8411782"/>
              <a:gd name="connsiteY2" fmla="*/ 2211294 h 2915922"/>
              <a:gd name="connsiteX3" fmla="*/ 7668987 w 8411782"/>
              <a:gd name="connsiteY3" fmla="*/ 2915922 h 2915922"/>
              <a:gd name="connsiteX4" fmla="*/ 0 w 8411782"/>
              <a:gd name="connsiteY4" fmla="*/ 2915921 h 2915922"/>
              <a:gd name="connsiteX5" fmla="*/ 0 w 8411782"/>
              <a:gd name="connsiteY5" fmla="*/ 0 h 2915922"/>
              <a:gd name="connsiteX0" fmla="*/ 0 w 8418465"/>
              <a:gd name="connsiteY0" fmla="*/ 0 h 2915922"/>
              <a:gd name="connsiteX1" fmla="*/ 8411266 w 8418465"/>
              <a:gd name="connsiteY1" fmla="*/ 0 h 2915922"/>
              <a:gd name="connsiteX2" fmla="*/ 8418046 w 8418465"/>
              <a:gd name="connsiteY2" fmla="*/ 2519966 h 2915922"/>
              <a:gd name="connsiteX3" fmla="*/ 7668987 w 8418465"/>
              <a:gd name="connsiteY3" fmla="*/ 2915922 h 2915922"/>
              <a:gd name="connsiteX4" fmla="*/ 0 w 8418465"/>
              <a:gd name="connsiteY4" fmla="*/ 2915921 h 2915922"/>
              <a:gd name="connsiteX5" fmla="*/ 0 w 8418465"/>
              <a:gd name="connsiteY5" fmla="*/ 0 h 2915922"/>
              <a:gd name="connsiteX0" fmla="*/ 0 w 8425205"/>
              <a:gd name="connsiteY0" fmla="*/ 0 h 2915922"/>
              <a:gd name="connsiteX1" fmla="*/ 8411266 w 8425205"/>
              <a:gd name="connsiteY1" fmla="*/ 0 h 2915922"/>
              <a:gd name="connsiteX2" fmla="*/ 8424827 w 8425205"/>
              <a:gd name="connsiteY2" fmla="*/ 2522560 h 2915922"/>
              <a:gd name="connsiteX3" fmla="*/ 7668987 w 8425205"/>
              <a:gd name="connsiteY3" fmla="*/ 2915922 h 2915922"/>
              <a:gd name="connsiteX4" fmla="*/ 0 w 8425205"/>
              <a:gd name="connsiteY4" fmla="*/ 2915921 h 2915922"/>
              <a:gd name="connsiteX5" fmla="*/ 0 w 8425205"/>
              <a:gd name="connsiteY5" fmla="*/ 0 h 2915922"/>
              <a:gd name="connsiteX0" fmla="*/ 0 w 8411783"/>
              <a:gd name="connsiteY0" fmla="*/ 0 h 2915922"/>
              <a:gd name="connsiteX1" fmla="*/ 8411266 w 8411783"/>
              <a:gd name="connsiteY1" fmla="*/ 0 h 2915922"/>
              <a:gd name="connsiteX2" fmla="*/ 8411265 w 8411783"/>
              <a:gd name="connsiteY2" fmla="*/ 2506997 h 2915922"/>
              <a:gd name="connsiteX3" fmla="*/ 7668987 w 8411783"/>
              <a:gd name="connsiteY3" fmla="*/ 2915922 h 2915922"/>
              <a:gd name="connsiteX4" fmla="*/ 0 w 8411783"/>
              <a:gd name="connsiteY4" fmla="*/ 2915921 h 2915922"/>
              <a:gd name="connsiteX5" fmla="*/ 0 w 8411783"/>
              <a:gd name="connsiteY5" fmla="*/ 0 h 2915922"/>
              <a:gd name="connsiteX0" fmla="*/ 0 w 8411781"/>
              <a:gd name="connsiteY0" fmla="*/ 0 h 2918516"/>
              <a:gd name="connsiteX1" fmla="*/ 8411266 w 8411781"/>
              <a:gd name="connsiteY1" fmla="*/ 0 h 2918516"/>
              <a:gd name="connsiteX2" fmla="*/ 8411265 w 8411781"/>
              <a:gd name="connsiteY2" fmla="*/ 2506997 h 2918516"/>
              <a:gd name="connsiteX3" fmla="*/ 7431649 w 8411781"/>
              <a:gd name="connsiteY3" fmla="*/ 2918516 h 2918516"/>
              <a:gd name="connsiteX4" fmla="*/ 0 w 8411781"/>
              <a:gd name="connsiteY4" fmla="*/ 2915921 h 2918516"/>
              <a:gd name="connsiteX5" fmla="*/ 0 w 8411781"/>
              <a:gd name="connsiteY5" fmla="*/ 0 h 2918516"/>
              <a:gd name="connsiteX0" fmla="*/ 0 w 8411783"/>
              <a:gd name="connsiteY0" fmla="*/ 0 h 2921109"/>
              <a:gd name="connsiteX1" fmla="*/ 8411266 w 8411783"/>
              <a:gd name="connsiteY1" fmla="*/ 0 h 2921109"/>
              <a:gd name="connsiteX2" fmla="*/ 8411265 w 8411783"/>
              <a:gd name="connsiteY2" fmla="*/ 2506997 h 2921109"/>
              <a:gd name="connsiteX3" fmla="*/ 7431649 w 8411783"/>
              <a:gd name="connsiteY3" fmla="*/ 2918516 h 2921109"/>
              <a:gd name="connsiteX4" fmla="*/ 0 w 8411783"/>
              <a:gd name="connsiteY4" fmla="*/ 2921109 h 2921109"/>
              <a:gd name="connsiteX5" fmla="*/ 0 w 8411783"/>
              <a:gd name="connsiteY5" fmla="*/ 0 h 2921109"/>
              <a:gd name="connsiteX0" fmla="*/ 0 w 8412159"/>
              <a:gd name="connsiteY0" fmla="*/ 0 h 2921109"/>
              <a:gd name="connsiteX1" fmla="*/ 8411266 w 8412159"/>
              <a:gd name="connsiteY1" fmla="*/ 0 h 2921109"/>
              <a:gd name="connsiteX2" fmla="*/ 8411265 w 8412159"/>
              <a:gd name="connsiteY2" fmla="*/ 2506997 h 2921109"/>
              <a:gd name="connsiteX3" fmla="*/ 7431649 w 8412159"/>
              <a:gd name="connsiteY3" fmla="*/ 2918516 h 2921109"/>
              <a:gd name="connsiteX4" fmla="*/ 0 w 8412159"/>
              <a:gd name="connsiteY4" fmla="*/ 2921109 h 2921109"/>
              <a:gd name="connsiteX5" fmla="*/ 0 w 8412159"/>
              <a:gd name="connsiteY5" fmla="*/ 0 h 2921109"/>
              <a:gd name="connsiteX0" fmla="*/ 13562 w 8412159"/>
              <a:gd name="connsiteY0" fmla="*/ 0 h 2921109"/>
              <a:gd name="connsiteX1" fmla="*/ 8411266 w 8412159"/>
              <a:gd name="connsiteY1" fmla="*/ 0 h 2921109"/>
              <a:gd name="connsiteX2" fmla="*/ 8411265 w 8412159"/>
              <a:gd name="connsiteY2" fmla="*/ 2506997 h 2921109"/>
              <a:gd name="connsiteX3" fmla="*/ 7431649 w 8412159"/>
              <a:gd name="connsiteY3" fmla="*/ 2918516 h 2921109"/>
              <a:gd name="connsiteX4" fmla="*/ 0 w 8412159"/>
              <a:gd name="connsiteY4" fmla="*/ 2921109 h 2921109"/>
              <a:gd name="connsiteX5" fmla="*/ 13562 w 8412159"/>
              <a:gd name="connsiteY5" fmla="*/ 0 h 2921109"/>
              <a:gd name="connsiteX0" fmla="*/ 13562 w 8415929"/>
              <a:gd name="connsiteY0" fmla="*/ 0 h 2922720"/>
              <a:gd name="connsiteX1" fmla="*/ 8411266 w 8415929"/>
              <a:gd name="connsiteY1" fmla="*/ 0 h 2922720"/>
              <a:gd name="connsiteX2" fmla="*/ 8411265 w 8415929"/>
              <a:gd name="connsiteY2" fmla="*/ 2506997 h 2922720"/>
              <a:gd name="connsiteX3" fmla="*/ 7514079 w 8415929"/>
              <a:gd name="connsiteY3" fmla="*/ 2922720 h 2922720"/>
              <a:gd name="connsiteX4" fmla="*/ 0 w 8415929"/>
              <a:gd name="connsiteY4" fmla="*/ 2921109 h 2922720"/>
              <a:gd name="connsiteX5" fmla="*/ 13562 w 8415929"/>
              <a:gd name="connsiteY5" fmla="*/ 0 h 2922720"/>
              <a:gd name="connsiteX0" fmla="*/ 13562 w 8415929"/>
              <a:gd name="connsiteY0" fmla="*/ 0 h 2922720"/>
              <a:gd name="connsiteX1" fmla="*/ 8411266 w 8415929"/>
              <a:gd name="connsiteY1" fmla="*/ 0 h 2922720"/>
              <a:gd name="connsiteX2" fmla="*/ 8411265 w 8415929"/>
              <a:gd name="connsiteY2" fmla="*/ 2481772 h 2922720"/>
              <a:gd name="connsiteX3" fmla="*/ 7514079 w 8415929"/>
              <a:gd name="connsiteY3" fmla="*/ 2922720 h 2922720"/>
              <a:gd name="connsiteX4" fmla="*/ 0 w 8415929"/>
              <a:gd name="connsiteY4" fmla="*/ 2921109 h 2922720"/>
              <a:gd name="connsiteX5" fmla="*/ 13562 w 8415929"/>
              <a:gd name="connsiteY5" fmla="*/ 0 h 2922720"/>
              <a:gd name="connsiteX0" fmla="*/ 13562 w 8414282"/>
              <a:gd name="connsiteY0" fmla="*/ 0 h 2922720"/>
              <a:gd name="connsiteX1" fmla="*/ 8411266 w 8414282"/>
              <a:gd name="connsiteY1" fmla="*/ 0 h 2922720"/>
              <a:gd name="connsiteX2" fmla="*/ 8411265 w 8414282"/>
              <a:gd name="connsiteY2" fmla="*/ 2481772 h 2922720"/>
              <a:gd name="connsiteX3" fmla="*/ 7514079 w 8414282"/>
              <a:gd name="connsiteY3" fmla="*/ 2922720 h 2922720"/>
              <a:gd name="connsiteX4" fmla="*/ 0 w 8414282"/>
              <a:gd name="connsiteY4" fmla="*/ 2921109 h 2922720"/>
              <a:gd name="connsiteX5" fmla="*/ 13562 w 8414282"/>
              <a:gd name="connsiteY5" fmla="*/ 0 h 2922720"/>
              <a:gd name="connsiteX0" fmla="*/ 13562 w 8418988"/>
              <a:gd name="connsiteY0" fmla="*/ 0 h 2926924"/>
              <a:gd name="connsiteX1" fmla="*/ 8411266 w 8418988"/>
              <a:gd name="connsiteY1" fmla="*/ 0 h 2926924"/>
              <a:gd name="connsiteX2" fmla="*/ 8411265 w 8418988"/>
              <a:gd name="connsiteY2" fmla="*/ 2481772 h 2926924"/>
              <a:gd name="connsiteX3" fmla="*/ 7567541 w 8418988"/>
              <a:gd name="connsiteY3" fmla="*/ 2926924 h 2926924"/>
              <a:gd name="connsiteX4" fmla="*/ 0 w 8418988"/>
              <a:gd name="connsiteY4" fmla="*/ 2921109 h 2926924"/>
              <a:gd name="connsiteX5" fmla="*/ 13562 w 8418988"/>
              <a:gd name="connsiteY5" fmla="*/ 0 h 2926924"/>
              <a:gd name="connsiteX0" fmla="*/ 13562 w 8411933"/>
              <a:gd name="connsiteY0" fmla="*/ 0 h 2926924"/>
              <a:gd name="connsiteX1" fmla="*/ 8411266 w 8411933"/>
              <a:gd name="connsiteY1" fmla="*/ 0 h 2926924"/>
              <a:gd name="connsiteX2" fmla="*/ 8411265 w 8411933"/>
              <a:gd name="connsiteY2" fmla="*/ 2481772 h 2926924"/>
              <a:gd name="connsiteX3" fmla="*/ 7567541 w 8411933"/>
              <a:gd name="connsiteY3" fmla="*/ 2926924 h 2926924"/>
              <a:gd name="connsiteX4" fmla="*/ 0 w 8411933"/>
              <a:gd name="connsiteY4" fmla="*/ 2921109 h 2926924"/>
              <a:gd name="connsiteX5" fmla="*/ 13562 w 8411933"/>
              <a:gd name="connsiteY5" fmla="*/ 0 h 2926924"/>
              <a:gd name="connsiteX0" fmla="*/ 2313266 w 8411933"/>
              <a:gd name="connsiteY0" fmla="*/ 0 h 3278300"/>
              <a:gd name="connsiteX1" fmla="*/ 8411266 w 8411933"/>
              <a:gd name="connsiteY1" fmla="*/ 351376 h 3278300"/>
              <a:gd name="connsiteX2" fmla="*/ 8411265 w 8411933"/>
              <a:gd name="connsiteY2" fmla="*/ 2833148 h 3278300"/>
              <a:gd name="connsiteX3" fmla="*/ 7567541 w 8411933"/>
              <a:gd name="connsiteY3" fmla="*/ 3278300 h 3278300"/>
              <a:gd name="connsiteX4" fmla="*/ 0 w 8411933"/>
              <a:gd name="connsiteY4" fmla="*/ 3272485 h 3278300"/>
              <a:gd name="connsiteX5" fmla="*/ 2313266 w 8411933"/>
              <a:gd name="connsiteY5" fmla="*/ 0 h 3278300"/>
              <a:gd name="connsiteX0" fmla="*/ 1267 w 6099934"/>
              <a:gd name="connsiteY0" fmla="*/ 0 h 3278300"/>
              <a:gd name="connsiteX1" fmla="*/ 6099267 w 6099934"/>
              <a:gd name="connsiteY1" fmla="*/ 351376 h 3278300"/>
              <a:gd name="connsiteX2" fmla="*/ 6099266 w 6099934"/>
              <a:gd name="connsiteY2" fmla="*/ 2833148 h 3278300"/>
              <a:gd name="connsiteX3" fmla="*/ 5255542 w 6099934"/>
              <a:gd name="connsiteY3" fmla="*/ 3278300 h 3278300"/>
              <a:gd name="connsiteX4" fmla="*/ 1602 w 6099934"/>
              <a:gd name="connsiteY4" fmla="*/ 3276184 h 3278300"/>
              <a:gd name="connsiteX5" fmla="*/ 1267 w 6099934"/>
              <a:gd name="connsiteY5" fmla="*/ 0 h 3278300"/>
              <a:gd name="connsiteX0" fmla="*/ 1267 w 6099934"/>
              <a:gd name="connsiteY0" fmla="*/ 0 h 3278300"/>
              <a:gd name="connsiteX1" fmla="*/ 6099267 w 6099934"/>
              <a:gd name="connsiteY1" fmla="*/ 3698 h 3278300"/>
              <a:gd name="connsiteX2" fmla="*/ 6099266 w 6099934"/>
              <a:gd name="connsiteY2" fmla="*/ 2833148 h 3278300"/>
              <a:gd name="connsiteX3" fmla="*/ 5255542 w 6099934"/>
              <a:gd name="connsiteY3" fmla="*/ 3278300 h 3278300"/>
              <a:gd name="connsiteX4" fmla="*/ 1602 w 6099934"/>
              <a:gd name="connsiteY4" fmla="*/ 3276184 h 3278300"/>
              <a:gd name="connsiteX5" fmla="*/ 1267 w 6099934"/>
              <a:gd name="connsiteY5" fmla="*/ 0 h 3278300"/>
              <a:gd name="connsiteX0" fmla="*/ -1 w 6098666"/>
              <a:gd name="connsiteY0" fmla="*/ 0 h 3278300"/>
              <a:gd name="connsiteX1" fmla="*/ 6097999 w 6098666"/>
              <a:gd name="connsiteY1" fmla="*/ 3698 h 3278300"/>
              <a:gd name="connsiteX2" fmla="*/ 6097998 w 6098666"/>
              <a:gd name="connsiteY2" fmla="*/ 2833148 h 3278300"/>
              <a:gd name="connsiteX3" fmla="*/ 5254274 w 6098666"/>
              <a:gd name="connsiteY3" fmla="*/ 3278300 h 3278300"/>
              <a:gd name="connsiteX4" fmla="*/ 334 w 6098666"/>
              <a:gd name="connsiteY4" fmla="*/ 3276184 h 3278300"/>
              <a:gd name="connsiteX5" fmla="*/ -1 w 6098666"/>
              <a:gd name="connsiteY5" fmla="*/ 0 h 3278300"/>
              <a:gd name="connsiteX0" fmla="*/ 1 w 6098668"/>
              <a:gd name="connsiteY0" fmla="*/ 0 h 3278300"/>
              <a:gd name="connsiteX1" fmla="*/ 6098001 w 6098668"/>
              <a:gd name="connsiteY1" fmla="*/ 3698 h 3278300"/>
              <a:gd name="connsiteX2" fmla="*/ 6098000 w 6098668"/>
              <a:gd name="connsiteY2" fmla="*/ 2833148 h 3278300"/>
              <a:gd name="connsiteX3" fmla="*/ 5254276 w 6098668"/>
              <a:gd name="connsiteY3" fmla="*/ 3278300 h 3278300"/>
              <a:gd name="connsiteX4" fmla="*/ 336 w 6098668"/>
              <a:gd name="connsiteY4" fmla="*/ 3276184 h 3278300"/>
              <a:gd name="connsiteX5" fmla="*/ 1 w 6098668"/>
              <a:gd name="connsiteY5" fmla="*/ 0 h 3278300"/>
              <a:gd name="connsiteX0" fmla="*/ -1 w 6098666"/>
              <a:gd name="connsiteY0" fmla="*/ 0 h 3278300"/>
              <a:gd name="connsiteX1" fmla="*/ 6097999 w 6098666"/>
              <a:gd name="connsiteY1" fmla="*/ 3698 h 3278300"/>
              <a:gd name="connsiteX2" fmla="*/ 6097998 w 6098666"/>
              <a:gd name="connsiteY2" fmla="*/ 2833148 h 3278300"/>
              <a:gd name="connsiteX3" fmla="*/ 5254274 w 6098666"/>
              <a:gd name="connsiteY3" fmla="*/ 3278300 h 3278300"/>
              <a:gd name="connsiteX4" fmla="*/ 334 w 6098666"/>
              <a:gd name="connsiteY4" fmla="*/ 3276184 h 3278300"/>
              <a:gd name="connsiteX5" fmla="*/ -1 w 6098666"/>
              <a:gd name="connsiteY5" fmla="*/ 0 h 3278300"/>
              <a:gd name="connsiteX0" fmla="*/ 1 w 6098796"/>
              <a:gd name="connsiteY0" fmla="*/ 0 h 3278300"/>
              <a:gd name="connsiteX1" fmla="*/ 6098001 w 6098796"/>
              <a:gd name="connsiteY1" fmla="*/ 3698 h 3278300"/>
              <a:gd name="connsiteX2" fmla="*/ 6098000 w 6098796"/>
              <a:gd name="connsiteY2" fmla="*/ 2833148 h 3278300"/>
              <a:gd name="connsiteX3" fmla="*/ 5254276 w 6098796"/>
              <a:gd name="connsiteY3" fmla="*/ 3278300 h 3278300"/>
              <a:gd name="connsiteX4" fmla="*/ 336 w 6098796"/>
              <a:gd name="connsiteY4" fmla="*/ 3276184 h 3278300"/>
              <a:gd name="connsiteX5" fmla="*/ 1 w 6098796"/>
              <a:gd name="connsiteY5" fmla="*/ 0 h 3278300"/>
              <a:gd name="connsiteX0" fmla="*/ -1 w 6098794"/>
              <a:gd name="connsiteY0" fmla="*/ 0 h 3276184"/>
              <a:gd name="connsiteX1" fmla="*/ 6097999 w 6098794"/>
              <a:gd name="connsiteY1" fmla="*/ 3698 h 3276184"/>
              <a:gd name="connsiteX2" fmla="*/ 6097998 w 6098794"/>
              <a:gd name="connsiteY2" fmla="*/ 2833148 h 3276184"/>
              <a:gd name="connsiteX3" fmla="*/ 3259278 w 6098794"/>
              <a:gd name="connsiteY3" fmla="*/ 3273473 h 3276184"/>
              <a:gd name="connsiteX4" fmla="*/ 334 w 6098794"/>
              <a:gd name="connsiteY4" fmla="*/ 3276184 h 3276184"/>
              <a:gd name="connsiteX5" fmla="*/ -1 w 6098794"/>
              <a:gd name="connsiteY5" fmla="*/ 0 h 3276184"/>
              <a:gd name="connsiteX0" fmla="*/ 1 w 6098000"/>
              <a:gd name="connsiteY0" fmla="*/ 0 h 3276184"/>
              <a:gd name="connsiteX1" fmla="*/ 6098001 w 6098000"/>
              <a:gd name="connsiteY1" fmla="*/ 3698 h 3276184"/>
              <a:gd name="connsiteX2" fmla="*/ 6079864 w 6098000"/>
              <a:gd name="connsiteY2" fmla="*/ 2529014 h 3276184"/>
              <a:gd name="connsiteX3" fmla="*/ 3259280 w 6098000"/>
              <a:gd name="connsiteY3" fmla="*/ 3273473 h 3276184"/>
              <a:gd name="connsiteX4" fmla="*/ 336 w 6098000"/>
              <a:gd name="connsiteY4" fmla="*/ 3276184 h 3276184"/>
              <a:gd name="connsiteX5" fmla="*/ 1 w 6098000"/>
              <a:gd name="connsiteY5" fmla="*/ 0 h 3276184"/>
              <a:gd name="connsiteX0" fmla="*/ 8737 w 6106737"/>
              <a:gd name="connsiteY0" fmla="*/ 0 h 3273473"/>
              <a:gd name="connsiteX1" fmla="*/ 6106737 w 6106737"/>
              <a:gd name="connsiteY1" fmla="*/ 3698 h 3273473"/>
              <a:gd name="connsiteX2" fmla="*/ 6088600 w 6106737"/>
              <a:gd name="connsiteY2" fmla="*/ 2529014 h 3273473"/>
              <a:gd name="connsiteX3" fmla="*/ 3268016 w 6106737"/>
              <a:gd name="connsiteY3" fmla="*/ 3273473 h 3273473"/>
              <a:gd name="connsiteX4" fmla="*/ 3 w 6106737"/>
              <a:gd name="connsiteY4" fmla="*/ 2329989 h 3273473"/>
              <a:gd name="connsiteX5" fmla="*/ 8737 w 6106737"/>
              <a:gd name="connsiteY5" fmla="*/ 0 h 3273473"/>
              <a:gd name="connsiteX0" fmla="*/ 335189 w 6106735"/>
              <a:gd name="connsiteY0" fmla="*/ 454917 h 3269775"/>
              <a:gd name="connsiteX1" fmla="*/ 6106735 w 6106735"/>
              <a:gd name="connsiteY1" fmla="*/ 0 h 3269775"/>
              <a:gd name="connsiteX2" fmla="*/ 6088598 w 6106735"/>
              <a:gd name="connsiteY2" fmla="*/ 2525316 h 3269775"/>
              <a:gd name="connsiteX3" fmla="*/ 3268014 w 6106735"/>
              <a:gd name="connsiteY3" fmla="*/ 3269775 h 3269775"/>
              <a:gd name="connsiteX4" fmla="*/ 1 w 6106735"/>
              <a:gd name="connsiteY4" fmla="*/ 2326291 h 3269775"/>
              <a:gd name="connsiteX5" fmla="*/ 335189 w 6106735"/>
              <a:gd name="connsiteY5" fmla="*/ 454917 h 3269775"/>
              <a:gd name="connsiteX0" fmla="*/ 335189 w 6106735"/>
              <a:gd name="connsiteY0" fmla="*/ 454917 h 3269775"/>
              <a:gd name="connsiteX1" fmla="*/ 3432891 w 6106735"/>
              <a:gd name="connsiteY1" fmla="*/ 205873 h 3269775"/>
              <a:gd name="connsiteX2" fmla="*/ 6106735 w 6106735"/>
              <a:gd name="connsiteY2" fmla="*/ 0 h 3269775"/>
              <a:gd name="connsiteX3" fmla="*/ 6088598 w 6106735"/>
              <a:gd name="connsiteY3" fmla="*/ 2525316 h 3269775"/>
              <a:gd name="connsiteX4" fmla="*/ 3268014 w 6106735"/>
              <a:gd name="connsiteY4" fmla="*/ 3269775 h 3269775"/>
              <a:gd name="connsiteX5" fmla="*/ 1 w 6106735"/>
              <a:gd name="connsiteY5" fmla="*/ 2326291 h 3269775"/>
              <a:gd name="connsiteX6" fmla="*/ 335189 w 6106735"/>
              <a:gd name="connsiteY6" fmla="*/ 454917 h 3269775"/>
              <a:gd name="connsiteX0" fmla="*/ 335189 w 6106735"/>
              <a:gd name="connsiteY0" fmla="*/ 454917 h 3269775"/>
              <a:gd name="connsiteX1" fmla="*/ 3260597 w 6106735"/>
              <a:gd name="connsiteY1" fmla="*/ 22428 h 3269775"/>
              <a:gd name="connsiteX2" fmla="*/ 6106735 w 6106735"/>
              <a:gd name="connsiteY2" fmla="*/ 0 h 3269775"/>
              <a:gd name="connsiteX3" fmla="*/ 6088598 w 6106735"/>
              <a:gd name="connsiteY3" fmla="*/ 2525316 h 3269775"/>
              <a:gd name="connsiteX4" fmla="*/ 3268014 w 6106735"/>
              <a:gd name="connsiteY4" fmla="*/ 3269775 h 3269775"/>
              <a:gd name="connsiteX5" fmla="*/ 1 w 6106735"/>
              <a:gd name="connsiteY5" fmla="*/ 2326291 h 3269775"/>
              <a:gd name="connsiteX6" fmla="*/ 335189 w 6106735"/>
              <a:gd name="connsiteY6" fmla="*/ 454917 h 3269775"/>
              <a:gd name="connsiteX0" fmla="*/ 335189 w 6124871"/>
              <a:gd name="connsiteY0" fmla="*/ 432489 h 3247347"/>
              <a:gd name="connsiteX1" fmla="*/ 3260597 w 6124871"/>
              <a:gd name="connsiteY1" fmla="*/ 0 h 3247347"/>
              <a:gd name="connsiteX2" fmla="*/ 6124871 w 6124871"/>
              <a:gd name="connsiteY2" fmla="*/ 281705 h 3247347"/>
              <a:gd name="connsiteX3" fmla="*/ 6088598 w 6124871"/>
              <a:gd name="connsiteY3" fmla="*/ 2502888 h 3247347"/>
              <a:gd name="connsiteX4" fmla="*/ 3268014 w 6124871"/>
              <a:gd name="connsiteY4" fmla="*/ 3247347 h 3247347"/>
              <a:gd name="connsiteX5" fmla="*/ 1 w 6124871"/>
              <a:gd name="connsiteY5" fmla="*/ 2303863 h 3247347"/>
              <a:gd name="connsiteX6" fmla="*/ 335189 w 6124871"/>
              <a:gd name="connsiteY6" fmla="*/ 432489 h 3247347"/>
              <a:gd name="connsiteX0" fmla="*/ 618041 w 6407723"/>
              <a:gd name="connsiteY0" fmla="*/ 432489 h 3247347"/>
              <a:gd name="connsiteX1" fmla="*/ 3543449 w 6407723"/>
              <a:gd name="connsiteY1" fmla="*/ 0 h 3247347"/>
              <a:gd name="connsiteX2" fmla="*/ 6407723 w 6407723"/>
              <a:gd name="connsiteY2" fmla="*/ 281705 h 3247347"/>
              <a:gd name="connsiteX3" fmla="*/ 6371450 w 6407723"/>
              <a:gd name="connsiteY3" fmla="*/ 2502888 h 3247347"/>
              <a:gd name="connsiteX4" fmla="*/ 3550866 w 6407723"/>
              <a:gd name="connsiteY4" fmla="*/ 3247347 h 3247347"/>
              <a:gd name="connsiteX5" fmla="*/ 282853 w 6407723"/>
              <a:gd name="connsiteY5" fmla="*/ 2303863 h 3247347"/>
              <a:gd name="connsiteX6" fmla="*/ 618041 w 6407723"/>
              <a:gd name="connsiteY6" fmla="*/ 432489 h 3247347"/>
              <a:gd name="connsiteX0" fmla="*/ 512943 w 6302625"/>
              <a:gd name="connsiteY0" fmla="*/ 432489 h 3247347"/>
              <a:gd name="connsiteX1" fmla="*/ 3438351 w 6302625"/>
              <a:gd name="connsiteY1" fmla="*/ 0 h 3247347"/>
              <a:gd name="connsiteX2" fmla="*/ 6302625 w 6302625"/>
              <a:gd name="connsiteY2" fmla="*/ 281705 h 3247347"/>
              <a:gd name="connsiteX3" fmla="*/ 6266352 w 6302625"/>
              <a:gd name="connsiteY3" fmla="*/ 2502888 h 3247347"/>
              <a:gd name="connsiteX4" fmla="*/ 3445768 w 6302625"/>
              <a:gd name="connsiteY4" fmla="*/ 3247347 h 3247347"/>
              <a:gd name="connsiteX5" fmla="*/ 177755 w 6302625"/>
              <a:gd name="connsiteY5" fmla="*/ 2303863 h 3247347"/>
              <a:gd name="connsiteX6" fmla="*/ 512943 w 6302625"/>
              <a:gd name="connsiteY6" fmla="*/ 432489 h 3247347"/>
              <a:gd name="connsiteX0" fmla="*/ 512943 w 6302625"/>
              <a:gd name="connsiteY0" fmla="*/ 432489 h 3283326"/>
              <a:gd name="connsiteX1" fmla="*/ 3438351 w 6302625"/>
              <a:gd name="connsiteY1" fmla="*/ 0 h 3283326"/>
              <a:gd name="connsiteX2" fmla="*/ 6302625 w 6302625"/>
              <a:gd name="connsiteY2" fmla="*/ 281705 h 3283326"/>
              <a:gd name="connsiteX3" fmla="*/ 6266352 w 6302625"/>
              <a:gd name="connsiteY3" fmla="*/ 2502888 h 3283326"/>
              <a:gd name="connsiteX4" fmla="*/ 3445768 w 6302625"/>
              <a:gd name="connsiteY4" fmla="*/ 3247347 h 3283326"/>
              <a:gd name="connsiteX5" fmla="*/ 177755 w 6302625"/>
              <a:gd name="connsiteY5" fmla="*/ 2303863 h 3283326"/>
              <a:gd name="connsiteX6" fmla="*/ 512943 w 6302625"/>
              <a:gd name="connsiteY6" fmla="*/ 432489 h 3283326"/>
              <a:gd name="connsiteX0" fmla="*/ 512943 w 6302625"/>
              <a:gd name="connsiteY0" fmla="*/ 432489 h 3283326"/>
              <a:gd name="connsiteX1" fmla="*/ 3438351 w 6302625"/>
              <a:gd name="connsiteY1" fmla="*/ 0 h 3283326"/>
              <a:gd name="connsiteX2" fmla="*/ 6302625 w 6302625"/>
              <a:gd name="connsiteY2" fmla="*/ 281705 h 3283326"/>
              <a:gd name="connsiteX3" fmla="*/ 6266352 w 6302625"/>
              <a:gd name="connsiteY3" fmla="*/ 2502888 h 3283326"/>
              <a:gd name="connsiteX4" fmla="*/ 3445768 w 6302625"/>
              <a:gd name="connsiteY4" fmla="*/ 3247347 h 3283326"/>
              <a:gd name="connsiteX5" fmla="*/ 177755 w 6302625"/>
              <a:gd name="connsiteY5" fmla="*/ 2303863 h 3283326"/>
              <a:gd name="connsiteX6" fmla="*/ 512943 w 6302625"/>
              <a:gd name="connsiteY6" fmla="*/ 432489 h 3283326"/>
              <a:gd name="connsiteX0" fmla="*/ 512943 w 6424948"/>
              <a:gd name="connsiteY0" fmla="*/ 432489 h 3283326"/>
              <a:gd name="connsiteX1" fmla="*/ 3438351 w 6424948"/>
              <a:gd name="connsiteY1" fmla="*/ 0 h 3283326"/>
              <a:gd name="connsiteX2" fmla="*/ 6302625 w 6424948"/>
              <a:gd name="connsiteY2" fmla="*/ 281705 h 3283326"/>
              <a:gd name="connsiteX3" fmla="*/ 6266352 w 6424948"/>
              <a:gd name="connsiteY3" fmla="*/ 2502888 h 3283326"/>
              <a:gd name="connsiteX4" fmla="*/ 3445768 w 6424948"/>
              <a:gd name="connsiteY4" fmla="*/ 3247347 h 3283326"/>
              <a:gd name="connsiteX5" fmla="*/ 177755 w 6424948"/>
              <a:gd name="connsiteY5" fmla="*/ 2303863 h 3283326"/>
              <a:gd name="connsiteX6" fmla="*/ 512943 w 642494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47782"/>
              <a:gd name="connsiteX1" fmla="*/ 3438351 w 6506888"/>
              <a:gd name="connsiteY1" fmla="*/ 0 h 3247782"/>
              <a:gd name="connsiteX2" fmla="*/ 6302625 w 6506888"/>
              <a:gd name="connsiteY2" fmla="*/ 281705 h 3247782"/>
              <a:gd name="connsiteX3" fmla="*/ 6266352 w 6506888"/>
              <a:gd name="connsiteY3" fmla="*/ 2502888 h 3247782"/>
              <a:gd name="connsiteX4" fmla="*/ 3445768 w 6506888"/>
              <a:gd name="connsiteY4" fmla="*/ 3247347 h 3247782"/>
              <a:gd name="connsiteX5" fmla="*/ 177755 w 6506888"/>
              <a:gd name="connsiteY5" fmla="*/ 2303863 h 3247782"/>
              <a:gd name="connsiteX6" fmla="*/ 512943 w 6506888"/>
              <a:gd name="connsiteY6" fmla="*/ 432489 h 3247782"/>
              <a:gd name="connsiteX0" fmla="*/ 512943 w 6640245"/>
              <a:gd name="connsiteY0" fmla="*/ 464431 h 3279724"/>
              <a:gd name="connsiteX1" fmla="*/ 3438351 w 6640245"/>
              <a:gd name="connsiteY1" fmla="*/ 31942 h 3279724"/>
              <a:gd name="connsiteX2" fmla="*/ 6302625 w 6640245"/>
              <a:gd name="connsiteY2" fmla="*/ 313647 h 3279724"/>
              <a:gd name="connsiteX3" fmla="*/ 6266352 w 6640245"/>
              <a:gd name="connsiteY3" fmla="*/ 2534830 h 3279724"/>
              <a:gd name="connsiteX4" fmla="*/ 3445768 w 6640245"/>
              <a:gd name="connsiteY4" fmla="*/ 3279289 h 3279724"/>
              <a:gd name="connsiteX5" fmla="*/ 177755 w 6640245"/>
              <a:gd name="connsiteY5" fmla="*/ 2335805 h 3279724"/>
              <a:gd name="connsiteX6" fmla="*/ 512943 w 6640245"/>
              <a:gd name="connsiteY6" fmla="*/ 464431 h 3279724"/>
              <a:gd name="connsiteX0" fmla="*/ 512943 w 6640245"/>
              <a:gd name="connsiteY0" fmla="*/ 435033 h 3250326"/>
              <a:gd name="connsiteX1" fmla="*/ 3438351 w 6640245"/>
              <a:gd name="connsiteY1" fmla="*/ 2544 h 3250326"/>
              <a:gd name="connsiteX2" fmla="*/ 6302625 w 6640245"/>
              <a:gd name="connsiteY2" fmla="*/ 284249 h 3250326"/>
              <a:gd name="connsiteX3" fmla="*/ 6266352 w 6640245"/>
              <a:gd name="connsiteY3" fmla="*/ 2505432 h 3250326"/>
              <a:gd name="connsiteX4" fmla="*/ 3445768 w 6640245"/>
              <a:gd name="connsiteY4" fmla="*/ 3249891 h 3250326"/>
              <a:gd name="connsiteX5" fmla="*/ 177755 w 6640245"/>
              <a:gd name="connsiteY5" fmla="*/ 2306407 h 3250326"/>
              <a:gd name="connsiteX6" fmla="*/ 512943 w 6640245"/>
              <a:gd name="connsiteY6" fmla="*/ 435033 h 3250326"/>
              <a:gd name="connsiteX0" fmla="*/ 512943 w 6481361"/>
              <a:gd name="connsiteY0" fmla="*/ 435033 h 3250326"/>
              <a:gd name="connsiteX1" fmla="*/ 3438351 w 6481361"/>
              <a:gd name="connsiteY1" fmla="*/ 2544 h 3250326"/>
              <a:gd name="connsiteX2" fmla="*/ 6302625 w 6481361"/>
              <a:gd name="connsiteY2" fmla="*/ 284249 h 3250326"/>
              <a:gd name="connsiteX3" fmla="*/ 6266352 w 6481361"/>
              <a:gd name="connsiteY3" fmla="*/ 2505432 h 3250326"/>
              <a:gd name="connsiteX4" fmla="*/ 3445768 w 6481361"/>
              <a:gd name="connsiteY4" fmla="*/ 3249891 h 3250326"/>
              <a:gd name="connsiteX5" fmla="*/ 177755 w 6481361"/>
              <a:gd name="connsiteY5" fmla="*/ 2306407 h 3250326"/>
              <a:gd name="connsiteX6" fmla="*/ 512943 w 6481361"/>
              <a:gd name="connsiteY6" fmla="*/ 435033 h 3250326"/>
              <a:gd name="connsiteX0" fmla="*/ 512943 w 6481363"/>
              <a:gd name="connsiteY0" fmla="*/ 435033 h 3250326"/>
              <a:gd name="connsiteX1" fmla="*/ 3438351 w 6481363"/>
              <a:gd name="connsiteY1" fmla="*/ 2544 h 3250326"/>
              <a:gd name="connsiteX2" fmla="*/ 6302625 w 6481363"/>
              <a:gd name="connsiteY2" fmla="*/ 284249 h 3250326"/>
              <a:gd name="connsiteX3" fmla="*/ 6266352 w 6481363"/>
              <a:gd name="connsiteY3" fmla="*/ 2505432 h 3250326"/>
              <a:gd name="connsiteX4" fmla="*/ 3445768 w 6481363"/>
              <a:gd name="connsiteY4" fmla="*/ 3249891 h 3250326"/>
              <a:gd name="connsiteX5" fmla="*/ 177755 w 6481363"/>
              <a:gd name="connsiteY5" fmla="*/ 2306407 h 3250326"/>
              <a:gd name="connsiteX6" fmla="*/ 512943 w 6481363"/>
              <a:gd name="connsiteY6" fmla="*/ 435033 h 3250326"/>
              <a:gd name="connsiteX0" fmla="*/ 512943 w 6481361"/>
              <a:gd name="connsiteY0" fmla="*/ 434187 h 3249480"/>
              <a:gd name="connsiteX1" fmla="*/ 3438351 w 6481361"/>
              <a:gd name="connsiteY1" fmla="*/ 1698 h 3249480"/>
              <a:gd name="connsiteX2" fmla="*/ 6302625 w 6481361"/>
              <a:gd name="connsiteY2" fmla="*/ 283403 h 3249480"/>
              <a:gd name="connsiteX3" fmla="*/ 6266352 w 6481361"/>
              <a:gd name="connsiteY3" fmla="*/ 2504586 h 3249480"/>
              <a:gd name="connsiteX4" fmla="*/ 3445768 w 6481361"/>
              <a:gd name="connsiteY4" fmla="*/ 3249045 h 3249480"/>
              <a:gd name="connsiteX5" fmla="*/ 177755 w 6481361"/>
              <a:gd name="connsiteY5" fmla="*/ 2305561 h 3249480"/>
              <a:gd name="connsiteX6" fmla="*/ 512943 w 6481361"/>
              <a:gd name="connsiteY6" fmla="*/ 434187 h 3249480"/>
              <a:gd name="connsiteX0" fmla="*/ 512943 w 6481363"/>
              <a:gd name="connsiteY0" fmla="*/ 435032 h 3250325"/>
              <a:gd name="connsiteX1" fmla="*/ 3438351 w 6481363"/>
              <a:gd name="connsiteY1" fmla="*/ 2543 h 3250325"/>
              <a:gd name="connsiteX2" fmla="*/ 6302625 w 6481363"/>
              <a:gd name="connsiteY2" fmla="*/ 284248 h 3250325"/>
              <a:gd name="connsiteX3" fmla="*/ 6266352 w 6481363"/>
              <a:gd name="connsiteY3" fmla="*/ 2505431 h 3250325"/>
              <a:gd name="connsiteX4" fmla="*/ 3445768 w 6481363"/>
              <a:gd name="connsiteY4" fmla="*/ 3249890 h 3250325"/>
              <a:gd name="connsiteX5" fmla="*/ 177755 w 6481363"/>
              <a:gd name="connsiteY5" fmla="*/ 2306406 h 3250325"/>
              <a:gd name="connsiteX6" fmla="*/ 512943 w 6481363"/>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356750 w 6146432"/>
              <a:gd name="connsiteY0" fmla="*/ 435032 h 3250325"/>
              <a:gd name="connsiteX1" fmla="*/ 3282158 w 6146432"/>
              <a:gd name="connsiteY1" fmla="*/ 2543 h 3250325"/>
              <a:gd name="connsiteX2" fmla="*/ 6146432 w 6146432"/>
              <a:gd name="connsiteY2" fmla="*/ 284248 h 3250325"/>
              <a:gd name="connsiteX3" fmla="*/ 6110159 w 6146432"/>
              <a:gd name="connsiteY3" fmla="*/ 2505431 h 3250325"/>
              <a:gd name="connsiteX4" fmla="*/ 3289575 w 6146432"/>
              <a:gd name="connsiteY4" fmla="*/ 3249890 h 3250325"/>
              <a:gd name="connsiteX5" fmla="*/ 21562 w 6146432"/>
              <a:gd name="connsiteY5" fmla="*/ 2306406 h 3250325"/>
              <a:gd name="connsiteX6" fmla="*/ 356750 w 6146432"/>
              <a:gd name="connsiteY6" fmla="*/ 435032 h 3250325"/>
              <a:gd name="connsiteX0" fmla="*/ 335225 w 6124907"/>
              <a:gd name="connsiteY0" fmla="*/ 435032 h 3250325"/>
              <a:gd name="connsiteX1" fmla="*/ 3260633 w 6124907"/>
              <a:gd name="connsiteY1" fmla="*/ 2543 h 3250325"/>
              <a:gd name="connsiteX2" fmla="*/ 6124907 w 6124907"/>
              <a:gd name="connsiteY2" fmla="*/ 284248 h 3250325"/>
              <a:gd name="connsiteX3" fmla="*/ 6088634 w 6124907"/>
              <a:gd name="connsiteY3" fmla="*/ 2505431 h 3250325"/>
              <a:gd name="connsiteX4" fmla="*/ 3268050 w 6124907"/>
              <a:gd name="connsiteY4" fmla="*/ 3249890 h 3250325"/>
              <a:gd name="connsiteX5" fmla="*/ 37 w 6124907"/>
              <a:gd name="connsiteY5" fmla="*/ 2306406 h 3250325"/>
              <a:gd name="connsiteX6" fmla="*/ 335225 w 6124907"/>
              <a:gd name="connsiteY6" fmla="*/ 435032 h 3250325"/>
              <a:gd name="connsiteX0" fmla="*/ 335225 w 6124907"/>
              <a:gd name="connsiteY0" fmla="*/ 515501 h 3330794"/>
              <a:gd name="connsiteX1" fmla="*/ 3260633 w 6124907"/>
              <a:gd name="connsiteY1" fmla="*/ 83012 h 3330794"/>
              <a:gd name="connsiteX2" fmla="*/ 6124907 w 6124907"/>
              <a:gd name="connsiteY2" fmla="*/ 364717 h 3330794"/>
              <a:gd name="connsiteX3" fmla="*/ 6088634 w 6124907"/>
              <a:gd name="connsiteY3" fmla="*/ 2585900 h 3330794"/>
              <a:gd name="connsiteX4" fmla="*/ 3268050 w 6124907"/>
              <a:gd name="connsiteY4" fmla="*/ 3330359 h 3330794"/>
              <a:gd name="connsiteX5" fmla="*/ 37 w 6124907"/>
              <a:gd name="connsiteY5" fmla="*/ 2386875 h 3330794"/>
              <a:gd name="connsiteX6" fmla="*/ 335225 w 6124907"/>
              <a:gd name="connsiteY6" fmla="*/ 515501 h 3330794"/>
              <a:gd name="connsiteX0" fmla="*/ 335225 w 6124907"/>
              <a:gd name="connsiteY0" fmla="*/ 432489 h 3247782"/>
              <a:gd name="connsiteX1" fmla="*/ 3260633 w 6124907"/>
              <a:gd name="connsiteY1" fmla="*/ 0 h 3247782"/>
              <a:gd name="connsiteX2" fmla="*/ 6124907 w 6124907"/>
              <a:gd name="connsiteY2" fmla="*/ 281705 h 3247782"/>
              <a:gd name="connsiteX3" fmla="*/ 6088634 w 6124907"/>
              <a:gd name="connsiteY3" fmla="*/ 2502888 h 3247782"/>
              <a:gd name="connsiteX4" fmla="*/ 3268050 w 6124907"/>
              <a:gd name="connsiteY4" fmla="*/ 3247347 h 3247782"/>
              <a:gd name="connsiteX5" fmla="*/ 37 w 6124907"/>
              <a:gd name="connsiteY5" fmla="*/ 2303863 h 3247782"/>
              <a:gd name="connsiteX6" fmla="*/ 335225 w 6124907"/>
              <a:gd name="connsiteY6" fmla="*/ 432489 h 3247782"/>
              <a:gd name="connsiteX0" fmla="*/ 335225 w 6223855"/>
              <a:gd name="connsiteY0" fmla="*/ 434186 h 3249479"/>
              <a:gd name="connsiteX1" fmla="*/ 3260633 w 6223855"/>
              <a:gd name="connsiteY1" fmla="*/ 1697 h 3249479"/>
              <a:gd name="connsiteX2" fmla="*/ 6124907 w 6223855"/>
              <a:gd name="connsiteY2" fmla="*/ 283402 h 3249479"/>
              <a:gd name="connsiteX3" fmla="*/ 6088634 w 6223855"/>
              <a:gd name="connsiteY3" fmla="*/ 2504585 h 3249479"/>
              <a:gd name="connsiteX4" fmla="*/ 3268050 w 6223855"/>
              <a:gd name="connsiteY4" fmla="*/ 3249044 h 3249479"/>
              <a:gd name="connsiteX5" fmla="*/ 37 w 6223855"/>
              <a:gd name="connsiteY5" fmla="*/ 2305560 h 3249479"/>
              <a:gd name="connsiteX6" fmla="*/ 335225 w 6223855"/>
              <a:gd name="connsiteY6" fmla="*/ 434186 h 3249479"/>
              <a:gd name="connsiteX0" fmla="*/ 335225 w 6124907"/>
              <a:gd name="connsiteY0" fmla="*/ 435032 h 3250325"/>
              <a:gd name="connsiteX1" fmla="*/ 3260633 w 6124907"/>
              <a:gd name="connsiteY1" fmla="*/ 2543 h 3250325"/>
              <a:gd name="connsiteX2" fmla="*/ 6124907 w 6124907"/>
              <a:gd name="connsiteY2" fmla="*/ 284248 h 3250325"/>
              <a:gd name="connsiteX3" fmla="*/ 6088634 w 6124907"/>
              <a:gd name="connsiteY3" fmla="*/ 2505431 h 3250325"/>
              <a:gd name="connsiteX4" fmla="*/ 3268050 w 6124907"/>
              <a:gd name="connsiteY4" fmla="*/ 3249890 h 3250325"/>
              <a:gd name="connsiteX5" fmla="*/ 37 w 6124907"/>
              <a:gd name="connsiteY5" fmla="*/ 2306406 h 3250325"/>
              <a:gd name="connsiteX6" fmla="*/ 335225 w 6124907"/>
              <a:gd name="connsiteY6" fmla="*/ 435032 h 3250325"/>
              <a:gd name="connsiteX0" fmla="*/ 335225 w 6124907"/>
              <a:gd name="connsiteY0" fmla="*/ 515501 h 3330794"/>
              <a:gd name="connsiteX1" fmla="*/ 3260633 w 6124907"/>
              <a:gd name="connsiteY1" fmla="*/ 83012 h 3330794"/>
              <a:gd name="connsiteX2" fmla="*/ 6124907 w 6124907"/>
              <a:gd name="connsiteY2" fmla="*/ 364717 h 3330794"/>
              <a:gd name="connsiteX3" fmla="*/ 6088634 w 6124907"/>
              <a:gd name="connsiteY3" fmla="*/ 2585900 h 3330794"/>
              <a:gd name="connsiteX4" fmla="*/ 3268050 w 6124907"/>
              <a:gd name="connsiteY4" fmla="*/ 3330359 h 3330794"/>
              <a:gd name="connsiteX5" fmla="*/ 37 w 6124907"/>
              <a:gd name="connsiteY5" fmla="*/ 2386875 h 3330794"/>
              <a:gd name="connsiteX6" fmla="*/ 335225 w 6124907"/>
              <a:gd name="connsiteY6" fmla="*/ 515501 h 3330794"/>
              <a:gd name="connsiteX0" fmla="*/ 335225 w 6124907"/>
              <a:gd name="connsiteY0" fmla="*/ 432489 h 3247782"/>
              <a:gd name="connsiteX1" fmla="*/ 3260633 w 6124907"/>
              <a:gd name="connsiteY1" fmla="*/ 0 h 3247782"/>
              <a:gd name="connsiteX2" fmla="*/ 6124907 w 6124907"/>
              <a:gd name="connsiteY2" fmla="*/ 281705 h 3247782"/>
              <a:gd name="connsiteX3" fmla="*/ 6088634 w 6124907"/>
              <a:gd name="connsiteY3" fmla="*/ 2502888 h 3247782"/>
              <a:gd name="connsiteX4" fmla="*/ 3268050 w 6124907"/>
              <a:gd name="connsiteY4" fmla="*/ 3247347 h 3247782"/>
              <a:gd name="connsiteX5" fmla="*/ 37 w 6124907"/>
              <a:gd name="connsiteY5" fmla="*/ 2303863 h 3247782"/>
              <a:gd name="connsiteX6" fmla="*/ 335225 w 6124907"/>
              <a:gd name="connsiteY6" fmla="*/ 432489 h 3247782"/>
              <a:gd name="connsiteX0" fmla="*/ 335225 w 6223855"/>
              <a:gd name="connsiteY0" fmla="*/ 434186 h 3249479"/>
              <a:gd name="connsiteX1" fmla="*/ 3260633 w 6223855"/>
              <a:gd name="connsiteY1" fmla="*/ 1697 h 3249479"/>
              <a:gd name="connsiteX2" fmla="*/ 6124907 w 6223855"/>
              <a:gd name="connsiteY2" fmla="*/ 283402 h 3249479"/>
              <a:gd name="connsiteX3" fmla="*/ 6088634 w 6223855"/>
              <a:gd name="connsiteY3" fmla="*/ 2504585 h 3249479"/>
              <a:gd name="connsiteX4" fmla="*/ 3268050 w 6223855"/>
              <a:gd name="connsiteY4" fmla="*/ 3249044 h 3249479"/>
              <a:gd name="connsiteX5" fmla="*/ 37 w 6223855"/>
              <a:gd name="connsiteY5" fmla="*/ 2305560 h 3249479"/>
              <a:gd name="connsiteX6" fmla="*/ 335225 w 6223855"/>
              <a:gd name="connsiteY6" fmla="*/ 434186 h 3249479"/>
              <a:gd name="connsiteX0" fmla="*/ 335225 w 6124907"/>
              <a:gd name="connsiteY0" fmla="*/ 435032 h 3250325"/>
              <a:gd name="connsiteX1" fmla="*/ 3260633 w 6124907"/>
              <a:gd name="connsiteY1" fmla="*/ 2543 h 3250325"/>
              <a:gd name="connsiteX2" fmla="*/ 6124907 w 6124907"/>
              <a:gd name="connsiteY2" fmla="*/ 284248 h 3250325"/>
              <a:gd name="connsiteX3" fmla="*/ 6088634 w 6124907"/>
              <a:gd name="connsiteY3" fmla="*/ 2505431 h 3250325"/>
              <a:gd name="connsiteX4" fmla="*/ 3268050 w 6124907"/>
              <a:gd name="connsiteY4" fmla="*/ 3249890 h 3250325"/>
              <a:gd name="connsiteX5" fmla="*/ 37 w 6124907"/>
              <a:gd name="connsiteY5" fmla="*/ 2306406 h 3250325"/>
              <a:gd name="connsiteX6" fmla="*/ 335225 w 6124907"/>
              <a:gd name="connsiteY6" fmla="*/ 435032 h 3250325"/>
              <a:gd name="connsiteX0" fmla="*/ 335225 w 6124907"/>
              <a:gd name="connsiteY0" fmla="*/ 434001 h 3249294"/>
              <a:gd name="connsiteX1" fmla="*/ 3260633 w 6124907"/>
              <a:gd name="connsiteY1" fmla="*/ 1512 h 3249294"/>
              <a:gd name="connsiteX2" fmla="*/ 6124907 w 6124907"/>
              <a:gd name="connsiteY2" fmla="*/ 283217 h 3249294"/>
              <a:gd name="connsiteX3" fmla="*/ 6088634 w 6124907"/>
              <a:gd name="connsiteY3" fmla="*/ 2504400 h 3249294"/>
              <a:gd name="connsiteX4" fmla="*/ 3268050 w 6124907"/>
              <a:gd name="connsiteY4" fmla="*/ 3248859 h 3249294"/>
              <a:gd name="connsiteX5" fmla="*/ 37 w 6124907"/>
              <a:gd name="connsiteY5" fmla="*/ 2305375 h 3249294"/>
              <a:gd name="connsiteX6" fmla="*/ 335225 w 6124907"/>
              <a:gd name="connsiteY6" fmla="*/ 434001 h 3249294"/>
              <a:gd name="connsiteX0" fmla="*/ 335225 w 6124907"/>
              <a:gd name="connsiteY0" fmla="*/ 432489 h 3247782"/>
              <a:gd name="connsiteX1" fmla="*/ 3260633 w 6124907"/>
              <a:gd name="connsiteY1" fmla="*/ 0 h 3247782"/>
              <a:gd name="connsiteX2" fmla="*/ 6124907 w 6124907"/>
              <a:gd name="connsiteY2" fmla="*/ 281705 h 3247782"/>
              <a:gd name="connsiteX3" fmla="*/ 6088634 w 6124907"/>
              <a:gd name="connsiteY3" fmla="*/ 2502888 h 3247782"/>
              <a:gd name="connsiteX4" fmla="*/ 3268050 w 6124907"/>
              <a:gd name="connsiteY4" fmla="*/ 3247347 h 3247782"/>
              <a:gd name="connsiteX5" fmla="*/ 37 w 6124907"/>
              <a:gd name="connsiteY5" fmla="*/ 2303863 h 3247782"/>
              <a:gd name="connsiteX6" fmla="*/ 335225 w 6124907"/>
              <a:gd name="connsiteY6" fmla="*/ 432489 h 3247782"/>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512181 h 3327474"/>
              <a:gd name="connsiteX1" fmla="*/ 3260633 w 6088641"/>
              <a:gd name="connsiteY1" fmla="*/ 79692 h 3327474"/>
              <a:gd name="connsiteX2" fmla="*/ 5816589 w 6088641"/>
              <a:gd name="connsiteY2" fmla="*/ 361397 h 3327474"/>
              <a:gd name="connsiteX3" fmla="*/ 6088634 w 6088641"/>
              <a:gd name="connsiteY3" fmla="*/ 2582580 h 3327474"/>
              <a:gd name="connsiteX4" fmla="*/ 3268050 w 6088641"/>
              <a:gd name="connsiteY4" fmla="*/ 3327039 h 3327474"/>
              <a:gd name="connsiteX5" fmla="*/ 37 w 6088641"/>
              <a:gd name="connsiteY5" fmla="*/ 2383555 h 3327474"/>
              <a:gd name="connsiteX6" fmla="*/ 335225 w 6088641"/>
              <a:gd name="connsiteY6" fmla="*/ 512181 h 3327474"/>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434186 h 3249479"/>
              <a:gd name="connsiteX1" fmla="*/ 3260633 w 6088641"/>
              <a:gd name="connsiteY1" fmla="*/ 1697 h 3249479"/>
              <a:gd name="connsiteX2" fmla="*/ 5816589 w 6088641"/>
              <a:gd name="connsiteY2" fmla="*/ 283402 h 3249479"/>
              <a:gd name="connsiteX3" fmla="*/ 6088634 w 6088641"/>
              <a:gd name="connsiteY3" fmla="*/ 2504585 h 3249479"/>
              <a:gd name="connsiteX4" fmla="*/ 3268050 w 6088641"/>
              <a:gd name="connsiteY4" fmla="*/ 3249044 h 3249479"/>
              <a:gd name="connsiteX5" fmla="*/ 37 w 6088641"/>
              <a:gd name="connsiteY5" fmla="*/ 2305560 h 3249479"/>
              <a:gd name="connsiteX6" fmla="*/ 335225 w 6088641"/>
              <a:gd name="connsiteY6" fmla="*/ 434186 h 3249479"/>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434692 h 3249985"/>
              <a:gd name="connsiteX1" fmla="*/ 3260633 w 6088641"/>
              <a:gd name="connsiteY1" fmla="*/ 2203 h 3249985"/>
              <a:gd name="connsiteX2" fmla="*/ 5816589 w 6088641"/>
              <a:gd name="connsiteY2" fmla="*/ 283908 h 3249985"/>
              <a:gd name="connsiteX3" fmla="*/ 6088634 w 6088641"/>
              <a:gd name="connsiteY3" fmla="*/ 2505091 h 3249985"/>
              <a:gd name="connsiteX4" fmla="*/ 3268050 w 6088641"/>
              <a:gd name="connsiteY4" fmla="*/ 3249550 h 3249985"/>
              <a:gd name="connsiteX5" fmla="*/ 37 w 6088641"/>
              <a:gd name="connsiteY5" fmla="*/ 2306066 h 3249985"/>
              <a:gd name="connsiteX6" fmla="*/ 335225 w 6088641"/>
              <a:gd name="connsiteY6" fmla="*/ 434692 h 3249985"/>
              <a:gd name="connsiteX0" fmla="*/ 335225 w 6088641"/>
              <a:gd name="connsiteY0" fmla="*/ 434455 h 3249748"/>
              <a:gd name="connsiteX1" fmla="*/ 3260633 w 6088641"/>
              <a:gd name="connsiteY1" fmla="*/ 1966 h 3249748"/>
              <a:gd name="connsiteX2" fmla="*/ 5816589 w 6088641"/>
              <a:gd name="connsiteY2" fmla="*/ 283671 h 3249748"/>
              <a:gd name="connsiteX3" fmla="*/ 6088634 w 6088641"/>
              <a:gd name="connsiteY3" fmla="*/ 2504854 h 3249748"/>
              <a:gd name="connsiteX4" fmla="*/ 3268050 w 6088641"/>
              <a:gd name="connsiteY4" fmla="*/ 3249313 h 3249748"/>
              <a:gd name="connsiteX5" fmla="*/ 37 w 6088641"/>
              <a:gd name="connsiteY5" fmla="*/ 2305829 h 3249748"/>
              <a:gd name="connsiteX6" fmla="*/ 335225 w 6088641"/>
              <a:gd name="connsiteY6" fmla="*/ 434455 h 3249748"/>
              <a:gd name="connsiteX0" fmla="*/ 335225 w 6088641"/>
              <a:gd name="connsiteY0" fmla="*/ 478129 h 3293422"/>
              <a:gd name="connsiteX1" fmla="*/ 3260633 w 6088641"/>
              <a:gd name="connsiteY1" fmla="*/ 45640 h 3293422"/>
              <a:gd name="connsiteX2" fmla="*/ 4969580 w 6088641"/>
              <a:gd name="connsiteY2" fmla="*/ 22169 h 3293422"/>
              <a:gd name="connsiteX3" fmla="*/ 5816589 w 6088641"/>
              <a:gd name="connsiteY3" fmla="*/ 327345 h 3293422"/>
              <a:gd name="connsiteX4" fmla="*/ 6088634 w 6088641"/>
              <a:gd name="connsiteY4" fmla="*/ 2548528 h 3293422"/>
              <a:gd name="connsiteX5" fmla="*/ 3268050 w 6088641"/>
              <a:gd name="connsiteY5" fmla="*/ 3292987 h 3293422"/>
              <a:gd name="connsiteX6" fmla="*/ 37 w 6088641"/>
              <a:gd name="connsiteY6" fmla="*/ 2349503 h 3293422"/>
              <a:gd name="connsiteX7" fmla="*/ 335225 w 6088641"/>
              <a:gd name="connsiteY7" fmla="*/ 478129 h 3293422"/>
              <a:gd name="connsiteX0" fmla="*/ 335225 w 6088641"/>
              <a:gd name="connsiteY0" fmla="*/ 464432 h 3279725"/>
              <a:gd name="connsiteX1" fmla="*/ 3260633 w 6088641"/>
              <a:gd name="connsiteY1" fmla="*/ 31943 h 3279725"/>
              <a:gd name="connsiteX2" fmla="*/ 5816589 w 6088641"/>
              <a:gd name="connsiteY2" fmla="*/ 313648 h 3279725"/>
              <a:gd name="connsiteX3" fmla="*/ 6088634 w 6088641"/>
              <a:gd name="connsiteY3" fmla="*/ 2534831 h 3279725"/>
              <a:gd name="connsiteX4" fmla="*/ 3268050 w 6088641"/>
              <a:gd name="connsiteY4" fmla="*/ 3279290 h 3279725"/>
              <a:gd name="connsiteX5" fmla="*/ 37 w 6088641"/>
              <a:gd name="connsiteY5" fmla="*/ 2335806 h 3279725"/>
              <a:gd name="connsiteX6" fmla="*/ 335225 w 6088641"/>
              <a:gd name="connsiteY6" fmla="*/ 464432 h 3279725"/>
              <a:gd name="connsiteX0" fmla="*/ 335225 w 6088641"/>
              <a:gd name="connsiteY0" fmla="*/ 434187 h 3249480"/>
              <a:gd name="connsiteX1" fmla="*/ 3260633 w 6088641"/>
              <a:gd name="connsiteY1" fmla="*/ 1698 h 3249480"/>
              <a:gd name="connsiteX2" fmla="*/ 5816589 w 6088641"/>
              <a:gd name="connsiteY2" fmla="*/ 283403 h 3249480"/>
              <a:gd name="connsiteX3" fmla="*/ 6088634 w 6088641"/>
              <a:gd name="connsiteY3" fmla="*/ 2504586 h 3249480"/>
              <a:gd name="connsiteX4" fmla="*/ 3268050 w 6088641"/>
              <a:gd name="connsiteY4" fmla="*/ 3249045 h 3249480"/>
              <a:gd name="connsiteX5" fmla="*/ 37 w 6088641"/>
              <a:gd name="connsiteY5" fmla="*/ 2305561 h 3249480"/>
              <a:gd name="connsiteX6" fmla="*/ 335225 w 6088641"/>
              <a:gd name="connsiteY6" fmla="*/ 434187 h 3249480"/>
              <a:gd name="connsiteX0" fmla="*/ 335225 w 6088641"/>
              <a:gd name="connsiteY0" fmla="*/ 434187 h 3249480"/>
              <a:gd name="connsiteX1" fmla="*/ 3260633 w 6088641"/>
              <a:gd name="connsiteY1" fmla="*/ 1698 h 3249480"/>
              <a:gd name="connsiteX2" fmla="*/ 5816589 w 6088641"/>
              <a:gd name="connsiteY2" fmla="*/ 283403 h 3249480"/>
              <a:gd name="connsiteX3" fmla="*/ 6088634 w 6088641"/>
              <a:gd name="connsiteY3" fmla="*/ 2504586 h 3249480"/>
              <a:gd name="connsiteX4" fmla="*/ 3268050 w 6088641"/>
              <a:gd name="connsiteY4" fmla="*/ 3249045 h 3249480"/>
              <a:gd name="connsiteX5" fmla="*/ 37 w 6088641"/>
              <a:gd name="connsiteY5" fmla="*/ 2305561 h 3249480"/>
              <a:gd name="connsiteX6" fmla="*/ 335225 w 6088641"/>
              <a:gd name="connsiteY6" fmla="*/ 434187 h 3249480"/>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512181 h 3327474"/>
              <a:gd name="connsiteX1" fmla="*/ 3260633 w 6088641"/>
              <a:gd name="connsiteY1" fmla="*/ 79692 h 3327474"/>
              <a:gd name="connsiteX2" fmla="*/ 5816589 w 6088641"/>
              <a:gd name="connsiteY2" fmla="*/ 361397 h 3327474"/>
              <a:gd name="connsiteX3" fmla="*/ 6088634 w 6088641"/>
              <a:gd name="connsiteY3" fmla="*/ 2582580 h 3327474"/>
              <a:gd name="connsiteX4" fmla="*/ 3268050 w 6088641"/>
              <a:gd name="connsiteY4" fmla="*/ 3327039 h 3327474"/>
              <a:gd name="connsiteX5" fmla="*/ 37 w 6088641"/>
              <a:gd name="connsiteY5" fmla="*/ 2383555 h 3327474"/>
              <a:gd name="connsiteX6" fmla="*/ 335225 w 6088641"/>
              <a:gd name="connsiteY6" fmla="*/ 512181 h 3327474"/>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434186 h 3249479"/>
              <a:gd name="connsiteX1" fmla="*/ 3260633 w 6088641"/>
              <a:gd name="connsiteY1" fmla="*/ 1697 h 3249479"/>
              <a:gd name="connsiteX2" fmla="*/ 5816589 w 6088641"/>
              <a:gd name="connsiteY2" fmla="*/ 283402 h 3249479"/>
              <a:gd name="connsiteX3" fmla="*/ 6088634 w 6088641"/>
              <a:gd name="connsiteY3" fmla="*/ 2504585 h 3249479"/>
              <a:gd name="connsiteX4" fmla="*/ 3268050 w 6088641"/>
              <a:gd name="connsiteY4" fmla="*/ 3249044 h 3249479"/>
              <a:gd name="connsiteX5" fmla="*/ 37 w 6088641"/>
              <a:gd name="connsiteY5" fmla="*/ 2305560 h 3249479"/>
              <a:gd name="connsiteX6" fmla="*/ 335225 w 6088641"/>
              <a:gd name="connsiteY6" fmla="*/ 434186 h 3249479"/>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433957 h 3249250"/>
              <a:gd name="connsiteX1" fmla="*/ 3260633 w 6088641"/>
              <a:gd name="connsiteY1" fmla="*/ 1468 h 3249250"/>
              <a:gd name="connsiteX2" fmla="*/ 5816589 w 6088641"/>
              <a:gd name="connsiteY2" fmla="*/ 283173 h 3249250"/>
              <a:gd name="connsiteX3" fmla="*/ 6088634 w 6088641"/>
              <a:gd name="connsiteY3" fmla="*/ 2504356 h 3249250"/>
              <a:gd name="connsiteX4" fmla="*/ 3268050 w 6088641"/>
              <a:gd name="connsiteY4" fmla="*/ 3248815 h 3249250"/>
              <a:gd name="connsiteX5" fmla="*/ 37 w 6088641"/>
              <a:gd name="connsiteY5" fmla="*/ 2305331 h 3249250"/>
              <a:gd name="connsiteX6" fmla="*/ 335225 w 6088641"/>
              <a:gd name="connsiteY6" fmla="*/ 433957 h 3249250"/>
              <a:gd name="connsiteX0" fmla="*/ 335225 w 6088641"/>
              <a:gd name="connsiteY0" fmla="*/ 433944 h 3249237"/>
              <a:gd name="connsiteX1" fmla="*/ 3260633 w 6088641"/>
              <a:gd name="connsiteY1" fmla="*/ 1455 h 3249237"/>
              <a:gd name="connsiteX2" fmla="*/ 5816589 w 6088641"/>
              <a:gd name="connsiteY2" fmla="*/ 283160 h 3249237"/>
              <a:gd name="connsiteX3" fmla="*/ 6088634 w 6088641"/>
              <a:gd name="connsiteY3" fmla="*/ 2504343 h 3249237"/>
              <a:gd name="connsiteX4" fmla="*/ 3268050 w 6088641"/>
              <a:gd name="connsiteY4" fmla="*/ 3248802 h 3249237"/>
              <a:gd name="connsiteX5" fmla="*/ 37 w 6088641"/>
              <a:gd name="connsiteY5" fmla="*/ 2305318 h 3249237"/>
              <a:gd name="connsiteX6" fmla="*/ 335225 w 6088641"/>
              <a:gd name="connsiteY6" fmla="*/ 433944 h 3249237"/>
              <a:gd name="connsiteX0" fmla="*/ 335225 w 6088641"/>
              <a:gd name="connsiteY0" fmla="*/ 433390 h 3248683"/>
              <a:gd name="connsiteX1" fmla="*/ 3260633 w 6088641"/>
              <a:gd name="connsiteY1" fmla="*/ 901 h 3248683"/>
              <a:gd name="connsiteX2" fmla="*/ 5816589 w 6088641"/>
              <a:gd name="connsiteY2" fmla="*/ 282606 h 3248683"/>
              <a:gd name="connsiteX3" fmla="*/ 6088634 w 6088641"/>
              <a:gd name="connsiteY3" fmla="*/ 2503789 h 3248683"/>
              <a:gd name="connsiteX4" fmla="*/ 3268050 w 6088641"/>
              <a:gd name="connsiteY4" fmla="*/ 3248248 h 3248683"/>
              <a:gd name="connsiteX5" fmla="*/ 37 w 6088641"/>
              <a:gd name="connsiteY5" fmla="*/ 2304764 h 3248683"/>
              <a:gd name="connsiteX6" fmla="*/ 335225 w 6088641"/>
              <a:gd name="connsiteY6" fmla="*/ 433390 h 3248683"/>
              <a:gd name="connsiteX0" fmla="*/ 335225 w 6088641"/>
              <a:gd name="connsiteY0" fmla="*/ 512181 h 3327474"/>
              <a:gd name="connsiteX1" fmla="*/ 3260633 w 6088641"/>
              <a:gd name="connsiteY1" fmla="*/ 79692 h 3327474"/>
              <a:gd name="connsiteX2" fmla="*/ 5816589 w 6088641"/>
              <a:gd name="connsiteY2" fmla="*/ 361397 h 3327474"/>
              <a:gd name="connsiteX3" fmla="*/ 6088634 w 6088641"/>
              <a:gd name="connsiteY3" fmla="*/ 2582580 h 3327474"/>
              <a:gd name="connsiteX4" fmla="*/ 3268050 w 6088641"/>
              <a:gd name="connsiteY4" fmla="*/ 3327039 h 3327474"/>
              <a:gd name="connsiteX5" fmla="*/ 37 w 6088641"/>
              <a:gd name="connsiteY5" fmla="*/ 2383555 h 3327474"/>
              <a:gd name="connsiteX6" fmla="*/ 335225 w 6088641"/>
              <a:gd name="connsiteY6" fmla="*/ 512181 h 3327474"/>
              <a:gd name="connsiteX0" fmla="*/ 335225 w 6088641"/>
              <a:gd name="connsiteY0" fmla="*/ 516824 h 3332117"/>
              <a:gd name="connsiteX1" fmla="*/ 3260633 w 6088641"/>
              <a:gd name="connsiteY1" fmla="*/ 84335 h 3332117"/>
              <a:gd name="connsiteX2" fmla="*/ 5816589 w 6088641"/>
              <a:gd name="connsiteY2" fmla="*/ 366040 h 3332117"/>
              <a:gd name="connsiteX3" fmla="*/ 6088634 w 6088641"/>
              <a:gd name="connsiteY3" fmla="*/ 2587223 h 3332117"/>
              <a:gd name="connsiteX4" fmla="*/ 3268050 w 6088641"/>
              <a:gd name="connsiteY4" fmla="*/ 3331682 h 3332117"/>
              <a:gd name="connsiteX5" fmla="*/ 37 w 6088641"/>
              <a:gd name="connsiteY5" fmla="*/ 2388198 h 3332117"/>
              <a:gd name="connsiteX6" fmla="*/ 335225 w 6088641"/>
              <a:gd name="connsiteY6" fmla="*/ 516824 h 3332117"/>
              <a:gd name="connsiteX0" fmla="*/ 335225 w 6088641"/>
              <a:gd name="connsiteY0" fmla="*/ 512182 h 3327475"/>
              <a:gd name="connsiteX1" fmla="*/ 3260633 w 6088641"/>
              <a:gd name="connsiteY1" fmla="*/ 79693 h 3327475"/>
              <a:gd name="connsiteX2" fmla="*/ 5816589 w 6088641"/>
              <a:gd name="connsiteY2" fmla="*/ 361398 h 3327475"/>
              <a:gd name="connsiteX3" fmla="*/ 6088634 w 6088641"/>
              <a:gd name="connsiteY3" fmla="*/ 2582581 h 3327475"/>
              <a:gd name="connsiteX4" fmla="*/ 3268050 w 6088641"/>
              <a:gd name="connsiteY4" fmla="*/ 3327040 h 3327475"/>
              <a:gd name="connsiteX5" fmla="*/ 37 w 6088641"/>
              <a:gd name="connsiteY5" fmla="*/ 2383556 h 3327475"/>
              <a:gd name="connsiteX6" fmla="*/ 335225 w 6088641"/>
              <a:gd name="connsiteY6" fmla="*/ 512182 h 3327475"/>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433961 h 3249254"/>
              <a:gd name="connsiteX1" fmla="*/ 3260633 w 6088641"/>
              <a:gd name="connsiteY1" fmla="*/ 1472 h 3249254"/>
              <a:gd name="connsiteX2" fmla="*/ 5816589 w 6088641"/>
              <a:gd name="connsiteY2" fmla="*/ 283177 h 3249254"/>
              <a:gd name="connsiteX3" fmla="*/ 6088634 w 6088641"/>
              <a:gd name="connsiteY3" fmla="*/ 2504360 h 3249254"/>
              <a:gd name="connsiteX4" fmla="*/ 3268050 w 6088641"/>
              <a:gd name="connsiteY4" fmla="*/ 3248819 h 3249254"/>
              <a:gd name="connsiteX5" fmla="*/ 37 w 6088641"/>
              <a:gd name="connsiteY5" fmla="*/ 2305335 h 3249254"/>
              <a:gd name="connsiteX6" fmla="*/ 335225 w 6088641"/>
              <a:gd name="connsiteY6" fmla="*/ 433961 h 3249254"/>
              <a:gd name="connsiteX0" fmla="*/ 335225 w 6088641"/>
              <a:gd name="connsiteY0" fmla="*/ 434186 h 3249479"/>
              <a:gd name="connsiteX1" fmla="*/ 3260633 w 6088641"/>
              <a:gd name="connsiteY1" fmla="*/ 1697 h 3249479"/>
              <a:gd name="connsiteX2" fmla="*/ 5816589 w 6088641"/>
              <a:gd name="connsiteY2" fmla="*/ 283402 h 3249479"/>
              <a:gd name="connsiteX3" fmla="*/ 6088634 w 6088641"/>
              <a:gd name="connsiteY3" fmla="*/ 2504585 h 3249479"/>
              <a:gd name="connsiteX4" fmla="*/ 3268050 w 6088641"/>
              <a:gd name="connsiteY4" fmla="*/ 3249044 h 3249479"/>
              <a:gd name="connsiteX5" fmla="*/ 37 w 6088641"/>
              <a:gd name="connsiteY5" fmla="*/ 2305560 h 3249479"/>
              <a:gd name="connsiteX6" fmla="*/ 335225 w 6088641"/>
              <a:gd name="connsiteY6" fmla="*/ 434186 h 3249479"/>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509718 h 3325011"/>
              <a:gd name="connsiteX1" fmla="*/ 3260633 w 6088641"/>
              <a:gd name="connsiteY1" fmla="*/ 77229 h 3325011"/>
              <a:gd name="connsiteX2" fmla="*/ 5816589 w 6088641"/>
              <a:gd name="connsiteY2" fmla="*/ 358934 h 3325011"/>
              <a:gd name="connsiteX3" fmla="*/ 6088634 w 6088641"/>
              <a:gd name="connsiteY3" fmla="*/ 2580117 h 3325011"/>
              <a:gd name="connsiteX4" fmla="*/ 3268050 w 6088641"/>
              <a:gd name="connsiteY4" fmla="*/ 3324576 h 3325011"/>
              <a:gd name="connsiteX5" fmla="*/ 37 w 6088641"/>
              <a:gd name="connsiteY5" fmla="*/ 2381092 h 3325011"/>
              <a:gd name="connsiteX6" fmla="*/ 335225 w 6088641"/>
              <a:gd name="connsiteY6" fmla="*/ 509718 h 3325011"/>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088641"/>
              <a:gd name="connsiteY0" fmla="*/ 440004 h 3255297"/>
              <a:gd name="connsiteX1" fmla="*/ 3260633 w 6088641"/>
              <a:gd name="connsiteY1" fmla="*/ 7515 h 3255297"/>
              <a:gd name="connsiteX2" fmla="*/ 6088634 w 6088641"/>
              <a:gd name="connsiteY2" fmla="*/ 2510403 h 3255297"/>
              <a:gd name="connsiteX3" fmla="*/ 3268050 w 6088641"/>
              <a:gd name="connsiteY3" fmla="*/ 3254862 h 3255297"/>
              <a:gd name="connsiteX4" fmla="*/ 37 w 6088641"/>
              <a:gd name="connsiteY4" fmla="*/ 2311378 h 3255297"/>
              <a:gd name="connsiteX5" fmla="*/ 335225 w 6088641"/>
              <a:gd name="connsiteY5" fmla="*/ 440004 h 3255297"/>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123026"/>
              <a:gd name="connsiteY0" fmla="*/ 432489 h 3247782"/>
              <a:gd name="connsiteX1" fmla="*/ 3260633 w 6123026"/>
              <a:gd name="connsiteY1" fmla="*/ 0 h 3247782"/>
              <a:gd name="connsiteX2" fmla="*/ 4736515 w 6123026"/>
              <a:gd name="connsiteY2" fmla="*/ 1160782 h 3247782"/>
              <a:gd name="connsiteX3" fmla="*/ 6088634 w 6123026"/>
              <a:gd name="connsiteY3" fmla="*/ 2502888 h 3247782"/>
              <a:gd name="connsiteX4" fmla="*/ 3268050 w 6123026"/>
              <a:gd name="connsiteY4" fmla="*/ 3247347 h 3247782"/>
              <a:gd name="connsiteX5" fmla="*/ 37 w 6123026"/>
              <a:gd name="connsiteY5" fmla="*/ 2303863 h 3247782"/>
              <a:gd name="connsiteX6" fmla="*/ 335225 w 6123026"/>
              <a:gd name="connsiteY6" fmla="*/ 432489 h 3247782"/>
              <a:gd name="connsiteX0" fmla="*/ 335225 w 6213970"/>
              <a:gd name="connsiteY0" fmla="*/ 432489 h 3247782"/>
              <a:gd name="connsiteX1" fmla="*/ 3260633 w 6213970"/>
              <a:gd name="connsiteY1" fmla="*/ 0 h 3247782"/>
              <a:gd name="connsiteX2" fmla="*/ 5748245 w 6213970"/>
              <a:gd name="connsiteY2" fmla="*/ 440703 h 3247782"/>
              <a:gd name="connsiteX3" fmla="*/ 6088634 w 6213970"/>
              <a:gd name="connsiteY3" fmla="*/ 2502888 h 3247782"/>
              <a:gd name="connsiteX4" fmla="*/ 3268050 w 6213970"/>
              <a:gd name="connsiteY4" fmla="*/ 3247347 h 3247782"/>
              <a:gd name="connsiteX5" fmla="*/ 37 w 6213970"/>
              <a:gd name="connsiteY5" fmla="*/ 2303863 h 3247782"/>
              <a:gd name="connsiteX6" fmla="*/ 335225 w 6213970"/>
              <a:gd name="connsiteY6" fmla="*/ 432489 h 3247782"/>
              <a:gd name="connsiteX0" fmla="*/ 335225 w 6213972"/>
              <a:gd name="connsiteY0" fmla="*/ 432489 h 3247782"/>
              <a:gd name="connsiteX1" fmla="*/ 3260633 w 6213972"/>
              <a:gd name="connsiteY1" fmla="*/ 0 h 3247782"/>
              <a:gd name="connsiteX2" fmla="*/ 5748245 w 6213972"/>
              <a:gd name="connsiteY2" fmla="*/ 440703 h 3247782"/>
              <a:gd name="connsiteX3" fmla="*/ 6088634 w 6213972"/>
              <a:gd name="connsiteY3" fmla="*/ 2502888 h 3247782"/>
              <a:gd name="connsiteX4" fmla="*/ 3268050 w 6213972"/>
              <a:gd name="connsiteY4" fmla="*/ 3247347 h 3247782"/>
              <a:gd name="connsiteX5" fmla="*/ 37 w 6213972"/>
              <a:gd name="connsiteY5" fmla="*/ 2303863 h 3247782"/>
              <a:gd name="connsiteX6" fmla="*/ 335225 w 6213972"/>
              <a:gd name="connsiteY6" fmla="*/ 432489 h 3247782"/>
              <a:gd name="connsiteX0" fmla="*/ 335225 w 6213970"/>
              <a:gd name="connsiteY0" fmla="*/ 432489 h 3247782"/>
              <a:gd name="connsiteX1" fmla="*/ 3260633 w 6213970"/>
              <a:gd name="connsiteY1" fmla="*/ 0 h 3247782"/>
              <a:gd name="connsiteX2" fmla="*/ 5748245 w 6213970"/>
              <a:gd name="connsiteY2" fmla="*/ 440703 h 3247782"/>
              <a:gd name="connsiteX3" fmla="*/ 6088634 w 6213970"/>
              <a:gd name="connsiteY3" fmla="*/ 2502888 h 3247782"/>
              <a:gd name="connsiteX4" fmla="*/ 3268050 w 6213970"/>
              <a:gd name="connsiteY4" fmla="*/ 3247347 h 3247782"/>
              <a:gd name="connsiteX5" fmla="*/ 37 w 6213970"/>
              <a:gd name="connsiteY5" fmla="*/ 2303863 h 3247782"/>
              <a:gd name="connsiteX6" fmla="*/ 335225 w 6213970"/>
              <a:gd name="connsiteY6" fmla="*/ 432489 h 3247782"/>
              <a:gd name="connsiteX0" fmla="*/ 335225 w 6147867"/>
              <a:gd name="connsiteY0" fmla="*/ 432489 h 3247782"/>
              <a:gd name="connsiteX1" fmla="*/ 3260633 w 6147867"/>
              <a:gd name="connsiteY1" fmla="*/ 0 h 3247782"/>
              <a:gd name="connsiteX2" fmla="*/ 5748245 w 6147867"/>
              <a:gd name="connsiteY2" fmla="*/ 440703 h 3247782"/>
              <a:gd name="connsiteX3" fmla="*/ 6088634 w 6147867"/>
              <a:gd name="connsiteY3" fmla="*/ 2502888 h 3247782"/>
              <a:gd name="connsiteX4" fmla="*/ 3268050 w 6147867"/>
              <a:gd name="connsiteY4" fmla="*/ 3247347 h 3247782"/>
              <a:gd name="connsiteX5" fmla="*/ 37 w 6147867"/>
              <a:gd name="connsiteY5" fmla="*/ 2303863 h 3247782"/>
              <a:gd name="connsiteX6" fmla="*/ 335225 w 6147867"/>
              <a:gd name="connsiteY6" fmla="*/ 432489 h 3247782"/>
              <a:gd name="connsiteX0" fmla="*/ 335225 w 6088640"/>
              <a:gd name="connsiteY0" fmla="*/ 432489 h 3247782"/>
              <a:gd name="connsiteX1" fmla="*/ 3260633 w 6088640"/>
              <a:gd name="connsiteY1" fmla="*/ 0 h 3247782"/>
              <a:gd name="connsiteX2" fmla="*/ 5748245 w 6088640"/>
              <a:gd name="connsiteY2" fmla="*/ 440703 h 3247782"/>
              <a:gd name="connsiteX3" fmla="*/ 6088634 w 6088640"/>
              <a:gd name="connsiteY3" fmla="*/ 2502888 h 3247782"/>
              <a:gd name="connsiteX4" fmla="*/ 3268050 w 6088640"/>
              <a:gd name="connsiteY4" fmla="*/ 3247347 h 3247782"/>
              <a:gd name="connsiteX5" fmla="*/ 37 w 6088640"/>
              <a:gd name="connsiteY5" fmla="*/ 2303863 h 3247782"/>
              <a:gd name="connsiteX6" fmla="*/ 335225 w 6088640"/>
              <a:gd name="connsiteY6" fmla="*/ 432489 h 3247782"/>
              <a:gd name="connsiteX0" fmla="*/ 335225 w 6088642"/>
              <a:gd name="connsiteY0" fmla="*/ 432489 h 3247782"/>
              <a:gd name="connsiteX1" fmla="*/ 3260633 w 6088642"/>
              <a:gd name="connsiteY1" fmla="*/ 0 h 3247782"/>
              <a:gd name="connsiteX2" fmla="*/ 5748245 w 6088642"/>
              <a:gd name="connsiteY2" fmla="*/ 440703 h 3247782"/>
              <a:gd name="connsiteX3" fmla="*/ 6088634 w 6088642"/>
              <a:gd name="connsiteY3" fmla="*/ 2502888 h 3247782"/>
              <a:gd name="connsiteX4" fmla="*/ 3268050 w 6088642"/>
              <a:gd name="connsiteY4" fmla="*/ 3247347 h 3247782"/>
              <a:gd name="connsiteX5" fmla="*/ 37 w 6088642"/>
              <a:gd name="connsiteY5" fmla="*/ 2303863 h 3247782"/>
              <a:gd name="connsiteX6" fmla="*/ 335225 w 6088642"/>
              <a:gd name="connsiteY6" fmla="*/ 432489 h 3247782"/>
              <a:gd name="connsiteX0" fmla="*/ 335225 w 6088640"/>
              <a:gd name="connsiteY0" fmla="*/ 432489 h 3247782"/>
              <a:gd name="connsiteX1" fmla="*/ 3260633 w 6088640"/>
              <a:gd name="connsiteY1" fmla="*/ 0 h 3247782"/>
              <a:gd name="connsiteX2" fmla="*/ 5748245 w 6088640"/>
              <a:gd name="connsiteY2" fmla="*/ 440703 h 3247782"/>
              <a:gd name="connsiteX3" fmla="*/ 6088634 w 6088640"/>
              <a:gd name="connsiteY3" fmla="*/ 2502888 h 3247782"/>
              <a:gd name="connsiteX4" fmla="*/ 3268050 w 6088640"/>
              <a:gd name="connsiteY4" fmla="*/ 3247347 h 3247782"/>
              <a:gd name="connsiteX5" fmla="*/ 37 w 6088640"/>
              <a:gd name="connsiteY5" fmla="*/ 2303863 h 3247782"/>
              <a:gd name="connsiteX6" fmla="*/ 335225 w 6088640"/>
              <a:gd name="connsiteY6" fmla="*/ 432489 h 3247782"/>
              <a:gd name="connsiteX0" fmla="*/ 335225 w 6088642"/>
              <a:gd name="connsiteY0" fmla="*/ 432489 h 3247782"/>
              <a:gd name="connsiteX1" fmla="*/ 3260633 w 6088642"/>
              <a:gd name="connsiteY1" fmla="*/ 0 h 3247782"/>
              <a:gd name="connsiteX2" fmla="*/ 5748245 w 6088642"/>
              <a:gd name="connsiteY2" fmla="*/ 440703 h 3247782"/>
              <a:gd name="connsiteX3" fmla="*/ 6088634 w 6088642"/>
              <a:gd name="connsiteY3" fmla="*/ 2502888 h 3247782"/>
              <a:gd name="connsiteX4" fmla="*/ 3268050 w 6088642"/>
              <a:gd name="connsiteY4" fmla="*/ 3247347 h 3247782"/>
              <a:gd name="connsiteX5" fmla="*/ 37 w 6088642"/>
              <a:gd name="connsiteY5" fmla="*/ 2303863 h 3247782"/>
              <a:gd name="connsiteX6" fmla="*/ 335225 w 6088642"/>
              <a:gd name="connsiteY6" fmla="*/ 432489 h 3247782"/>
              <a:gd name="connsiteX0" fmla="*/ 335238 w 5748259"/>
              <a:gd name="connsiteY0" fmla="*/ 432489 h 3248544"/>
              <a:gd name="connsiteX1" fmla="*/ 3260646 w 5748259"/>
              <a:gd name="connsiteY1" fmla="*/ 0 h 3248544"/>
              <a:gd name="connsiteX2" fmla="*/ 5748258 w 5748259"/>
              <a:gd name="connsiteY2" fmla="*/ 440703 h 3248544"/>
              <a:gd name="connsiteX3" fmla="*/ 5558836 w 5748259"/>
              <a:gd name="connsiteY3" fmla="*/ 2517325 h 3248544"/>
              <a:gd name="connsiteX4" fmla="*/ 3268063 w 5748259"/>
              <a:gd name="connsiteY4" fmla="*/ 3247347 h 3248544"/>
              <a:gd name="connsiteX5" fmla="*/ 50 w 5748259"/>
              <a:gd name="connsiteY5" fmla="*/ 2303863 h 3248544"/>
              <a:gd name="connsiteX6" fmla="*/ 335238 w 5748259"/>
              <a:gd name="connsiteY6" fmla="*/ 432489 h 3248544"/>
              <a:gd name="connsiteX0" fmla="*/ 335240 w 5748259"/>
              <a:gd name="connsiteY0" fmla="*/ 432489 h 3248544"/>
              <a:gd name="connsiteX1" fmla="*/ 3260648 w 5748259"/>
              <a:gd name="connsiteY1" fmla="*/ 0 h 3248544"/>
              <a:gd name="connsiteX2" fmla="*/ 5748260 w 5748259"/>
              <a:gd name="connsiteY2" fmla="*/ 440703 h 3248544"/>
              <a:gd name="connsiteX3" fmla="*/ 5558838 w 5748259"/>
              <a:gd name="connsiteY3" fmla="*/ 2517325 h 3248544"/>
              <a:gd name="connsiteX4" fmla="*/ 3268065 w 5748259"/>
              <a:gd name="connsiteY4" fmla="*/ 3247347 h 3248544"/>
              <a:gd name="connsiteX5" fmla="*/ 52 w 5748259"/>
              <a:gd name="connsiteY5" fmla="*/ 2303863 h 3248544"/>
              <a:gd name="connsiteX6" fmla="*/ 335240 w 5748259"/>
              <a:gd name="connsiteY6" fmla="*/ 432489 h 3248544"/>
              <a:gd name="connsiteX0" fmla="*/ 335240 w 5748261"/>
              <a:gd name="connsiteY0" fmla="*/ 432489 h 3248544"/>
              <a:gd name="connsiteX1" fmla="*/ 3260648 w 5748261"/>
              <a:gd name="connsiteY1" fmla="*/ 0 h 3248544"/>
              <a:gd name="connsiteX2" fmla="*/ 5748260 w 5748261"/>
              <a:gd name="connsiteY2" fmla="*/ 440703 h 3248544"/>
              <a:gd name="connsiteX3" fmla="*/ 5558838 w 5748261"/>
              <a:gd name="connsiteY3" fmla="*/ 2517325 h 3248544"/>
              <a:gd name="connsiteX4" fmla="*/ 3268065 w 5748261"/>
              <a:gd name="connsiteY4" fmla="*/ 3247347 h 3248544"/>
              <a:gd name="connsiteX5" fmla="*/ 52 w 5748261"/>
              <a:gd name="connsiteY5" fmla="*/ 2303863 h 3248544"/>
              <a:gd name="connsiteX6" fmla="*/ 335240 w 5748261"/>
              <a:gd name="connsiteY6" fmla="*/ 432489 h 3248544"/>
              <a:gd name="connsiteX0" fmla="*/ 335240 w 5748259"/>
              <a:gd name="connsiteY0" fmla="*/ 432489 h 3248544"/>
              <a:gd name="connsiteX1" fmla="*/ 3260648 w 5748259"/>
              <a:gd name="connsiteY1" fmla="*/ 0 h 3248544"/>
              <a:gd name="connsiteX2" fmla="*/ 5748260 w 5748259"/>
              <a:gd name="connsiteY2" fmla="*/ 440703 h 3248544"/>
              <a:gd name="connsiteX3" fmla="*/ 5558838 w 5748259"/>
              <a:gd name="connsiteY3" fmla="*/ 2517325 h 3248544"/>
              <a:gd name="connsiteX4" fmla="*/ 3268065 w 5748259"/>
              <a:gd name="connsiteY4" fmla="*/ 3247347 h 3248544"/>
              <a:gd name="connsiteX5" fmla="*/ 52 w 5748259"/>
              <a:gd name="connsiteY5" fmla="*/ 2303863 h 3248544"/>
              <a:gd name="connsiteX6" fmla="*/ 335240 w 5748259"/>
              <a:gd name="connsiteY6" fmla="*/ 432489 h 3248544"/>
              <a:gd name="connsiteX0" fmla="*/ 335240 w 5748261"/>
              <a:gd name="connsiteY0" fmla="*/ 432489 h 3248544"/>
              <a:gd name="connsiteX1" fmla="*/ 3260648 w 5748261"/>
              <a:gd name="connsiteY1" fmla="*/ 0 h 3248544"/>
              <a:gd name="connsiteX2" fmla="*/ 5748260 w 5748261"/>
              <a:gd name="connsiteY2" fmla="*/ 440703 h 3248544"/>
              <a:gd name="connsiteX3" fmla="*/ 5558838 w 5748261"/>
              <a:gd name="connsiteY3" fmla="*/ 2517325 h 3248544"/>
              <a:gd name="connsiteX4" fmla="*/ 3268065 w 5748261"/>
              <a:gd name="connsiteY4" fmla="*/ 3247347 h 3248544"/>
              <a:gd name="connsiteX5" fmla="*/ 52 w 5748261"/>
              <a:gd name="connsiteY5" fmla="*/ 2303863 h 3248544"/>
              <a:gd name="connsiteX6" fmla="*/ 335240 w 5748261"/>
              <a:gd name="connsiteY6" fmla="*/ 432489 h 3248544"/>
              <a:gd name="connsiteX0" fmla="*/ 335240 w 5748259"/>
              <a:gd name="connsiteY0" fmla="*/ 432489 h 3248544"/>
              <a:gd name="connsiteX1" fmla="*/ 3260648 w 5748259"/>
              <a:gd name="connsiteY1" fmla="*/ 0 h 3248544"/>
              <a:gd name="connsiteX2" fmla="*/ 5748260 w 5748259"/>
              <a:gd name="connsiteY2" fmla="*/ 440703 h 3248544"/>
              <a:gd name="connsiteX3" fmla="*/ 5558838 w 5748259"/>
              <a:gd name="connsiteY3" fmla="*/ 2517325 h 3248544"/>
              <a:gd name="connsiteX4" fmla="*/ 3268065 w 5748259"/>
              <a:gd name="connsiteY4" fmla="*/ 3247347 h 3248544"/>
              <a:gd name="connsiteX5" fmla="*/ 52 w 5748259"/>
              <a:gd name="connsiteY5" fmla="*/ 2303863 h 3248544"/>
              <a:gd name="connsiteX6" fmla="*/ 335240 w 5748259"/>
              <a:gd name="connsiteY6" fmla="*/ 432489 h 3248544"/>
              <a:gd name="connsiteX0" fmla="*/ 335240 w 5748261"/>
              <a:gd name="connsiteY0" fmla="*/ 432489 h 3248544"/>
              <a:gd name="connsiteX1" fmla="*/ 3260648 w 5748261"/>
              <a:gd name="connsiteY1" fmla="*/ 0 h 3248544"/>
              <a:gd name="connsiteX2" fmla="*/ 5748260 w 5748261"/>
              <a:gd name="connsiteY2" fmla="*/ 440703 h 3248544"/>
              <a:gd name="connsiteX3" fmla="*/ 5558838 w 5748261"/>
              <a:gd name="connsiteY3" fmla="*/ 2517325 h 3248544"/>
              <a:gd name="connsiteX4" fmla="*/ 3268065 w 5748261"/>
              <a:gd name="connsiteY4" fmla="*/ 3247347 h 3248544"/>
              <a:gd name="connsiteX5" fmla="*/ 52 w 5748261"/>
              <a:gd name="connsiteY5" fmla="*/ 2303863 h 3248544"/>
              <a:gd name="connsiteX6" fmla="*/ 335240 w 5748261"/>
              <a:gd name="connsiteY6" fmla="*/ 432489 h 3248544"/>
              <a:gd name="connsiteX0" fmla="*/ 335240 w 5748259"/>
              <a:gd name="connsiteY0" fmla="*/ 432489 h 3247347"/>
              <a:gd name="connsiteX1" fmla="*/ 3260648 w 5748259"/>
              <a:gd name="connsiteY1" fmla="*/ 0 h 3247347"/>
              <a:gd name="connsiteX2" fmla="*/ 5748260 w 5748259"/>
              <a:gd name="connsiteY2" fmla="*/ 440703 h 3247347"/>
              <a:gd name="connsiteX3" fmla="*/ 5558838 w 5748259"/>
              <a:gd name="connsiteY3" fmla="*/ 2517325 h 3247347"/>
              <a:gd name="connsiteX4" fmla="*/ 3268065 w 5748259"/>
              <a:gd name="connsiteY4" fmla="*/ 3247347 h 3247347"/>
              <a:gd name="connsiteX5" fmla="*/ 52 w 5748259"/>
              <a:gd name="connsiteY5" fmla="*/ 2303863 h 3247347"/>
              <a:gd name="connsiteX6" fmla="*/ 335240 w 5748259"/>
              <a:gd name="connsiteY6" fmla="*/ 432489 h 3247347"/>
              <a:gd name="connsiteX0" fmla="*/ 335227 w 5748247"/>
              <a:gd name="connsiteY0" fmla="*/ 432489 h 3247347"/>
              <a:gd name="connsiteX1" fmla="*/ 3260635 w 5748247"/>
              <a:gd name="connsiteY1" fmla="*/ 0 h 3247347"/>
              <a:gd name="connsiteX2" fmla="*/ 5748247 w 5748247"/>
              <a:gd name="connsiteY2" fmla="*/ 440703 h 3247347"/>
              <a:gd name="connsiteX3" fmla="*/ 5558825 w 5748247"/>
              <a:gd name="connsiteY3" fmla="*/ 2517325 h 3247347"/>
              <a:gd name="connsiteX4" fmla="*/ 3268052 w 5748247"/>
              <a:gd name="connsiteY4" fmla="*/ 3247347 h 3247347"/>
              <a:gd name="connsiteX5" fmla="*/ 39 w 5748247"/>
              <a:gd name="connsiteY5" fmla="*/ 2303863 h 3247347"/>
              <a:gd name="connsiteX6" fmla="*/ 335227 w 5748247"/>
              <a:gd name="connsiteY6" fmla="*/ 432489 h 3247347"/>
              <a:gd name="connsiteX0" fmla="*/ 335225 w 5748245"/>
              <a:gd name="connsiteY0" fmla="*/ 581668 h 3396526"/>
              <a:gd name="connsiteX1" fmla="*/ 2685923 w 5748245"/>
              <a:gd name="connsiteY1" fmla="*/ 0 h 3396526"/>
              <a:gd name="connsiteX2" fmla="*/ 5748245 w 5748245"/>
              <a:gd name="connsiteY2" fmla="*/ 589882 h 3396526"/>
              <a:gd name="connsiteX3" fmla="*/ 5558823 w 5748245"/>
              <a:gd name="connsiteY3" fmla="*/ 2666504 h 3396526"/>
              <a:gd name="connsiteX4" fmla="*/ 3268050 w 5748245"/>
              <a:gd name="connsiteY4" fmla="*/ 3396526 h 3396526"/>
              <a:gd name="connsiteX5" fmla="*/ 37 w 5748245"/>
              <a:gd name="connsiteY5" fmla="*/ 2453042 h 3396526"/>
              <a:gd name="connsiteX6" fmla="*/ 335225 w 5748245"/>
              <a:gd name="connsiteY6" fmla="*/ 581668 h 3396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48245" h="3396526">
                <a:moveTo>
                  <a:pt x="335225" y="581668"/>
                </a:moveTo>
                <a:lnTo>
                  <a:pt x="2685923" y="0"/>
                </a:lnTo>
                <a:lnTo>
                  <a:pt x="5748245" y="589882"/>
                </a:lnTo>
                <a:cubicBezTo>
                  <a:pt x="5740060" y="589102"/>
                  <a:pt x="5559043" y="2664959"/>
                  <a:pt x="5558823" y="2666504"/>
                </a:cubicBezTo>
                <a:cubicBezTo>
                  <a:pt x="5564202" y="2663018"/>
                  <a:pt x="3242651" y="3393605"/>
                  <a:pt x="3268050" y="3396526"/>
                </a:cubicBezTo>
                <a:cubicBezTo>
                  <a:pt x="3230591" y="3394634"/>
                  <a:pt x="-12764" y="2451902"/>
                  <a:pt x="37" y="2453042"/>
                </a:cubicBezTo>
                <a:cubicBezTo>
                  <a:pt x="9484" y="2453883"/>
                  <a:pt x="167631" y="1517355"/>
                  <a:pt x="335225" y="581668"/>
                </a:cubicBezTo>
                <a:close/>
              </a:path>
            </a:pathLst>
          </a:custGeom>
          <a:ln w="50800">
            <a:noFill/>
          </a:ln>
        </p:spPr>
        <p:txBody>
          <a:bodyPr/>
          <a:lstStyle/>
          <a:p>
            <a:pPr marL="304778" marR="0" lvl="0" indent="-304778" algn="l" defTabSz="1219108" rtl="0" eaLnBrk="1" fontAlgn="auto" latinLnBrk="0" hangingPunct="1">
              <a:lnSpc>
                <a:spcPct val="90000"/>
              </a:lnSpc>
              <a:spcBef>
                <a:spcPts val="1333"/>
              </a:spcBef>
              <a:spcAft>
                <a:spcPts val="0"/>
              </a:spcAft>
              <a:buClrTx/>
              <a:buSzTx/>
              <a:buFont typeface="Arial" panose="020B0604020202020204" pitchFamily="34" charset="0"/>
              <a:buNone/>
              <a:tabLst/>
              <a:defRPr/>
            </a:pPr>
            <a:r>
              <a:rPr lang="en-US" noProof="0"/>
              <a:t>Picture</a:t>
            </a:r>
          </a:p>
        </p:txBody>
      </p:sp>
      <p:sp>
        <p:nvSpPr>
          <p:cNvPr id="2" name="Marcador de texto 6">
            <a:extLst>
              <a:ext uri="{FF2B5EF4-FFF2-40B4-BE49-F238E27FC236}">
                <a16:creationId xmlns:a16="http://schemas.microsoft.com/office/drawing/2014/main" id="{066B6A12-1FA8-3B1F-ED4F-F7648B157B34}"/>
              </a:ext>
            </a:extLst>
          </p:cNvPr>
          <p:cNvSpPr>
            <a:spLocks noGrp="1"/>
          </p:cNvSpPr>
          <p:nvPr>
            <p:ph type="body" sz="quarter" idx="19" hasCustomPrompt="1"/>
          </p:nvPr>
        </p:nvSpPr>
        <p:spPr>
          <a:xfrm>
            <a:off x="239184" y="6341105"/>
            <a:ext cx="960965" cy="310299"/>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3"/>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8" name="Marcador de texto 5">
            <a:extLst>
              <a:ext uri="{FF2B5EF4-FFF2-40B4-BE49-F238E27FC236}">
                <a16:creationId xmlns:a16="http://schemas.microsoft.com/office/drawing/2014/main" id="{9007BDC1-0D56-8110-1928-910B95C75584}"/>
              </a:ext>
            </a:extLst>
          </p:cNvPr>
          <p:cNvSpPr>
            <a:spLocks noGrp="1"/>
          </p:cNvSpPr>
          <p:nvPr>
            <p:ph type="body" sz="quarter" idx="25" hasCustomPrompt="1"/>
          </p:nvPr>
        </p:nvSpPr>
        <p:spPr>
          <a:xfrm>
            <a:off x="4039281" y="6417750"/>
            <a:ext cx="4113439" cy="195084"/>
          </a:xfrm>
          <a:prstGeom prst="rect">
            <a:avLst/>
          </a:prstGeom>
        </p:spPr>
        <p:txBody>
          <a:bodyPr/>
          <a:lstStyle>
            <a:lvl1pPr marL="0" indent="0" algn="ctr">
              <a:buNone/>
              <a:defRPr sz="933">
                <a:solidFill>
                  <a:schemeClr val="accent1"/>
                </a:solidFill>
              </a:defRPr>
            </a:lvl1pPr>
          </a:lstStyle>
          <a:p>
            <a:r>
              <a:rPr lang="es-ES" err="1"/>
              <a:t>Lorem</a:t>
            </a:r>
            <a:r>
              <a:rPr lang="es-ES"/>
              <a:t> </a:t>
            </a:r>
            <a:r>
              <a:rPr lang="es-ES" err="1"/>
              <a:t>ipsum</a:t>
            </a:r>
            <a:r>
              <a:rPr lang="es-ES"/>
              <a:t> dolor </a:t>
            </a:r>
            <a:r>
              <a:rPr lang="es-ES" err="1"/>
              <a:t>sit</a:t>
            </a:r>
            <a:r>
              <a:rPr lang="es-ES"/>
              <a:t> </a:t>
            </a:r>
            <a:r>
              <a:rPr lang="es-ES" err="1"/>
              <a:t>amet</a:t>
            </a:r>
            <a:r>
              <a:rPr lang="es-ES"/>
              <a:t>.</a:t>
            </a:r>
          </a:p>
        </p:txBody>
      </p:sp>
      <p:sp>
        <p:nvSpPr>
          <p:cNvPr id="9" name="Slide Number Placeholder 5">
            <a:extLst>
              <a:ext uri="{FF2B5EF4-FFF2-40B4-BE49-F238E27FC236}">
                <a16:creationId xmlns:a16="http://schemas.microsoft.com/office/drawing/2014/main" id="{16095D68-F876-84EA-B195-9C04ACA3B1DF}"/>
              </a:ext>
            </a:extLst>
          </p:cNvPr>
          <p:cNvSpPr>
            <a:spLocks noGrp="1"/>
          </p:cNvSpPr>
          <p:nvPr>
            <p:ph type="sldNum" sz="quarter" idx="4"/>
          </p:nvPr>
        </p:nvSpPr>
        <p:spPr>
          <a:xfrm>
            <a:off x="10910403" y="6356351"/>
            <a:ext cx="1042415" cy="365125"/>
          </a:xfrm>
          <a:prstGeom prst="rect">
            <a:avLst/>
          </a:prstGeom>
        </p:spPr>
        <p:txBody>
          <a:bodyPr vert="horz" lIns="91440" tIns="45720" rIns="91440" bIns="45720" rtlCol="0" anchor="ctr"/>
          <a:lstStyle>
            <a:lvl1pPr algn="r">
              <a:defRPr sz="933">
                <a:solidFill>
                  <a:schemeClr val="accent1"/>
                </a:solidFill>
              </a:defRPr>
            </a:lvl1pPr>
          </a:lstStyle>
          <a:p>
            <a:fld id="{96F64DD7-E411-6141-89FE-121B5323FD5F}" type="slidenum">
              <a:rPr lang="en-US" smtClean="0"/>
              <a:pPr/>
              <a:t>‹Nº›</a:t>
            </a:fld>
            <a:endParaRPr lang="en-US"/>
          </a:p>
        </p:txBody>
      </p:sp>
    </p:spTree>
    <p:extLst>
      <p:ext uri="{BB962C8B-B14F-4D97-AF65-F5344CB8AC3E}">
        <p14:creationId xmlns:p14="http://schemas.microsoft.com/office/powerpoint/2010/main" val="1754743184"/>
      </p:ext>
    </p:extLst>
  </p:cSld>
  <p:clrMapOvr>
    <a:masterClrMapping/>
  </p:clrMapOvr>
  <p:extLst>
    <p:ext uri="{DCECCB84-F9BA-43D5-87BE-67443E8EF086}">
      <p15:sldGuideLst xmlns:p15="http://schemas.microsoft.com/office/powerpoint/2012/main">
        <p15:guide id="1" orient="horz" pos="2867">
          <p15:clr>
            <a:srgbClr val="FBAE40"/>
          </p15:clr>
        </p15:guide>
        <p15:guide id="2" pos="2880">
          <p15:clr>
            <a:srgbClr val="FBAE40"/>
          </p15:clr>
        </p15:guide>
        <p15:guide id="3" orient="horz" pos="35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1">
    <p:bg>
      <p:bgPr>
        <a:solidFill>
          <a:schemeClr val="bg1"/>
        </a:solidFill>
        <a:effectLst/>
      </p:bgPr>
    </p:bg>
    <p:spTree>
      <p:nvGrpSpPr>
        <p:cNvPr id="1" name=""/>
        <p:cNvGrpSpPr/>
        <p:nvPr/>
      </p:nvGrpSpPr>
      <p:grpSpPr>
        <a:xfrm>
          <a:off x="0" y="0"/>
          <a:ext cx="0" cy="0"/>
          <a:chOff x="0" y="0"/>
          <a:chExt cx="0" cy="0"/>
        </a:xfrm>
      </p:grpSpPr>
      <p:sp>
        <p:nvSpPr>
          <p:cNvPr id="5" name="Marcador de texto 6">
            <a:extLst>
              <a:ext uri="{FF2B5EF4-FFF2-40B4-BE49-F238E27FC236}">
                <a16:creationId xmlns:a16="http://schemas.microsoft.com/office/drawing/2014/main" id="{52F76A6C-4493-8436-B38A-E646DCD14B4F}"/>
              </a:ext>
            </a:extLst>
          </p:cNvPr>
          <p:cNvSpPr>
            <a:spLocks noGrp="1"/>
          </p:cNvSpPr>
          <p:nvPr>
            <p:ph type="body" sz="quarter" idx="26" hasCustomPrompt="1"/>
          </p:nvPr>
        </p:nvSpPr>
        <p:spPr>
          <a:xfrm>
            <a:off x="0" y="6015456"/>
            <a:ext cx="12192000" cy="842544"/>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2"/>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3" name="Título 1">
            <a:extLst>
              <a:ext uri="{FF2B5EF4-FFF2-40B4-BE49-F238E27FC236}">
                <a16:creationId xmlns:a16="http://schemas.microsoft.com/office/drawing/2014/main" id="{6A7163C3-6C67-E27A-BD86-1F428AEE1090}"/>
              </a:ext>
            </a:extLst>
          </p:cNvPr>
          <p:cNvSpPr>
            <a:spLocks noGrp="1"/>
          </p:cNvSpPr>
          <p:nvPr>
            <p:ph type="title" hasCustomPrompt="1"/>
          </p:nvPr>
        </p:nvSpPr>
        <p:spPr>
          <a:xfrm>
            <a:off x="1200151" y="1512753"/>
            <a:ext cx="4207565" cy="2599343"/>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4800" baseline="0">
                <a:solidFill>
                  <a:schemeClr val="accent2"/>
                </a:solidFill>
              </a:defRPr>
            </a:lvl1pPr>
          </a:lstStyle>
          <a:p>
            <a:r>
              <a:rPr lang="en-US" noProof="0"/>
              <a:t>Headline is Arial Reg.36pt.</a:t>
            </a:r>
            <a:br>
              <a:rPr lang="en-US" noProof="0"/>
            </a:br>
            <a:r>
              <a:rPr lang="en-US" noProof="0"/>
              <a:t>Lorem ipsum </a:t>
            </a:r>
            <a:br>
              <a:rPr lang="en-US" noProof="0"/>
            </a:br>
            <a:r>
              <a:rPr lang="en-US" noProof="0"/>
              <a:t>dolor sit </a:t>
            </a:r>
            <a:r>
              <a:rPr lang="en-US" noProof="0" err="1"/>
              <a:t>amet</a:t>
            </a:r>
            <a:r>
              <a:rPr lang="en-US" noProof="0"/>
              <a:t>.</a:t>
            </a:r>
          </a:p>
        </p:txBody>
      </p:sp>
      <p:sp>
        <p:nvSpPr>
          <p:cNvPr id="4" name="Marcador de texto 5">
            <a:extLst>
              <a:ext uri="{FF2B5EF4-FFF2-40B4-BE49-F238E27FC236}">
                <a16:creationId xmlns:a16="http://schemas.microsoft.com/office/drawing/2014/main" id="{7603340C-8E25-AA7C-F012-C1912DE9362B}"/>
              </a:ext>
            </a:extLst>
          </p:cNvPr>
          <p:cNvSpPr>
            <a:spLocks noGrp="1"/>
          </p:cNvSpPr>
          <p:nvPr>
            <p:ph type="body" sz="quarter" idx="12" hasCustomPrompt="1"/>
          </p:nvPr>
        </p:nvSpPr>
        <p:spPr>
          <a:xfrm>
            <a:off x="1216715" y="4240588"/>
            <a:ext cx="4193935" cy="405357"/>
          </a:xfrm>
          <a:prstGeom prst="rect">
            <a:avLst/>
          </a:prstGeom>
        </p:spPr>
        <p:txBody>
          <a:bodyPr lIns="0" tIns="0" rIns="0" bIns="0">
            <a:noAutofit/>
          </a:bodyPr>
          <a:lstStyle>
            <a:lvl1pPr marL="0" indent="0">
              <a:lnSpc>
                <a:spcPct val="100000"/>
              </a:lnSpc>
              <a:spcBef>
                <a:spcPts val="0"/>
              </a:spcBef>
              <a:buNone/>
              <a:defRPr sz="1733" baseline="0">
                <a:solidFill>
                  <a:schemeClr val="accent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Subhead is Arial Regular 13/Simple pt.</a:t>
            </a:r>
          </a:p>
        </p:txBody>
      </p:sp>
      <p:sp>
        <p:nvSpPr>
          <p:cNvPr id="6" name="Marcador de texto 5">
            <a:extLst>
              <a:ext uri="{FF2B5EF4-FFF2-40B4-BE49-F238E27FC236}">
                <a16:creationId xmlns:a16="http://schemas.microsoft.com/office/drawing/2014/main" id="{50553BA4-0A31-A33B-E8A9-32A38D3456E0}"/>
              </a:ext>
            </a:extLst>
          </p:cNvPr>
          <p:cNvSpPr>
            <a:spLocks noGrp="1"/>
          </p:cNvSpPr>
          <p:nvPr>
            <p:ph type="body" sz="quarter" idx="16" hasCustomPrompt="1"/>
          </p:nvPr>
        </p:nvSpPr>
        <p:spPr>
          <a:xfrm>
            <a:off x="6527800" y="1512754"/>
            <a:ext cx="4895851" cy="2599341"/>
          </a:xfrm>
          <a:prstGeom prst="rect">
            <a:avLst/>
          </a:prstGeom>
        </p:spPr>
        <p:txBody>
          <a:bodyPr lIns="0" tIns="0" rIns="0" bIns="0">
            <a:noAutofit/>
          </a:bodyPr>
          <a:lstStyle>
            <a:lvl1pPr marL="0" indent="0">
              <a:lnSpc>
                <a:spcPct val="100000"/>
              </a:lnSpc>
              <a:spcBef>
                <a:spcPts val="0"/>
              </a:spcBef>
              <a:buNone/>
              <a:defRPr sz="1200" baseline="0">
                <a:solidFill>
                  <a:schemeClr val="accent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err="1"/>
              <a:t>Bodycopy</a:t>
            </a:r>
            <a:r>
              <a:rPr lang="en-US" noProof="0"/>
              <a:t> is Arial Regular 9/Simple p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a:t>
            </a:r>
          </a:p>
          <a:p>
            <a:pPr lvl="0"/>
            <a:endParaRPr lang="en-US" noProof="0"/>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err="1"/>
              <a:t>Bodycopy</a:t>
            </a:r>
            <a:r>
              <a:rPr lang="en-US" noProof="0"/>
              <a:t> is Arial Regular 9/Simple pt. Lorem ipsum dolor si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ipsum dolor sit </a:t>
            </a:r>
            <a:r>
              <a:rPr lang="en-US" noProof="0" err="1"/>
              <a:t>amet</a:t>
            </a:r>
            <a:r>
              <a:rPr lang="en-US" noProof="0"/>
              <a:t> lorem ipsum dolor sit </a:t>
            </a:r>
            <a:r>
              <a:rPr lang="en-US" noProof="0" err="1"/>
              <a:t>amet</a:t>
            </a:r>
            <a:r>
              <a:rPr lang="en-US" noProof="0"/>
              <a:t>. Lorem ipsum dolor sit ipsum dolor sit </a:t>
            </a:r>
            <a:r>
              <a:rPr lang="en-US" noProof="0" err="1"/>
              <a:t>amet</a:t>
            </a:r>
            <a:r>
              <a:rPr lang="en-US" noProof="0"/>
              <a:t> lorem ipsum dolor sit </a:t>
            </a:r>
            <a:r>
              <a:rPr lang="en-US" noProof="0" err="1"/>
              <a:t>amet</a:t>
            </a:r>
            <a:r>
              <a:rPr lang="en-US" noProof="0"/>
              <a:t>. Lorem ipsum dolor sit dolor sit </a:t>
            </a:r>
            <a:r>
              <a:rPr lang="en-US" noProof="0" err="1"/>
              <a:t>amet</a:t>
            </a:r>
            <a:r>
              <a:rPr lang="en-US" noProof="0"/>
              <a:t> lorem ipsum dolor sit </a:t>
            </a:r>
            <a:r>
              <a:rPr lang="en-US" noProof="0" err="1"/>
              <a:t>amet</a:t>
            </a:r>
            <a:r>
              <a:rPr lang="en-US" noProof="0"/>
              <a:t>.</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noProof="0"/>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err="1"/>
              <a:t>Bodycopy</a:t>
            </a:r>
            <a:r>
              <a:rPr lang="en-US" noProof="0"/>
              <a:t> is Arial Regular 9/Simple pt. Lorem ipsum dolor si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a:t>
            </a:r>
          </a:p>
          <a:p>
            <a:pPr lvl="0"/>
            <a:endParaRPr lang="en-US" noProof="0"/>
          </a:p>
        </p:txBody>
      </p:sp>
      <p:sp>
        <p:nvSpPr>
          <p:cNvPr id="11" name="Marcador de texto 5">
            <a:extLst>
              <a:ext uri="{FF2B5EF4-FFF2-40B4-BE49-F238E27FC236}">
                <a16:creationId xmlns:a16="http://schemas.microsoft.com/office/drawing/2014/main" id="{7CDDA290-0346-AE09-F9EB-9D4AAA7A3797}"/>
              </a:ext>
            </a:extLst>
          </p:cNvPr>
          <p:cNvSpPr>
            <a:spLocks noGrp="1"/>
          </p:cNvSpPr>
          <p:nvPr>
            <p:ph type="body" sz="quarter" idx="25" hasCustomPrompt="1"/>
          </p:nvPr>
        </p:nvSpPr>
        <p:spPr>
          <a:xfrm>
            <a:off x="4039281" y="6417750"/>
            <a:ext cx="4113439" cy="195084"/>
          </a:xfrm>
          <a:prstGeom prst="rect">
            <a:avLst/>
          </a:prstGeom>
        </p:spPr>
        <p:txBody>
          <a:bodyPr/>
          <a:lstStyle>
            <a:lvl1pPr marL="0" indent="0" algn="ctr">
              <a:buNone/>
              <a:defRPr sz="933">
                <a:solidFill>
                  <a:schemeClr val="bg1"/>
                </a:solidFill>
              </a:defRPr>
            </a:lvl1pPr>
          </a:lstStyle>
          <a:p>
            <a:r>
              <a:rPr lang="es-ES" err="1"/>
              <a:t>Lorem</a:t>
            </a:r>
            <a:r>
              <a:rPr lang="es-ES"/>
              <a:t> </a:t>
            </a:r>
            <a:r>
              <a:rPr lang="es-ES" err="1"/>
              <a:t>ipsum</a:t>
            </a:r>
            <a:r>
              <a:rPr lang="es-ES"/>
              <a:t> dolor </a:t>
            </a:r>
            <a:r>
              <a:rPr lang="es-ES" err="1"/>
              <a:t>sit</a:t>
            </a:r>
            <a:r>
              <a:rPr lang="es-ES"/>
              <a:t> </a:t>
            </a:r>
            <a:r>
              <a:rPr lang="es-ES" err="1"/>
              <a:t>amet</a:t>
            </a:r>
            <a:r>
              <a:rPr lang="es-ES"/>
              <a:t>.</a:t>
            </a:r>
          </a:p>
        </p:txBody>
      </p:sp>
      <p:sp>
        <p:nvSpPr>
          <p:cNvPr id="12" name="Slide Number Placeholder 5">
            <a:extLst>
              <a:ext uri="{FF2B5EF4-FFF2-40B4-BE49-F238E27FC236}">
                <a16:creationId xmlns:a16="http://schemas.microsoft.com/office/drawing/2014/main" id="{D867051E-6162-788D-FA7E-35828142C569}"/>
              </a:ext>
            </a:extLst>
          </p:cNvPr>
          <p:cNvSpPr>
            <a:spLocks noGrp="1"/>
          </p:cNvSpPr>
          <p:nvPr>
            <p:ph type="sldNum" sz="quarter" idx="4"/>
          </p:nvPr>
        </p:nvSpPr>
        <p:spPr>
          <a:xfrm>
            <a:off x="10910403" y="6356351"/>
            <a:ext cx="1042415" cy="365125"/>
          </a:xfrm>
          <a:prstGeom prst="rect">
            <a:avLst/>
          </a:prstGeom>
        </p:spPr>
        <p:txBody>
          <a:bodyPr vert="horz" lIns="91440" tIns="45720" rIns="91440" bIns="45720" rtlCol="0" anchor="ctr"/>
          <a:lstStyle>
            <a:lvl1pPr algn="r">
              <a:defRPr sz="933">
                <a:solidFill>
                  <a:schemeClr val="bg1"/>
                </a:solidFill>
              </a:defRPr>
            </a:lvl1pPr>
          </a:lstStyle>
          <a:p>
            <a:fld id="{96F64DD7-E411-6141-89FE-121B5323FD5F}" type="slidenum">
              <a:rPr lang="en-US" smtClean="0"/>
              <a:pPr/>
              <a:t>‹Nº›</a:t>
            </a:fld>
            <a:endParaRPr lang="en-US"/>
          </a:p>
        </p:txBody>
      </p:sp>
    </p:spTree>
    <p:extLst>
      <p:ext uri="{BB962C8B-B14F-4D97-AF65-F5344CB8AC3E}">
        <p14:creationId xmlns:p14="http://schemas.microsoft.com/office/powerpoint/2010/main" val="3185274929"/>
      </p:ext>
    </p:extLst>
  </p:cSld>
  <p:clrMapOvr>
    <a:masterClrMapping/>
  </p:clrMapOvr>
  <p:extLst>
    <p:ext uri="{DCECCB84-F9BA-43D5-87BE-67443E8EF086}">
      <p15:sldGuideLst xmlns:p15="http://schemas.microsoft.com/office/powerpoint/2012/main">
        <p15:guide id="1" orient="horz" pos="2867">
          <p15:clr>
            <a:srgbClr val="FBAE40"/>
          </p15:clr>
        </p15:guide>
        <p15:guide id="2" pos="2880">
          <p15:clr>
            <a:srgbClr val="FBAE40"/>
          </p15:clr>
        </p15:guide>
        <p15:guide id="3" orient="horz" pos="35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2">
    <p:bg>
      <p:bgPr>
        <a:solidFill>
          <a:schemeClr val="bg1"/>
        </a:solidFill>
        <a:effectLst/>
      </p:bgPr>
    </p:bg>
    <p:spTree>
      <p:nvGrpSpPr>
        <p:cNvPr id="1" name=""/>
        <p:cNvGrpSpPr/>
        <p:nvPr/>
      </p:nvGrpSpPr>
      <p:grpSpPr>
        <a:xfrm>
          <a:off x="0" y="0"/>
          <a:ext cx="0" cy="0"/>
          <a:chOff x="0" y="0"/>
          <a:chExt cx="0" cy="0"/>
        </a:xfrm>
      </p:grpSpPr>
      <p:sp>
        <p:nvSpPr>
          <p:cNvPr id="3" name="Título 1">
            <a:extLst>
              <a:ext uri="{FF2B5EF4-FFF2-40B4-BE49-F238E27FC236}">
                <a16:creationId xmlns:a16="http://schemas.microsoft.com/office/drawing/2014/main" id="{6A7163C3-6C67-E27A-BD86-1F428AEE1090}"/>
              </a:ext>
            </a:extLst>
          </p:cNvPr>
          <p:cNvSpPr>
            <a:spLocks noGrp="1"/>
          </p:cNvSpPr>
          <p:nvPr>
            <p:ph type="title" hasCustomPrompt="1"/>
          </p:nvPr>
        </p:nvSpPr>
        <p:spPr>
          <a:xfrm>
            <a:off x="1200151" y="2039390"/>
            <a:ext cx="4207565" cy="2599343"/>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4800" baseline="0">
                <a:solidFill>
                  <a:schemeClr val="accent2"/>
                </a:solidFill>
              </a:defRPr>
            </a:lvl1pPr>
          </a:lstStyle>
          <a:p>
            <a:r>
              <a:rPr lang="en-US" noProof="0"/>
              <a:t>Headline is Arial Reg.36pt.</a:t>
            </a:r>
            <a:br>
              <a:rPr lang="en-US" noProof="0"/>
            </a:br>
            <a:r>
              <a:rPr lang="en-US" noProof="0"/>
              <a:t>Lorem ipsum </a:t>
            </a:r>
            <a:br>
              <a:rPr lang="en-US" noProof="0"/>
            </a:br>
            <a:r>
              <a:rPr lang="en-US" noProof="0"/>
              <a:t>dolor sit </a:t>
            </a:r>
            <a:r>
              <a:rPr lang="en-US" noProof="0" err="1"/>
              <a:t>amet</a:t>
            </a:r>
            <a:r>
              <a:rPr lang="en-US" noProof="0"/>
              <a:t>.</a:t>
            </a:r>
          </a:p>
        </p:txBody>
      </p:sp>
      <p:sp>
        <p:nvSpPr>
          <p:cNvPr id="4" name="Marcador de texto 5">
            <a:extLst>
              <a:ext uri="{FF2B5EF4-FFF2-40B4-BE49-F238E27FC236}">
                <a16:creationId xmlns:a16="http://schemas.microsoft.com/office/drawing/2014/main" id="{7603340C-8E25-AA7C-F012-C1912DE9362B}"/>
              </a:ext>
            </a:extLst>
          </p:cNvPr>
          <p:cNvSpPr>
            <a:spLocks noGrp="1"/>
          </p:cNvSpPr>
          <p:nvPr>
            <p:ph type="body" sz="quarter" idx="12" hasCustomPrompt="1"/>
          </p:nvPr>
        </p:nvSpPr>
        <p:spPr>
          <a:xfrm>
            <a:off x="1216715" y="4767226"/>
            <a:ext cx="4193935" cy="405357"/>
          </a:xfrm>
          <a:prstGeom prst="rect">
            <a:avLst/>
          </a:prstGeom>
        </p:spPr>
        <p:txBody>
          <a:bodyPr lIns="0" tIns="0" rIns="0" bIns="0">
            <a:noAutofit/>
          </a:bodyPr>
          <a:lstStyle>
            <a:lvl1pPr marL="0" indent="0">
              <a:lnSpc>
                <a:spcPct val="100000"/>
              </a:lnSpc>
              <a:spcBef>
                <a:spcPts val="0"/>
              </a:spcBef>
              <a:buNone/>
              <a:defRPr sz="1733" baseline="0">
                <a:solidFill>
                  <a:schemeClr val="accent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Subhead is Arial Regular 13/Simple pt.</a:t>
            </a:r>
          </a:p>
        </p:txBody>
      </p:sp>
      <p:sp>
        <p:nvSpPr>
          <p:cNvPr id="6" name="Marcador de texto 5">
            <a:extLst>
              <a:ext uri="{FF2B5EF4-FFF2-40B4-BE49-F238E27FC236}">
                <a16:creationId xmlns:a16="http://schemas.microsoft.com/office/drawing/2014/main" id="{50553BA4-0A31-A33B-E8A9-32A38D3456E0}"/>
              </a:ext>
            </a:extLst>
          </p:cNvPr>
          <p:cNvSpPr>
            <a:spLocks noGrp="1"/>
          </p:cNvSpPr>
          <p:nvPr>
            <p:ph type="body" sz="quarter" idx="16" hasCustomPrompt="1"/>
          </p:nvPr>
        </p:nvSpPr>
        <p:spPr>
          <a:xfrm>
            <a:off x="6527800" y="2039391"/>
            <a:ext cx="4895851" cy="2599341"/>
          </a:xfrm>
          <a:prstGeom prst="rect">
            <a:avLst/>
          </a:prstGeom>
        </p:spPr>
        <p:txBody>
          <a:bodyPr lIns="0" tIns="0" rIns="0" bIns="0">
            <a:noAutofit/>
          </a:bodyPr>
          <a:lstStyle>
            <a:lvl1pPr marL="0" indent="0">
              <a:lnSpc>
                <a:spcPct val="100000"/>
              </a:lnSpc>
              <a:spcBef>
                <a:spcPts val="0"/>
              </a:spcBef>
              <a:buNone/>
              <a:defRPr sz="1200" baseline="0">
                <a:solidFill>
                  <a:schemeClr val="accent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err="1"/>
              <a:t>Bodycopy</a:t>
            </a:r>
            <a:r>
              <a:rPr lang="en-US" noProof="0"/>
              <a:t> is Arial Regular 9/Simple p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a:t>
            </a:r>
          </a:p>
          <a:p>
            <a:pPr lvl="0"/>
            <a:endParaRPr lang="en-US" noProof="0"/>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err="1"/>
              <a:t>Bodycopy</a:t>
            </a:r>
            <a:r>
              <a:rPr lang="en-US" noProof="0"/>
              <a:t> is Arial Regular 9/Simple pt. Lorem ipsum dolor si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ipsum dolor sit </a:t>
            </a:r>
            <a:r>
              <a:rPr lang="en-US" noProof="0" err="1"/>
              <a:t>amet</a:t>
            </a:r>
            <a:r>
              <a:rPr lang="en-US" noProof="0"/>
              <a:t> lorem ipsum dolor sit </a:t>
            </a:r>
            <a:r>
              <a:rPr lang="en-US" noProof="0" err="1"/>
              <a:t>amet</a:t>
            </a:r>
            <a:r>
              <a:rPr lang="en-US" noProof="0"/>
              <a:t>. Lorem ipsum dolor sit ipsum dolor sit </a:t>
            </a:r>
            <a:r>
              <a:rPr lang="en-US" noProof="0" err="1"/>
              <a:t>amet</a:t>
            </a:r>
            <a:r>
              <a:rPr lang="en-US" noProof="0"/>
              <a:t> lorem ipsum dolor sit </a:t>
            </a:r>
            <a:r>
              <a:rPr lang="en-US" noProof="0" err="1"/>
              <a:t>amet</a:t>
            </a:r>
            <a:r>
              <a:rPr lang="en-US" noProof="0"/>
              <a:t>. Lorem ipsum dolor sit dolor sit </a:t>
            </a:r>
            <a:r>
              <a:rPr lang="en-US" noProof="0" err="1"/>
              <a:t>amet</a:t>
            </a:r>
            <a:r>
              <a:rPr lang="en-US" noProof="0"/>
              <a:t> lorem ipsum dolor sit </a:t>
            </a:r>
            <a:r>
              <a:rPr lang="en-US" noProof="0" err="1"/>
              <a:t>amet</a:t>
            </a:r>
            <a:r>
              <a:rPr lang="en-US" noProof="0"/>
              <a:t>.</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noProof="0"/>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err="1"/>
              <a:t>Bodycopy</a:t>
            </a:r>
            <a:r>
              <a:rPr lang="en-US" noProof="0"/>
              <a:t> is Arial Regular 9/Simple pt. Lorem ipsum dolor si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a:t>
            </a:r>
          </a:p>
          <a:p>
            <a:pPr lvl="0"/>
            <a:endParaRPr lang="en-US" noProof="0"/>
          </a:p>
        </p:txBody>
      </p:sp>
      <p:sp>
        <p:nvSpPr>
          <p:cNvPr id="2" name="Marcador de texto 6">
            <a:extLst>
              <a:ext uri="{FF2B5EF4-FFF2-40B4-BE49-F238E27FC236}">
                <a16:creationId xmlns:a16="http://schemas.microsoft.com/office/drawing/2014/main" id="{F5607EC1-818C-BAD3-C94A-E0EBEE0267BB}"/>
              </a:ext>
            </a:extLst>
          </p:cNvPr>
          <p:cNvSpPr>
            <a:spLocks noGrp="1"/>
          </p:cNvSpPr>
          <p:nvPr>
            <p:ph type="body" sz="quarter" idx="25" hasCustomPrompt="1"/>
          </p:nvPr>
        </p:nvSpPr>
        <p:spPr>
          <a:xfrm>
            <a:off x="0" y="0"/>
            <a:ext cx="12192000" cy="842544"/>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2"/>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7" name="Marcador de texto 6">
            <a:extLst>
              <a:ext uri="{FF2B5EF4-FFF2-40B4-BE49-F238E27FC236}">
                <a16:creationId xmlns:a16="http://schemas.microsoft.com/office/drawing/2014/main" id="{0069017F-969A-CBD3-BD86-8B78B5EE9EAA}"/>
              </a:ext>
            </a:extLst>
          </p:cNvPr>
          <p:cNvSpPr>
            <a:spLocks noGrp="1"/>
          </p:cNvSpPr>
          <p:nvPr>
            <p:ph type="body" sz="quarter" idx="19" hasCustomPrompt="1"/>
          </p:nvPr>
        </p:nvSpPr>
        <p:spPr>
          <a:xfrm>
            <a:off x="239184" y="6341105"/>
            <a:ext cx="960965" cy="310299"/>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3"/>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9" name="Marcador de texto 5">
            <a:extLst>
              <a:ext uri="{FF2B5EF4-FFF2-40B4-BE49-F238E27FC236}">
                <a16:creationId xmlns:a16="http://schemas.microsoft.com/office/drawing/2014/main" id="{6E0E43A3-0EE0-B662-FA9F-65EF32F1130C}"/>
              </a:ext>
            </a:extLst>
          </p:cNvPr>
          <p:cNvSpPr>
            <a:spLocks noGrp="1"/>
          </p:cNvSpPr>
          <p:nvPr>
            <p:ph type="body" sz="quarter" idx="26" hasCustomPrompt="1"/>
          </p:nvPr>
        </p:nvSpPr>
        <p:spPr>
          <a:xfrm>
            <a:off x="4039281" y="6417750"/>
            <a:ext cx="4113439" cy="195084"/>
          </a:xfrm>
          <a:prstGeom prst="rect">
            <a:avLst/>
          </a:prstGeom>
        </p:spPr>
        <p:txBody>
          <a:bodyPr/>
          <a:lstStyle>
            <a:lvl1pPr marL="0" indent="0" algn="ctr">
              <a:buNone/>
              <a:defRPr sz="933">
                <a:solidFill>
                  <a:schemeClr val="accent1"/>
                </a:solidFill>
              </a:defRPr>
            </a:lvl1pPr>
          </a:lstStyle>
          <a:p>
            <a:r>
              <a:rPr lang="es-ES" err="1"/>
              <a:t>Lorem</a:t>
            </a:r>
            <a:r>
              <a:rPr lang="es-ES"/>
              <a:t> </a:t>
            </a:r>
            <a:r>
              <a:rPr lang="es-ES" err="1"/>
              <a:t>ipsum</a:t>
            </a:r>
            <a:r>
              <a:rPr lang="es-ES"/>
              <a:t> dolor </a:t>
            </a:r>
            <a:r>
              <a:rPr lang="es-ES" err="1"/>
              <a:t>sit</a:t>
            </a:r>
            <a:r>
              <a:rPr lang="es-ES"/>
              <a:t> </a:t>
            </a:r>
            <a:r>
              <a:rPr lang="es-ES" err="1"/>
              <a:t>amet</a:t>
            </a:r>
            <a:r>
              <a:rPr lang="es-ES"/>
              <a:t>.</a:t>
            </a:r>
          </a:p>
        </p:txBody>
      </p:sp>
      <p:sp>
        <p:nvSpPr>
          <p:cNvPr id="10" name="Slide Number Placeholder 5">
            <a:extLst>
              <a:ext uri="{FF2B5EF4-FFF2-40B4-BE49-F238E27FC236}">
                <a16:creationId xmlns:a16="http://schemas.microsoft.com/office/drawing/2014/main" id="{9ADEA3AA-45BB-23A4-111F-EC19D51E1DB7}"/>
              </a:ext>
            </a:extLst>
          </p:cNvPr>
          <p:cNvSpPr>
            <a:spLocks noGrp="1"/>
          </p:cNvSpPr>
          <p:nvPr>
            <p:ph type="sldNum" sz="quarter" idx="4"/>
          </p:nvPr>
        </p:nvSpPr>
        <p:spPr>
          <a:xfrm>
            <a:off x="10910403" y="6356351"/>
            <a:ext cx="1042415" cy="365125"/>
          </a:xfrm>
          <a:prstGeom prst="rect">
            <a:avLst/>
          </a:prstGeom>
        </p:spPr>
        <p:txBody>
          <a:bodyPr vert="horz" lIns="91440" tIns="45720" rIns="91440" bIns="45720" rtlCol="0" anchor="ctr"/>
          <a:lstStyle>
            <a:lvl1pPr algn="r">
              <a:defRPr sz="933">
                <a:solidFill>
                  <a:schemeClr val="accent1"/>
                </a:solidFill>
              </a:defRPr>
            </a:lvl1pPr>
          </a:lstStyle>
          <a:p>
            <a:fld id="{96F64DD7-E411-6141-89FE-121B5323FD5F}" type="slidenum">
              <a:rPr lang="en-US" smtClean="0"/>
              <a:pPr/>
              <a:t>‹Nº›</a:t>
            </a:fld>
            <a:endParaRPr lang="en-US"/>
          </a:p>
        </p:txBody>
      </p:sp>
    </p:spTree>
    <p:extLst>
      <p:ext uri="{BB962C8B-B14F-4D97-AF65-F5344CB8AC3E}">
        <p14:creationId xmlns:p14="http://schemas.microsoft.com/office/powerpoint/2010/main" val="199259576"/>
      </p:ext>
    </p:extLst>
  </p:cSld>
  <p:clrMapOvr>
    <a:masterClrMapping/>
  </p:clrMapOvr>
  <p:extLst>
    <p:ext uri="{DCECCB84-F9BA-43D5-87BE-67443E8EF086}">
      <p15:sldGuideLst xmlns:p15="http://schemas.microsoft.com/office/powerpoint/2012/main">
        <p15:guide id="1" orient="horz" pos="2867">
          <p15:clr>
            <a:srgbClr val="FBAE40"/>
          </p15:clr>
        </p15:guide>
        <p15:guide id="2" pos="2880">
          <p15:clr>
            <a:srgbClr val="FBAE40"/>
          </p15:clr>
        </p15:guide>
        <p15:guide id="3" orient="horz" pos="35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o tít">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057F6F9D-641F-4F3E-B189-6D48E2F78FB5}"/>
              </a:ext>
            </a:extLst>
          </p:cNvPr>
          <p:cNvPicPr>
            <a:picLocks noChangeAspect="1"/>
          </p:cNvPicPr>
          <p:nvPr userDrawn="1"/>
        </p:nvPicPr>
        <p:blipFill>
          <a:blip r:embed="rId2"/>
          <a:stretch>
            <a:fillRect/>
          </a:stretch>
        </p:blipFill>
        <p:spPr>
          <a:xfrm>
            <a:off x="0" y="5595933"/>
            <a:ext cx="2079437" cy="1262068"/>
          </a:xfrm>
          <a:prstGeom prst="rect">
            <a:avLst/>
          </a:prstGeom>
        </p:spPr>
      </p:pic>
      <p:sp>
        <p:nvSpPr>
          <p:cNvPr id="8" name="Footer Placeholder 4">
            <a:extLst>
              <a:ext uri="{FF2B5EF4-FFF2-40B4-BE49-F238E27FC236}">
                <a16:creationId xmlns:a16="http://schemas.microsoft.com/office/drawing/2014/main" id="{3B997CCB-0A84-E13E-6080-C00F8964CBD6}"/>
              </a:ext>
            </a:extLst>
          </p:cNvPr>
          <p:cNvSpPr>
            <a:spLocks noGrp="1"/>
          </p:cNvSpPr>
          <p:nvPr>
            <p:ph type="ftr" sz="quarter" idx="11"/>
          </p:nvPr>
        </p:nvSpPr>
        <p:spPr>
          <a:xfrm>
            <a:off x="1438274" y="6353181"/>
            <a:ext cx="9315449" cy="409571"/>
          </a:xfrm>
          <a:prstGeom prst="rect">
            <a:avLst/>
          </a:prstGeom>
        </p:spPr>
        <p:txBody>
          <a:bodyPr vert="horz" lIns="91440" tIns="45720" rIns="91440" bIns="45720" rtlCol="0" anchor="ctr"/>
          <a:lstStyle>
            <a:defPPr>
              <a:defRPr lang="es-ES_tradnl"/>
            </a:defPPr>
            <a:lvl1pPr marL="0" algn="ctr" defTabSz="1219170" rtl="0" eaLnBrk="1" latinLnBrk="0" hangingPunct="1">
              <a:defRPr sz="1200" kern="1200">
                <a:solidFill>
                  <a:schemeClr val="tx1">
                    <a:tint val="75000"/>
                  </a:schemeClr>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a:t>Deck title</a:t>
            </a:r>
            <a:endParaRPr lang="en-US" noProof="0"/>
          </a:p>
        </p:txBody>
      </p:sp>
      <p:sp>
        <p:nvSpPr>
          <p:cNvPr id="9" name="Título 1">
            <a:extLst>
              <a:ext uri="{FF2B5EF4-FFF2-40B4-BE49-F238E27FC236}">
                <a16:creationId xmlns:a16="http://schemas.microsoft.com/office/drawing/2014/main" id="{86591B2D-6CCB-0CE1-F55E-37DDD1CDF2CB}"/>
              </a:ext>
            </a:extLst>
          </p:cNvPr>
          <p:cNvSpPr>
            <a:spLocks noGrp="1"/>
          </p:cNvSpPr>
          <p:nvPr>
            <p:ph type="title" hasCustomPrompt="1"/>
          </p:nvPr>
        </p:nvSpPr>
        <p:spPr>
          <a:xfrm>
            <a:off x="394956" y="176122"/>
            <a:ext cx="11402089" cy="760793"/>
          </a:xfrm>
          <a:prstGeom prst="rect">
            <a:avLst/>
          </a:prstGeom>
        </p:spPr>
        <p:txBody>
          <a:bodyPr lIns="0" tIns="0" rIns="0" bIns="0" anchor="ctr"/>
          <a:lstStyle>
            <a:lvl1pPr marL="0" marR="0" indent="0" algn="l" defTabSz="914332" rtl="0" eaLnBrk="1" fontAlgn="auto" latinLnBrk="0" hangingPunct="1">
              <a:lnSpc>
                <a:spcPct val="100000"/>
              </a:lnSpc>
              <a:spcBef>
                <a:spcPct val="0"/>
              </a:spcBef>
              <a:spcAft>
                <a:spcPts val="0"/>
              </a:spcAft>
              <a:buClrTx/>
              <a:buSzTx/>
              <a:buFontTx/>
              <a:buNone/>
              <a:tabLst/>
              <a:defRPr lang="en-US" sz="2068" b="1" kern="1200" noProof="0" dirty="0">
                <a:solidFill>
                  <a:schemeClr val="accent1"/>
                </a:solidFill>
                <a:latin typeface="+mj-lt"/>
                <a:ea typeface="+mj-ea"/>
                <a:cs typeface="+mj-cs"/>
              </a:defRPr>
            </a:lvl1pPr>
          </a:lstStyle>
          <a:p>
            <a:r>
              <a:rPr lang="en-US" noProof="0"/>
              <a:t>Slide title is Arial Regular 22/Simple pt.</a:t>
            </a:r>
          </a:p>
        </p:txBody>
      </p:sp>
      <p:cxnSp>
        <p:nvCxnSpPr>
          <p:cNvPr id="11" name="Conector recto 10">
            <a:extLst>
              <a:ext uri="{FF2B5EF4-FFF2-40B4-BE49-F238E27FC236}">
                <a16:creationId xmlns:a16="http://schemas.microsoft.com/office/drawing/2014/main" id="{DD92853B-47F0-D2AB-2E43-E936312B5337}"/>
              </a:ext>
            </a:extLst>
          </p:cNvPr>
          <p:cNvCxnSpPr>
            <a:cxnSpLocks/>
          </p:cNvCxnSpPr>
          <p:nvPr userDrawn="1"/>
        </p:nvCxnSpPr>
        <p:spPr>
          <a:xfrm>
            <a:off x="440761" y="1114293"/>
            <a:ext cx="1138939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985481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4400">
          <p15:clr>
            <a:srgbClr val="FBAE40"/>
          </p15:clr>
        </p15:guide>
        <p15:guide id="5" orient="horz" pos="259">
          <p15:clr>
            <a:srgbClr val="FBAE40"/>
          </p15:clr>
        </p15:guide>
        <p15:guide id="6" orient="horz" pos="79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3">
    <p:bg>
      <p:bgPr>
        <a:solidFill>
          <a:schemeClr val="bg1"/>
        </a:solidFill>
        <a:effectLst/>
      </p:bgPr>
    </p:bg>
    <p:spTree>
      <p:nvGrpSpPr>
        <p:cNvPr id="1" name=""/>
        <p:cNvGrpSpPr/>
        <p:nvPr/>
      </p:nvGrpSpPr>
      <p:grpSpPr>
        <a:xfrm>
          <a:off x="0" y="0"/>
          <a:ext cx="0" cy="0"/>
          <a:chOff x="0" y="0"/>
          <a:chExt cx="0" cy="0"/>
        </a:xfrm>
      </p:grpSpPr>
      <p:sp>
        <p:nvSpPr>
          <p:cNvPr id="3" name="Título 1">
            <a:extLst>
              <a:ext uri="{FF2B5EF4-FFF2-40B4-BE49-F238E27FC236}">
                <a16:creationId xmlns:a16="http://schemas.microsoft.com/office/drawing/2014/main" id="{6A7163C3-6C67-E27A-BD86-1F428AEE1090}"/>
              </a:ext>
            </a:extLst>
          </p:cNvPr>
          <p:cNvSpPr>
            <a:spLocks noGrp="1"/>
          </p:cNvSpPr>
          <p:nvPr>
            <p:ph type="title" hasCustomPrompt="1"/>
          </p:nvPr>
        </p:nvSpPr>
        <p:spPr>
          <a:xfrm>
            <a:off x="6527800" y="740834"/>
            <a:ext cx="4895851" cy="2599343"/>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4800" baseline="0">
                <a:solidFill>
                  <a:schemeClr val="accent2"/>
                </a:solidFill>
              </a:defRPr>
            </a:lvl1pPr>
          </a:lstStyle>
          <a:p>
            <a:r>
              <a:rPr lang="en-US" noProof="0"/>
              <a:t>Headline is Arial Reg.36pt.</a:t>
            </a:r>
            <a:br>
              <a:rPr lang="en-US" noProof="0"/>
            </a:br>
            <a:r>
              <a:rPr lang="en-US" noProof="0"/>
              <a:t>Lorem ipsum </a:t>
            </a:r>
            <a:br>
              <a:rPr lang="en-US" noProof="0"/>
            </a:br>
            <a:r>
              <a:rPr lang="en-US" noProof="0"/>
              <a:t>dolor sit </a:t>
            </a:r>
            <a:r>
              <a:rPr lang="en-US" noProof="0" err="1"/>
              <a:t>amet</a:t>
            </a:r>
            <a:r>
              <a:rPr lang="en-US" noProof="0"/>
              <a:t>.</a:t>
            </a:r>
          </a:p>
        </p:txBody>
      </p:sp>
      <p:sp>
        <p:nvSpPr>
          <p:cNvPr id="4" name="Marcador de texto 5">
            <a:extLst>
              <a:ext uri="{FF2B5EF4-FFF2-40B4-BE49-F238E27FC236}">
                <a16:creationId xmlns:a16="http://schemas.microsoft.com/office/drawing/2014/main" id="{7603340C-8E25-AA7C-F012-C1912DE9362B}"/>
              </a:ext>
            </a:extLst>
          </p:cNvPr>
          <p:cNvSpPr>
            <a:spLocks noGrp="1"/>
          </p:cNvSpPr>
          <p:nvPr>
            <p:ph type="body" sz="quarter" idx="12" hasCustomPrompt="1"/>
          </p:nvPr>
        </p:nvSpPr>
        <p:spPr>
          <a:xfrm>
            <a:off x="6544365" y="3468670"/>
            <a:ext cx="4193935" cy="405357"/>
          </a:xfrm>
          <a:prstGeom prst="rect">
            <a:avLst/>
          </a:prstGeom>
        </p:spPr>
        <p:txBody>
          <a:bodyPr lIns="0" tIns="0" rIns="0" bIns="0">
            <a:noAutofit/>
          </a:bodyPr>
          <a:lstStyle>
            <a:lvl1pPr marL="0" indent="0">
              <a:lnSpc>
                <a:spcPct val="100000"/>
              </a:lnSpc>
              <a:spcBef>
                <a:spcPts val="0"/>
              </a:spcBef>
              <a:buNone/>
              <a:defRPr sz="1733" baseline="0">
                <a:solidFill>
                  <a:schemeClr val="accent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Subhead is Arial Regular 13/Simple pt.</a:t>
            </a:r>
          </a:p>
        </p:txBody>
      </p:sp>
      <p:sp>
        <p:nvSpPr>
          <p:cNvPr id="6" name="Marcador de texto 5">
            <a:extLst>
              <a:ext uri="{FF2B5EF4-FFF2-40B4-BE49-F238E27FC236}">
                <a16:creationId xmlns:a16="http://schemas.microsoft.com/office/drawing/2014/main" id="{50553BA4-0A31-A33B-E8A9-32A38D3456E0}"/>
              </a:ext>
            </a:extLst>
          </p:cNvPr>
          <p:cNvSpPr>
            <a:spLocks noGrp="1"/>
          </p:cNvSpPr>
          <p:nvPr>
            <p:ph type="body" sz="quarter" idx="16" hasCustomPrompt="1"/>
          </p:nvPr>
        </p:nvSpPr>
        <p:spPr>
          <a:xfrm>
            <a:off x="6527800" y="4269921"/>
            <a:ext cx="4895851" cy="1798564"/>
          </a:xfrm>
          <a:prstGeom prst="rect">
            <a:avLst/>
          </a:prstGeom>
        </p:spPr>
        <p:txBody>
          <a:bodyPr lIns="0" tIns="0" rIns="0" bIns="0">
            <a:noAutofit/>
          </a:bodyPr>
          <a:lstStyle>
            <a:lvl1pPr marL="0" indent="0">
              <a:lnSpc>
                <a:spcPct val="100000"/>
              </a:lnSpc>
              <a:spcBef>
                <a:spcPts val="0"/>
              </a:spcBef>
              <a:buNone/>
              <a:defRPr sz="1200" baseline="0">
                <a:solidFill>
                  <a:schemeClr val="accent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err="1"/>
              <a:t>Bodycopy</a:t>
            </a:r>
            <a:r>
              <a:rPr lang="en-US" noProof="0"/>
              <a:t> is Arial Regular 9/Simple p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noProof="0"/>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err="1"/>
              <a:t>Bodycopy</a:t>
            </a:r>
            <a:r>
              <a:rPr lang="en-US" noProof="0"/>
              <a:t> is Arial Regular 9/Simple pt. Lorem ipsum dolor si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a:t>
            </a:r>
          </a:p>
          <a:p>
            <a:pPr lvl="0"/>
            <a:endParaRPr lang="en-US" noProof="0"/>
          </a:p>
        </p:txBody>
      </p:sp>
      <p:sp>
        <p:nvSpPr>
          <p:cNvPr id="2" name="Marcador de texto 6">
            <a:extLst>
              <a:ext uri="{FF2B5EF4-FFF2-40B4-BE49-F238E27FC236}">
                <a16:creationId xmlns:a16="http://schemas.microsoft.com/office/drawing/2014/main" id="{F5607EC1-818C-BAD3-C94A-E0EBEE0267BB}"/>
              </a:ext>
            </a:extLst>
          </p:cNvPr>
          <p:cNvSpPr>
            <a:spLocks noGrp="1"/>
          </p:cNvSpPr>
          <p:nvPr>
            <p:ph type="body" sz="quarter" idx="25" hasCustomPrompt="1"/>
          </p:nvPr>
        </p:nvSpPr>
        <p:spPr>
          <a:xfrm>
            <a:off x="-1" y="4563"/>
            <a:ext cx="3924527" cy="6853437"/>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2"/>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7" name="Marcador de texto 5">
            <a:extLst>
              <a:ext uri="{FF2B5EF4-FFF2-40B4-BE49-F238E27FC236}">
                <a16:creationId xmlns:a16="http://schemas.microsoft.com/office/drawing/2014/main" id="{FFF37DBB-11F9-07D8-A39C-7F32C21C3726}"/>
              </a:ext>
            </a:extLst>
          </p:cNvPr>
          <p:cNvSpPr>
            <a:spLocks noGrp="1"/>
          </p:cNvSpPr>
          <p:nvPr>
            <p:ph type="body" sz="quarter" idx="26" hasCustomPrompt="1"/>
          </p:nvPr>
        </p:nvSpPr>
        <p:spPr>
          <a:xfrm>
            <a:off x="4039281" y="6417750"/>
            <a:ext cx="4113439" cy="195084"/>
          </a:xfrm>
          <a:prstGeom prst="rect">
            <a:avLst/>
          </a:prstGeom>
        </p:spPr>
        <p:txBody>
          <a:bodyPr/>
          <a:lstStyle>
            <a:lvl1pPr marL="0" indent="0" algn="ctr">
              <a:buNone/>
              <a:defRPr sz="933">
                <a:solidFill>
                  <a:schemeClr val="accent1"/>
                </a:solidFill>
              </a:defRPr>
            </a:lvl1pPr>
          </a:lstStyle>
          <a:p>
            <a:r>
              <a:rPr lang="es-ES" err="1"/>
              <a:t>Lorem</a:t>
            </a:r>
            <a:r>
              <a:rPr lang="es-ES"/>
              <a:t> </a:t>
            </a:r>
            <a:r>
              <a:rPr lang="es-ES" err="1"/>
              <a:t>ipsum</a:t>
            </a:r>
            <a:r>
              <a:rPr lang="es-ES"/>
              <a:t> dolor </a:t>
            </a:r>
            <a:r>
              <a:rPr lang="es-ES" err="1"/>
              <a:t>sit</a:t>
            </a:r>
            <a:r>
              <a:rPr lang="es-ES"/>
              <a:t> </a:t>
            </a:r>
            <a:r>
              <a:rPr lang="es-ES" err="1"/>
              <a:t>amet</a:t>
            </a:r>
            <a:r>
              <a:rPr lang="es-ES"/>
              <a:t>.</a:t>
            </a:r>
          </a:p>
        </p:txBody>
      </p:sp>
      <p:sp>
        <p:nvSpPr>
          <p:cNvPr id="8" name="Slide Number Placeholder 5">
            <a:extLst>
              <a:ext uri="{FF2B5EF4-FFF2-40B4-BE49-F238E27FC236}">
                <a16:creationId xmlns:a16="http://schemas.microsoft.com/office/drawing/2014/main" id="{3268B4F6-E373-FA6A-2D9B-894412CB86BB}"/>
              </a:ext>
            </a:extLst>
          </p:cNvPr>
          <p:cNvSpPr>
            <a:spLocks noGrp="1"/>
          </p:cNvSpPr>
          <p:nvPr>
            <p:ph type="sldNum" sz="quarter" idx="4"/>
          </p:nvPr>
        </p:nvSpPr>
        <p:spPr>
          <a:xfrm>
            <a:off x="10910403" y="6356351"/>
            <a:ext cx="1042415" cy="365125"/>
          </a:xfrm>
          <a:prstGeom prst="rect">
            <a:avLst/>
          </a:prstGeom>
        </p:spPr>
        <p:txBody>
          <a:bodyPr vert="horz" lIns="91440" tIns="45720" rIns="91440" bIns="45720" rtlCol="0" anchor="ctr"/>
          <a:lstStyle>
            <a:lvl1pPr algn="r">
              <a:defRPr sz="933">
                <a:solidFill>
                  <a:schemeClr val="accent1"/>
                </a:solidFill>
              </a:defRPr>
            </a:lvl1pPr>
          </a:lstStyle>
          <a:p>
            <a:fld id="{96F64DD7-E411-6141-89FE-121B5323FD5F}" type="slidenum">
              <a:rPr lang="en-US" smtClean="0"/>
              <a:pPr/>
              <a:t>‹Nº›</a:t>
            </a:fld>
            <a:endParaRPr lang="en-US"/>
          </a:p>
        </p:txBody>
      </p:sp>
    </p:spTree>
    <p:extLst>
      <p:ext uri="{BB962C8B-B14F-4D97-AF65-F5344CB8AC3E}">
        <p14:creationId xmlns:p14="http://schemas.microsoft.com/office/powerpoint/2010/main" val="819074420"/>
      </p:ext>
    </p:extLst>
  </p:cSld>
  <p:clrMapOvr>
    <a:masterClrMapping/>
  </p:clrMapOvr>
  <p:extLst>
    <p:ext uri="{DCECCB84-F9BA-43D5-87BE-67443E8EF086}">
      <p15:sldGuideLst xmlns:p15="http://schemas.microsoft.com/office/powerpoint/2012/main">
        <p15:guide id="1" orient="horz" pos="2867">
          <p15:clr>
            <a:srgbClr val="FBAE40"/>
          </p15:clr>
        </p15:guide>
        <p15:guide id="2" pos="2880">
          <p15:clr>
            <a:srgbClr val="FBAE40"/>
          </p15:clr>
        </p15:guide>
        <p15:guide id="3" orient="horz" pos="35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4">
    <p:bg>
      <p:bgPr>
        <a:solidFill>
          <a:schemeClr val="bg1"/>
        </a:solidFill>
        <a:effectLst/>
      </p:bgPr>
    </p:bg>
    <p:spTree>
      <p:nvGrpSpPr>
        <p:cNvPr id="1" name=""/>
        <p:cNvGrpSpPr/>
        <p:nvPr/>
      </p:nvGrpSpPr>
      <p:grpSpPr>
        <a:xfrm>
          <a:off x="0" y="0"/>
          <a:ext cx="0" cy="0"/>
          <a:chOff x="0" y="0"/>
          <a:chExt cx="0" cy="0"/>
        </a:xfrm>
      </p:grpSpPr>
      <p:sp>
        <p:nvSpPr>
          <p:cNvPr id="3" name="Título 1">
            <a:extLst>
              <a:ext uri="{FF2B5EF4-FFF2-40B4-BE49-F238E27FC236}">
                <a16:creationId xmlns:a16="http://schemas.microsoft.com/office/drawing/2014/main" id="{6A7163C3-6C67-E27A-BD86-1F428AEE1090}"/>
              </a:ext>
            </a:extLst>
          </p:cNvPr>
          <p:cNvSpPr>
            <a:spLocks noGrp="1"/>
          </p:cNvSpPr>
          <p:nvPr>
            <p:ph type="title" hasCustomPrompt="1"/>
          </p:nvPr>
        </p:nvSpPr>
        <p:spPr>
          <a:xfrm>
            <a:off x="768351" y="740834"/>
            <a:ext cx="4895851" cy="2599343"/>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4800" baseline="0">
                <a:solidFill>
                  <a:schemeClr val="accent2"/>
                </a:solidFill>
              </a:defRPr>
            </a:lvl1pPr>
          </a:lstStyle>
          <a:p>
            <a:r>
              <a:rPr lang="en-US" noProof="0"/>
              <a:t>Headline is Arial Reg.36pt.</a:t>
            </a:r>
            <a:br>
              <a:rPr lang="en-US" noProof="0"/>
            </a:br>
            <a:r>
              <a:rPr lang="en-US" noProof="0"/>
              <a:t>Lorem ipsum </a:t>
            </a:r>
            <a:br>
              <a:rPr lang="en-US" noProof="0"/>
            </a:br>
            <a:r>
              <a:rPr lang="en-US" noProof="0"/>
              <a:t>dolor sit </a:t>
            </a:r>
            <a:r>
              <a:rPr lang="en-US" noProof="0" err="1"/>
              <a:t>amet</a:t>
            </a:r>
            <a:r>
              <a:rPr lang="en-US" noProof="0"/>
              <a:t>.</a:t>
            </a:r>
          </a:p>
        </p:txBody>
      </p:sp>
      <p:sp>
        <p:nvSpPr>
          <p:cNvPr id="4" name="Marcador de texto 5">
            <a:extLst>
              <a:ext uri="{FF2B5EF4-FFF2-40B4-BE49-F238E27FC236}">
                <a16:creationId xmlns:a16="http://schemas.microsoft.com/office/drawing/2014/main" id="{7603340C-8E25-AA7C-F012-C1912DE9362B}"/>
              </a:ext>
            </a:extLst>
          </p:cNvPr>
          <p:cNvSpPr>
            <a:spLocks noGrp="1"/>
          </p:cNvSpPr>
          <p:nvPr>
            <p:ph type="body" sz="quarter" idx="12" hasCustomPrompt="1"/>
          </p:nvPr>
        </p:nvSpPr>
        <p:spPr>
          <a:xfrm>
            <a:off x="784915" y="3468670"/>
            <a:ext cx="4193935" cy="405357"/>
          </a:xfrm>
          <a:prstGeom prst="rect">
            <a:avLst/>
          </a:prstGeom>
        </p:spPr>
        <p:txBody>
          <a:bodyPr lIns="0" tIns="0" rIns="0" bIns="0">
            <a:noAutofit/>
          </a:bodyPr>
          <a:lstStyle>
            <a:lvl1pPr marL="0" indent="0">
              <a:lnSpc>
                <a:spcPct val="100000"/>
              </a:lnSpc>
              <a:spcBef>
                <a:spcPts val="0"/>
              </a:spcBef>
              <a:buNone/>
              <a:defRPr sz="1733" baseline="0">
                <a:solidFill>
                  <a:schemeClr val="accent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Subhead is Arial Regular 13/Simple pt.</a:t>
            </a:r>
          </a:p>
        </p:txBody>
      </p:sp>
      <p:sp>
        <p:nvSpPr>
          <p:cNvPr id="6" name="Marcador de texto 5">
            <a:extLst>
              <a:ext uri="{FF2B5EF4-FFF2-40B4-BE49-F238E27FC236}">
                <a16:creationId xmlns:a16="http://schemas.microsoft.com/office/drawing/2014/main" id="{50553BA4-0A31-A33B-E8A9-32A38D3456E0}"/>
              </a:ext>
            </a:extLst>
          </p:cNvPr>
          <p:cNvSpPr>
            <a:spLocks noGrp="1"/>
          </p:cNvSpPr>
          <p:nvPr>
            <p:ph type="body" sz="quarter" idx="16" hasCustomPrompt="1"/>
          </p:nvPr>
        </p:nvSpPr>
        <p:spPr>
          <a:xfrm>
            <a:off x="768351" y="4269921"/>
            <a:ext cx="4895851" cy="1798564"/>
          </a:xfrm>
          <a:prstGeom prst="rect">
            <a:avLst/>
          </a:prstGeom>
        </p:spPr>
        <p:txBody>
          <a:bodyPr lIns="0" tIns="0" rIns="0" bIns="0">
            <a:noAutofit/>
          </a:bodyPr>
          <a:lstStyle>
            <a:lvl1pPr marL="0" indent="0">
              <a:lnSpc>
                <a:spcPct val="100000"/>
              </a:lnSpc>
              <a:spcBef>
                <a:spcPts val="0"/>
              </a:spcBef>
              <a:buNone/>
              <a:defRPr sz="1200" baseline="0">
                <a:solidFill>
                  <a:schemeClr val="accent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err="1"/>
              <a:t>Bodycopy</a:t>
            </a:r>
            <a:r>
              <a:rPr lang="en-US" noProof="0"/>
              <a:t> is Arial Regular 9/Simple p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noProof="0"/>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err="1"/>
              <a:t>Bodycopy</a:t>
            </a:r>
            <a:r>
              <a:rPr lang="en-US" noProof="0"/>
              <a:t> is Arial Regular 9/Simple pt. Lorem ipsum dolor si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a:t>
            </a:r>
          </a:p>
          <a:p>
            <a:pPr lvl="0"/>
            <a:endParaRPr lang="en-US" noProof="0"/>
          </a:p>
        </p:txBody>
      </p:sp>
      <p:sp>
        <p:nvSpPr>
          <p:cNvPr id="2" name="Marcador de texto 6">
            <a:extLst>
              <a:ext uri="{FF2B5EF4-FFF2-40B4-BE49-F238E27FC236}">
                <a16:creationId xmlns:a16="http://schemas.microsoft.com/office/drawing/2014/main" id="{F5607EC1-818C-BAD3-C94A-E0EBEE0267BB}"/>
              </a:ext>
            </a:extLst>
          </p:cNvPr>
          <p:cNvSpPr>
            <a:spLocks noGrp="1"/>
          </p:cNvSpPr>
          <p:nvPr>
            <p:ph type="body" sz="quarter" idx="25" hasCustomPrompt="1"/>
          </p:nvPr>
        </p:nvSpPr>
        <p:spPr>
          <a:xfrm>
            <a:off x="8267474" y="4563"/>
            <a:ext cx="3924527" cy="6853437"/>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2"/>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5" name="Marcador de texto 6">
            <a:extLst>
              <a:ext uri="{FF2B5EF4-FFF2-40B4-BE49-F238E27FC236}">
                <a16:creationId xmlns:a16="http://schemas.microsoft.com/office/drawing/2014/main" id="{C159793D-66A5-20D2-C2CF-CDCF0741D2C3}"/>
              </a:ext>
            </a:extLst>
          </p:cNvPr>
          <p:cNvSpPr>
            <a:spLocks noGrp="1"/>
          </p:cNvSpPr>
          <p:nvPr>
            <p:ph type="body" sz="quarter" idx="19" hasCustomPrompt="1"/>
          </p:nvPr>
        </p:nvSpPr>
        <p:spPr>
          <a:xfrm>
            <a:off x="239184" y="6341105"/>
            <a:ext cx="960965" cy="310299"/>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3"/>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8" name="Marcador de texto 5">
            <a:extLst>
              <a:ext uri="{FF2B5EF4-FFF2-40B4-BE49-F238E27FC236}">
                <a16:creationId xmlns:a16="http://schemas.microsoft.com/office/drawing/2014/main" id="{531A66E8-3419-D8C1-F1EA-1F7C885D40F1}"/>
              </a:ext>
            </a:extLst>
          </p:cNvPr>
          <p:cNvSpPr>
            <a:spLocks noGrp="1"/>
          </p:cNvSpPr>
          <p:nvPr>
            <p:ph type="body" sz="quarter" idx="26" hasCustomPrompt="1"/>
          </p:nvPr>
        </p:nvSpPr>
        <p:spPr>
          <a:xfrm>
            <a:off x="4039281" y="6417750"/>
            <a:ext cx="4113439" cy="195084"/>
          </a:xfrm>
          <a:prstGeom prst="rect">
            <a:avLst/>
          </a:prstGeom>
        </p:spPr>
        <p:txBody>
          <a:bodyPr/>
          <a:lstStyle>
            <a:lvl1pPr marL="0" indent="0" algn="ctr">
              <a:buNone/>
              <a:defRPr sz="933">
                <a:solidFill>
                  <a:schemeClr val="accent1"/>
                </a:solidFill>
              </a:defRPr>
            </a:lvl1pPr>
          </a:lstStyle>
          <a:p>
            <a:r>
              <a:rPr lang="es-ES" err="1"/>
              <a:t>Lorem</a:t>
            </a:r>
            <a:r>
              <a:rPr lang="es-ES"/>
              <a:t> </a:t>
            </a:r>
            <a:r>
              <a:rPr lang="es-ES" err="1"/>
              <a:t>ipsum</a:t>
            </a:r>
            <a:r>
              <a:rPr lang="es-ES"/>
              <a:t> dolor </a:t>
            </a:r>
            <a:r>
              <a:rPr lang="es-ES" err="1"/>
              <a:t>sit</a:t>
            </a:r>
            <a:r>
              <a:rPr lang="es-ES"/>
              <a:t> </a:t>
            </a:r>
            <a:r>
              <a:rPr lang="es-ES" err="1"/>
              <a:t>amet</a:t>
            </a:r>
            <a:r>
              <a:rPr lang="es-ES"/>
              <a:t>.</a:t>
            </a:r>
          </a:p>
        </p:txBody>
      </p:sp>
      <p:sp>
        <p:nvSpPr>
          <p:cNvPr id="9" name="Slide Number Placeholder 5">
            <a:extLst>
              <a:ext uri="{FF2B5EF4-FFF2-40B4-BE49-F238E27FC236}">
                <a16:creationId xmlns:a16="http://schemas.microsoft.com/office/drawing/2014/main" id="{B75D7938-7AEA-B157-6704-1A660520BF80}"/>
              </a:ext>
            </a:extLst>
          </p:cNvPr>
          <p:cNvSpPr>
            <a:spLocks noGrp="1"/>
          </p:cNvSpPr>
          <p:nvPr>
            <p:ph type="sldNum" sz="quarter" idx="4"/>
          </p:nvPr>
        </p:nvSpPr>
        <p:spPr>
          <a:xfrm>
            <a:off x="10910403" y="6356351"/>
            <a:ext cx="1042415" cy="365125"/>
          </a:xfrm>
          <a:prstGeom prst="rect">
            <a:avLst/>
          </a:prstGeom>
        </p:spPr>
        <p:txBody>
          <a:bodyPr vert="horz" lIns="91440" tIns="45720" rIns="91440" bIns="45720" rtlCol="0" anchor="ctr"/>
          <a:lstStyle>
            <a:lvl1pPr algn="r">
              <a:defRPr sz="933">
                <a:solidFill>
                  <a:schemeClr val="accent1"/>
                </a:solidFill>
              </a:defRPr>
            </a:lvl1pPr>
          </a:lstStyle>
          <a:p>
            <a:fld id="{96F64DD7-E411-6141-89FE-121B5323FD5F}" type="slidenum">
              <a:rPr lang="en-US" smtClean="0"/>
              <a:pPr/>
              <a:t>‹Nº›</a:t>
            </a:fld>
            <a:endParaRPr lang="en-US"/>
          </a:p>
        </p:txBody>
      </p:sp>
    </p:spTree>
    <p:extLst>
      <p:ext uri="{BB962C8B-B14F-4D97-AF65-F5344CB8AC3E}">
        <p14:creationId xmlns:p14="http://schemas.microsoft.com/office/powerpoint/2010/main" val="659896546"/>
      </p:ext>
    </p:extLst>
  </p:cSld>
  <p:clrMapOvr>
    <a:masterClrMapping/>
  </p:clrMapOvr>
  <p:extLst>
    <p:ext uri="{DCECCB84-F9BA-43D5-87BE-67443E8EF086}">
      <p15:sldGuideLst xmlns:p15="http://schemas.microsoft.com/office/powerpoint/2012/main">
        <p15:guide id="1" orient="horz" pos="2867">
          <p15:clr>
            <a:srgbClr val="FBAE40"/>
          </p15:clr>
        </p15:guide>
        <p15:guide id="2" pos="2880">
          <p15:clr>
            <a:srgbClr val="FBAE40"/>
          </p15:clr>
        </p15:guide>
        <p15:guide id="3" orient="horz" pos="35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 Image 1">
    <p:bg>
      <p:bgPr>
        <a:solidFill>
          <a:schemeClr val="bg1"/>
        </a:solidFill>
        <a:effectLst/>
      </p:bgPr>
    </p:bg>
    <p:spTree>
      <p:nvGrpSpPr>
        <p:cNvPr id="1" name=""/>
        <p:cNvGrpSpPr/>
        <p:nvPr/>
      </p:nvGrpSpPr>
      <p:grpSpPr>
        <a:xfrm>
          <a:off x="0" y="0"/>
          <a:ext cx="0" cy="0"/>
          <a:chOff x="0" y="0"/>
          <a:chExt cx="0" cy="0"/>
        </a:xfrm>
      </p:grpSpPr>
      <p:sp>
        <p:nvSpPr>
          <p:cNvPr id="3" name="Título 1">
            <a:extLst>
              <a:ext uri="{FF2B5EF4-FFF2-40B4-BE49-F238E27FC236}">
                <a16:creationId xmlns:a16="http://schemas.microsoft.com/office/drawing/2014/main" id="{6A7163C3-6C67-E27A-BD86-1F428AEE1090}"/>
              </a:ext>
            </a:extLst>
          </p:cNvPr>
          <p:cNvSpPr>
            <a:spLocks noGrp="1"/>
          </p:cNvSpPr>
          <p:nvPr>
            <p:ph type="title" hasCustomPrompt="1"/>
          </p:nvPr>
        </p:nvSpPr>
        <p:spPr>
          <a:xfrm>
            <a:off x="768351" y="3448414"/>
            <a:ext cx="4895851" cy="2599343"/>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4800" baseline="0">
                <a:solidFill>
                  <a:schemeClr val="accent2"/>
                </a:solidFill>
              </a:defRPr>
            </a:lvl1pPr>
          </a:lstStyle>
          <a:p>
            <a:r>
              <a:rPr lang="en-US" noProof="0"/>
              <a:t>Headline is Arial Reg.36pt.</a:t>
            </a:r>
            <a:br>
              <a:rPr lang="en-US" noProof="0"/>
            </a:br>
            <a:r>
              <a:rPr lang="en-US" noProof="0"/>
              <a:t>Lorem ipsum </a:t>
            </a:r>
            <a:br>
              <a:rPr lang="en-US" noProof="0"/>
            </a:br>
            <a:r>
              <a:rPr lang="en-US" noProof="0"/>
              <a:t>dolor sit </a:t>
            </a:r>
            <a:r>
              <a:rPr lang="en-US" noProof="0" err="1"/>
              <a:t>amet</a:t>
            </a:r>
            <a:r>
              <a:rPr lang="en-US" noProof="0"/>
              <a:t>.</a:t>
            </a:r>
          </a:p>
        </p:txBody>
      </p:sp>
      <p:sp>
        <p:nvSpPr>
          <p:cNvPr id="2" name="Marcador de texto 6">
            <a:extLst>
              <a:ext uri="{FF2B5EF4-FFF2-40B4-BE49-F238E27FC236}">
                <a16:creationId xmlns:a16="http://schemas.microsoft.com/office/drawing/2014/main" id="{F5607EC1-818C-BAD3-C94A-E0EBEE0267BB}"/>
              </a:ext>
            </a:extLst>
          </p:cNvPr>
          <p:cNvSpPr>
            <a:spLocks noGrp="1"/>
          </p:cNvSpPr>
          <p:nvPr>
            <p:ph type="body" sz="quarter" idx="25" hasCustomPrompt="1"/>
          </p:nvPr>
        </p:nvSpPr>
        <p:spPr>
          <a:xfrm>
            <a:off x="-1" y="4564"/>
            <a:ext cx="4335736" cy="3508752"/>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2"/>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7" name="Marcador de imagen 7">
            <a:extLst>
              <a:ext uri="{FF2B5EF4-FFF2-40B4-BE49-F238E27FC236}">
                <a16:creationId xmlns:a16="http://schemas.microsoft.com/office/drawing/2014/main" id="{1CB64C5B-97F4-0D5F-B624-BC1B6A3C66FA}"/>
              </a:ext>
            </a:extLst>
          </p:cNvPr>
          <p:cNvSpPr>
            <a:spLocks noGrp="1"/>
          </p:cNvSpPr>
          <p:nvPr>
            <p:ph type="pic" sz="quarter" idx="20" hasCustomPrompt="1"/>
          </p:nvPr>
        </p:nvSpPr>
        <p:spPr>
          <a:xfrm>
            <a:off x="6501219" y="742060"/>
            <a:ext cx="4913804" cy="5315683"/>
          </a:xfrm>
          <a:custGeom>
            <a:avLst/>
            <a:gdLst>
              <a:gd name="connsiteX0" fmla="*/ 0 w 8411266"/>
              <a:gd name="connsiteY0" fmla="*/ 0 h 2915921"/>
              <a:gd name="connsiteX1" fmla="*/ 8411266 w 8411266"/>
              <a:gd name="connsiteY1" fmla="*/ 0 h 2915921"/>
              <a:gd name="connsiteX2" fmla="*/ 8411266 w 8411266"/>
              <a:gd name="connsiteY2" fmla="*/ 2915921 h 2915921"/>
              <a:gd name="connsiteX3" fmla="*/ 0 w 8411266"/>
              <a:gd name="connsiteY3" fmla="*/ 2915921 h 2915921"/>
              <a:gd name="connsiteX4" fmla="*/ 0 w 8411266"/>
              <a:gd name="connsiteY4" fmla="*/ 0 h 2915921"/>
              <a:gd name="connsiteX0" fmla="*/ 0 w 8411266"/>
              <a:gd name="connsiteY0" fmla="*/ 0 h 2915922"/>
              <a:gd name="connsiteX1" fmla="*/ 8411266 w 8411266"/>
              <a:gd name="connsiteY1" fmla="*/ 0 h 2915922"/>
              <a:gd name="connsiteX2" fmla="*/ 8411266 w 8411266"/>
              <a:gd name="connsiteY2" fmla="*/ 2915921 h 2915922"/>
              <a:gd name="connsiteX3" fmla="*/ 7668987 w 8411266"/>
              <a:gd name="connsiteY3" fmla="*/ 2915922 h 2915922"/>
              <a:gd name="connsiteX4" fmla="*/ 0 w 8411266"/>
              <a:gd name="connsiteY4" fmla="*/ 2915921 h 2915922"/>
              <a:gd name="connsiteX5" fmla="*/ 0 w 8411266"/>
              <a:gd name="connsiteY5" fmla="*/ 0 h 2915922"/>
              <a:gd name="connsiteX0" fmla="*/ 0 w 8411266"/>
              <a:gd name="connsiteY0" fmla="*/ 0 h 2915922"/>
              <a:gd name="connsiteX1" fmla="*/ 8411266 w 8411266"/>
              <a:gd name="connsiteY1" fmla="*/ 0 h 2915922"/>
              <a:gd name="connsiteX2" fmla="*/ 8405886 w 8411266"/>
              <a:gd name="connsiteY2" fmla="*/ 2238189 h 2915922"/>
              <a:gd name="connsiteX3" fmla="*/ 8411266 w 8411266"/>
              <a:gd name="connsiteY3" fmla="*/ 2915921 h 2915922"/>
              <a:gd name="connsiteX4" fmla="*/ 7668987 w 8411266"/>
              <a:gd name="connsiteY4" fmla="*/ 2915922 h 2915922"/>
              <a:gd name="connsiteX5" fmla="*/ 0 w 8411266"/>
              <a:gd name="connsiteY5" fmla="*/ 2915921 h 2915922"/>
              <a:gd name="connsiteX6" fmla="*/ 0 w 8411266"/>
              <a:gd name="connsiteY6" fmla="*/ 0 h 2915922"/>
              <a:gd name="connsiteX0" fmla="*/ 0 w 8411782"/>
              <a:gd name="connsiteY0" fmla="*/ 0 h 2915922"/>
              <a:gd name="connsiteX1" fmla="*/ 8411266 w 8411782"/>
              <a:gd name="connsiteY1" fmla="*/ 0 h 2915922"/>
              <a:gd name="connsiteX2" fmla="*/ 8411265 w 8411782"/>
              <a:gd name="connsiteY2" fmla="*/ 2211294 h 2915922"/>
              <a:gd name="connsiteX3" fmla="*/ 8411266 w 8411782"/>
              <a:gd name="connsiteY3" fmla="*/ 2915921 h 2915922"/>
              <a:gd name="connsiteX4" fmla="*/ 7668987 w 8411782"/>
              <a:gd name="connsiteY4" fmla="*/ 2915922 h 2915922"/>
              <a:gd name="connsiteX5" fmla="*/ 0 w 8411782"/>
              <a:gd name="connsiteY5" fmla="*/ 2915921 h 2915922"/>
              <a:gd name="connsiteX6" fmla="*/ 0 w 8411782"/>
              <a:gd name="connsiteY6" fmla="*/ 0 h 2915922"/>
              <a:gd name="connsiteX0" fmla="*/ 0 w 8519559"/>
              <a:gd name="connsiteY0" fmla="*/ 0 h 2915922"/>
              <a:gd name="connsiteX1" fmla="*/ 8411266 w 8519559"/>
              <a:gd name="connsiteY1" fmla="*/ 0 h 2915922"/>
              <a:gd name="connsiteX2" fmla="*/ 8411265 w 8519559"/>
              <a:gd name="connsiteY2" fmla="*/ 2211294 h 2915922"/>
              <a:gd name="connsiteX3" fmla="*/ 7668987 w 8519559"/>
              <a:gd name="connsiteY3" fmla="*/ 2915922 h 2915922"/>
              <a:gd name="connsiteX4" fmla="*/ 0 w 8519559"/>
              <a:gd name="connsiteY4" fmla="*/ 2915921 h 2915922"/>
              <a:gd name="connsiteX5" fmla="*/ 0 w 8519559"/>
              <a:gd name="connsiteY5" fmla="*/ 0 h 2915922"/>
              <a:gd name="connsiteX0" fmla="*/ 0 w 8568374"/>
              <a:gd name="connsiteY0" fmla="*/ 0 h 2915922"/>
              <a:gd name="connsiteX1" fmla="*/ 8411266 w 8568374"/>
              <a:gd name="connsiteY1" fmla="*/ 0 h 2915922"/>
              <a:gd name="connsiteX2" fmla="*/ 8411265 w 8568374"/>
              <a:gd name="connsiteY2" fmla="*/ 2211294 h 2915922"/>
              <a:gd name="connsiteX3" fmla="*/ 7668987 w 8568374"/>
              <a:gd name="connsiteY3" fmla="*/ 2915922 h 2915922"/>
              <a:gd name="connsiteX4" fmla="*/ 0 w 8568374"/>
              <a:gd name="connsiteY4" fmla="*/ 2915921 h 2915922"/>
              <a:gd name="connsiteX5" fmla="*/ 0 w 8568374"/>
              <a:gd name="connsiteY5" fmla="*/ 0 h 2915922"/>
              <a:gd name="connsiteX0" fmla="*/ 0 w 8411782"/>
              <a:gd name="connsiteY0" fmla="*/ 0 h 2915922"/>
              <a:gd name="connsiteX1" fmla="*/ 8411266 w 8411782"/>
              <a:gd name="connsiteY1" fmla="*/ 0 h 2915922"/>
              <a:gd name="connsiteX2" fmla="*/ 8411265 w 8411782"/>
              <a:gd name="connsiteY2" fmla="*/ 2211294 h 2915922"/>
              <a:gd name="connsiteX3" fmla="*/ 7668987 w 8411782"/>
              <a:gd name="connsiteY3" fmla="*/ 2915922 h 2915922"/>
              <a:gd name="connsiteX4" fmla="*/ 0 w 8411782"/>
              <a:gd name="connsiteY4" fmla="*/ 2915921 h 2915922"/>
              <a:gd name="connsiteX5" fmla="*/ 0 w 8411782"/>
              <a:gd name="connsiteY5" fmla="*/ 0 h 2915922"/>
              <a:gd name="connsiteX0" fmla="*/ 0 w 8418465"/>
              <a:gd name="connsiteY0" fmla="*/ 0 h 2915922"/>
              <a:gd name="connsiteX1" fmla="*/ 8411266 w 8418465"/>
              <a:gd name="connsiteY1" fmla="*/ 0 h 2915922"/>
              <a:gd name="connsiteX2" fmla="*/ 8418046 w 8418465"/>
              <a:gd name="connsiteY2" fmla="*/ 2519966 h 2915922"/>
              <a:gd name="connsiteX3" fmla="*/ 7668987 w 8418465"/>
              <a:gd name="connsiteY3" fmla="*/ 2915922 h 2915922"/>
              <a:gd name="connsiteX4" fmla="*/ 0 w 8418465"/>
              <a:gd name="connsiteY4" fmla="*/ 2915921 h 2915922"/>
              <a:gd name="connsiteX5" fmla="*/ 0 w 8418465"/>
              <a:gd name="connsiteY5" fmla="*/ 0 h 2915922"/>
              <a:gd name="connsiteX0" fmla="*/ 0 w 8425205"/>
              <a:gd name="connsiteY0" fmla="*/ 0 h 2915922"/>
              <a:gd name="connsiteX1" fmla="*/ 8411266 w 8425205"/>
              <a:gd name="connsiteY1" fmla="*/ 0 h 2915922"/>
              <a:gd name="connsiteX2" fmla="*/ 8424827 w 8425205"/>
              <a:gd name="connsiteY2" fmla="*/ 2522560 h 2915922"/>
              <a:gd name="connsiteX3" fmla="*/ 7668987 w 8425205"/>
              <a:gd name="connsiteY3" fmla="*/ 2915922 h 2915922"/>
              <a:gd name="connsiteX4" fmla="*/ 0 w 8425205"/>
              <a:gd name="connsiteY4" fmla="*/ 2915921 h 2915922"/>
              <a:gd name="connsiteX5" fmla="*/ 0 w 8425205"/>
              <a:gd name="connsiteY5" fmla="*/ 0 h 2915922"/>
              <a:gd name="connsiteX0" fmla="*/ 0 w 8411783"/>
              <a:gd name="connsiteY0" fmla="*/ 0 h 2915922"/>
              <a:gd name="connsiteX1" fmla="*/ 8411266 w 8411783"/>
              <a:gd name="connsiteY1" fmla="*/ 0 h 2915922"/>
              <a:gd name="connsiteX2" fmla="*/ 8411265 w 8411783"/>
              <a:gd name="connsiteY2" fmla="*/ 2506997 h 2915922"/>
              <a:gd name="connsiteX3" fmla="*/ 7668987 w 8411783"/>
              <a:gd name="connsiteY3" fmla="*/ 2915922 h 2915922"/>
              <a:gd name="connsiteX4" fmla="*/ 0 w 8411783"/>
              <a:gd name="connsiteY4" fmla="*/ 2915921 h 2915922"/>
              <a:gd name="connsiteX5" fmla="*/ 0 w 8411783"/>
              <a:gd name="connsiteY5" fmla="*/ 0 h 2915922"/>
              <a:gd name="connsiteX0" fmla="*/ 0 w 8411781"/>
              <a:gd name="connsiteY0" fmla="*/ 0 h 2918516"/>
              <a:gd name="connsiteX1" fmla="*/ 8411266 w 8411781"/>
              <a:gd name="connsiteY1" fmla="*/ 0 h 2918516"/>
              <a:gd name="connsiteX2" fmla="*/ 8411265 w 8411781"/>
              <a:gd name="connsiteY2" fmla="*/ 2506997 h 2918516"/>
              <a:gd name="connsiteX3" fmla="*/ 7431649 w 8411781"/>
              <a:gd name="connsiteY3" fmla="*/ 2918516 h 2918516"/>
              <a:gd name="connsiteX4" fmla="*/ 0 w 8411781"/>
              <a:gd name="connsiteY4" fmla="*/ 2915921 h 2918516"/>
              <a:gd name="connsiteX5" fmla="*/ 0 w 8411781"/>
              <a:gd name="connsiteY5" fmla="*/ 0 h 2918516"/>
              <a:gd name="connsiteX0" fmla="*/ 0 w 8411783"/>
              <a:gd name="connsiteY0" fmla="*/ 0 h 2921109"/>
              <a:gd name="connsiteX1" fmla="*/ 8411266 w 8411783"/>
              <a:gd name="connsiteY1" fmla="*/ 0 h 2921109"/>
              <a:gd name="connsiteX2" fmla="*/ 8411265 w 8411783"/>
              <a:gd name="connsiteY2" fmla="*/ 2506997 h 2921109"/>
              <a:gd name="connsiteX3" fmla="*/ 7431649 w 8411783"/>
              <a:gd name="connsiteY3" fmla="*/ 2918516 h 2921109"/>
              <a:gd name="connsiteX4" fmla="*/ 0 w 8411783"/>
              <a:gd name="connsiteY4" fmla="*/ 2921109 h 2921109"/>
              <a:gd name="connsiteX5" fmla="*/ 0 w 8411783"/>
              <a:gd name="connsiteY5" fmla="*/ 0 h 2921109"/>
              <a:gd name="connsiteX0" fmla="*/ 0 w 8412159"/>
              <a:gd name="connsiteY0" fmla="*/ 0 h 2921109"/>
              <a:gd name="connsiteX1" fmla="*/ 8411266 w 8412159"/>
              <a:gd name="connsiteY1" fmla="*/ 0 h 2921109"/>
              <a:gd name="connsiteX2" fmla="*/ 8411265 w 8412159"/>
              <a:gd name="connsiteY2" fmla="*/ 2506997 h 2921109"/>
              <a:gd name="connsiteX3" fmla="*/ 7431649 w 8412159"/>
              <a:gd name="connsiteY3" fmla="*/ 2918516 h 2921109"/>
              <a:gd name="connsiteX4" fmla="*/ 0 w 8412159"/>
              <a:gd name="connsiteY4" fmla="*/ 2921109 h 2921109"/>
              <a:gd name="connsiteX5" fmla="*/ 0 w 8412159"/>
              <a:gd name="connsiteY5" fmla="*/ 0 h 2921109"/>
              <a:gd name="connsiteX0" fmla="*/ 13562 w 8412159"/>
              <a:gd name="connsiteY0" fmla="*/ 0 h 2921109"/>
              <a:gd name="connsiteX1" fmla="*/ 8411266 w 8412159"/>
              <a:gd name="connsiteY1" fmla="*/ 0 h 2921109"/>
              <a:gd name="connsiteX2" fmla="*/ 8411265 w 8412159"/>
              <a:gd name="connsiteY2" fmla="*/ 2506997 h 2921109"/>
              <a:gd name="connsiteX3" fmla="*/ 7431649 w 8412159"/>
              <a:gd name="connsiteY3" fmla="*/ 2918516 h 2921109"/>
              <a:gd name="connsiteX4" fmla="*/ 0 w 8412159"/>
              <a:gd name="connsiteY4" fmla="*/ 2921109 h 2921109"/>
              <a:gd name="connsiteX5" fmla="*/ 13562 w 8412159"/>
              <a:gd name="connsiteY5" fmla="*/ 0 h 2921109"/>
              <a:gd name="connsiteX0" fmla="*/ 13562 w 8415929"/>
              <a:gd name="connsiteY0" fmla="*/ 0 h 2922720"/>
              <a:gd name="connsiteX1" fmla="*/ 8411266 w 8415929"/>
              <a:gd name="connsiteY1" fmla="*/ 0 h 2922720"/>
              <a:gd name="connsiteX2" fmla="*/ 8411265 w 8415929"/>
              <a:gd name="connsiteY2" fmla="*/ 2506997 h 2922720"/>
              <a:gd name="connsiteX3" fmla="*/ 7514079 w 8415929"/>
              <a:gd name="connsiteY3" fmla="*/ 2922720 h 2922720"/>
              <a:gd name="connsiteX4" fmla="*/ 0 w 8415929"/>
              <a:gd name="connsiteY4" fmla="*/ 2921109 h 2922720"/>
              <a:gd name="connsiteX5" fmla="*/ 13562 w 8415929"/>
              <a:gd name="connsiteY5" fmla="*/ 0 h 2922720"/>
              <a:gd name="connsiteX0" fmla="*/ 13562 w 8415929"/>
              <a:gd name="connsiteY0" fmla="*/ 0 h 2922720"/>
              <a:gd name="connsiteX1" fmla="*/ 8411266 w 8415929"/>
              <a:gd name="connsiteY1" fmla="*/ 0 h 2922720"/>
              <a:gd name="connsiteX2" fmla="*/ 8411265 w 8415929"/>
              <a:gd name="connsiteY2" fmla="*/ 2481772 h 2922720"/>
              <a:gd name="connsiteX3" fmla="*/ 7514079 w 8415929"/>
              <a:gd name="connsiteY3" fmla="*/ 2922720 h 2922720"/>
              <a:gd name="connsiteX4" fmla="*/ 0 w 8415929"/>
              <a:gd name="connsiteY4" fmla="*/ 2921109 h 2922720"/>
              <a:gd name="connsiteX5" fmla="*/ 13562 w 8415929"/>
              <a:gd name="connsiteY5" fmla="*/ 0 h 2922720"/>
              <a:gd name="connsiteX0" fmla="*/ 13562 w 8414282"/>
              <a:gd name="connsiteY0" fmla="*/ 0 h 2922720"/>
              <a:gd name="connsiteX1" fmla="*/ 8411266 w 8414282"/>
              <a:gd name="connsiteY1" fmla="*/ 0 h 2922720"/>
              <a:gd name="connsiteX2" fmla="*/ 8411265 w 8414282"/>
              <a:gd name="connsiteY2" fmla="*/ 2481772 h 2922720"/>
              <a:gd name="connsiteX3" fmla="*/ 7514079 w 8414282"/>
              <a:gd name="connsiteY3" fmla="*/ 2922720 h 2922720"/>
              <a:gd name="connsiteX4" fmla="*/ 0 w 8414282"/>
              <a:gd name="connsiteY4" fmla="*/ 2921109 h 2922720"/>
              <a:gd name="connsiteX5" fmla="*/ 13562 w 8414282"/>
              <a:gd name="connsiteY5" fmla="*/ 0 h 2922720"/>
              <a:gd name="connsiteX0" fmla="*/ 13562 w 8418988"/>
              <a:gd name="connsiteY0" fmla="*/ 0 h 2926924"/>
              <a:gd name="connsiteX1" fmla="*/ 8411266 w 8418988"/>
              <a:gd name="connsiteY1" fmla="*/ 0 h 2926924"/>
              <a:gd name="connsiteX2" fmla="*/ 8411265 w 8418988"/>
              <a:gd name="connsiteY2" fmla="*/ 2481772 h 2926924"/>
              <a:gd name="connsiteX3" fmla="*/ 7567541 w 8418988"/>
              <a:gd name="connsiteY3" fmla="*/ 2926924 h 2926924"/>
              <a:gd name="connsiteX4" fmla="*/ 0 w 8418988"/>
              <a:gd name="connsiteY4" fmla="*/ 2921109 h 2926924"/>
              <a:gd name="connsiteX5" fmla="*/ 13562 w 8418988"/>
              <a:gd name="connsiteY5" fmla="*/ 0 h 2926924"/>
              <a:gd name="connsiteX0" fmla="*/ 13562 w 8411933"/>
              <a:gd name="connsiteY0" fmla="*/ 0 h 2926924"/>
              <a:gd name="connsiteX1" fmla="*/ 8411266 w 8411933"/>
              <a:gd name="connsiteY1" fmla="*/ 0 h 2926924"/>
              <a:gd name="connsiteX2" fmla="*/ 8411265 w 8411933"/>
              <a:gd name="connsiteY2" fmla="*/ 2481772 h 2926924"/>
              <a:gd name="connsiteX3" fmla="*/ 7567541 w 8411933"/>
              <a:gd name="connsiteY3" fmla="*/ 2926924 h 2926924"/>
              <a:gd name="connsiteX4" fmla="*/ 0 w 8411933"/>
              <a:gd name="connsiteY4" fmla="*/ 2921109 h 2926924"/>
              <a:gd name="connsiteX5" fmla="*/ 13562 w 8411933"/>
              <a:gd name="connsiteY5" fmla="*/ 0 h 2926924"/>
              <a:gd name="connsiteX0" fmla="*/ 2313266 w 8411933"/>
              <a:gd name="connsiteY0" fmla="*/ 0 h 3278300"/>
              <a:gd name="connsiteX1" fmla="*/ 8411266 w 8411933"/>
              <a:gd name="connsiteY1" fmla="*/ 351376 h 3278300"/>
              <a:gd name="connsiteX2" fmla="*/ 8411265 w 8411933"/>
              <a:gd name="connsiteY2" fmla="*/ 2833148 h 3278300"/>
              <a:gd name="connsiteX3" fmla="*/ 7567541 w 8411933"/>
              <a:gd name="connsiteY3" fmla="*/ 3278300 h 3278300"/>
              <a:gd name="connsiteX4" fmla="*/ 0 w 8411933"/>
              <a:gd name="connsiteY4" fmla="*/ 3272485 h 3278300"/>
              <a:gd name="connsiteX5" fmla="*/ 2313266 w 8411933"/>
              <a:gd name="connsiteY5" fmla="*/ 0 h 3278300"/>
              <a:gd name="connsiteX0" fmla="*/ 1267 w 6099934"/>
              <a:gd name="connsiteY0" fmla="*/ 0 h 3278300"/>
              <a:gd name="connsiteX1" fmla="*/ 6099267 w 6099934"/>
              <a:gd name="connsiteY1" fmla="*/ 351376 h 3278300"/>
              <a:gd name="connsiteX2" fmla="*/ 6099266 w 6099934"/>
              <a:gd name="connsiteY2" fmla="*/ 2833148 h 3278300"/>
              <a:gd name="connsiteX3" fmla="*/ 5255542 w 6099934"/>
              <a:gd name="connsiteY3" fmla="*/ 3278300 h 3278300"/>
              <a:gd name="connsiteX4" fmla="*/ 1602 w 6099934"/>
              <a:gd name="connsiteY4" fmla="*/ 3276184 h 3278300"/>
              <a:gd name="connsiteX5" fmla="*/ 1267 w 6099934"/>
              <a:gd name="connsiteY5" fmla="*/ 0 h 3278300"/>
              <a:gd name="connsiteX0" fmla="*/ 1267 w 6099934"/>
              <a:gd name="connsiteY0" fmla="*/ 0 h 3278300"/>
              <a:gd name="connsiteX1" fmla="*/ 6099267 w 6099934"/>
              <a:gd name="connsiteY1" fmla="*/ 3698 h 3278300"/>
              <a:gd name="connsiteX2" fmla="*/ 6099266 w 6099934"/>
              <a:gd name="connsiteY2" fmla="*/ 2833148 h 3278300"/>
              <a:gd name="connsiteX3" fmla="*/ 5255542 w 6099934"/>
              <a:gd name="connsiteY3" fmla="*/ 3278300 h 3278300"/>
              <a:gd name="connsiteX4" fmla="*/ 1602 w 6099934"/>
              <a:gd name="connsiteY4" fmla="*/ 3276184 h 3278300"/>
              <a:gd name="connsiteX5" fmla="*/ 1267 w 6099934"/>
              <a:gd name="connsiteY5" fmla="*/ 0 h 3278300"/>
              <a:gd name="connsiteX0" fmla="*/ -1 w 6098666"/>
              <a:gd name="connsiteY0" fmla="*/ 0 h 3278300"/>
              <a:gd name="connsiteX1" fmla="*/ 6097999 w 6098666"/>
              <a:gd name="connsiteY1" fmla="*/ 3698 h 3278300"/>
              <a:gd name="connsiteX2" fmla="*/ 6097998 w 6098666"/>
              <a:gd name="connsiteY2" fmla="*/ 2833148 h 3278300"/>
              <a:gd name="connsiteX3" fmla="*/ 5254274 w 6098666"/>
              <a:gd name="connsiteY3" fmla="*/ 3278300 h 3278300"/>
              <a:gd name="connsiteX4" fmla="*/ 334 w 6098666"/>
              <a:gd name="connsiteY4" fmla="*/ 3276184 h 3278300"/>
              <a:gd name="connsiteX5" fmla="*/ -1 w 6098666"/>
              <a:gd name="connsiteY5" fmla="*/ 0 h 3278300"/>
              <a:gd name="connsiteX0" fmla="*/ 1 w 6098668"/>
              <a:gd name="connsiteY0" fmla="*/ 0 h 3278300"/>
              <a:gd name="connsiteX1" fmla="*/ 6098001 w 6098668"/>
              <a:gd name="connsiteY1" fmla="*/ 3698 h 3278300"/>
              <a:gd name="connsiteX2" fmla="*/ 6098000 w 6098668"/>
              <a:gd name="connsiteY2" fmla="*/ 2833148 h 3278300"/>
              <a:gd name="connsiteX3" fmla="*/ 5254276 w 6098668"/>
              <a:gd name="connsiteY3" fmla="*/ 3278300 h 3278300"/>
              <a:gd name="connsiteX4" fmla="*/ 336 w 6098668"/>
              <a:gd name="connsiteY4" fmla="*/ 3276184 h 3278300"/>
              <a:gd name="connsiteX5" fmla="*/ 1 w 6098668"/>
              <a:gd name="connsiteY5" fmla="*/ 0 h 3278300"/>
              <a:gd name="connsiteX0" fmla="*/ -1 w 6098666"/>
              <a:gd name="connsiteY0" fmla="*/ 0 h 3278300"/>
              <a:gd name="connsiteX1" fmla="*/ 6097999 w 6098666"/>
              <a:gd name="connsiteY1" fmla="*/ 3698 h 3278300"/>
              <a:gd name="connsiteX2" fmla="*/ 6097998 w 6098666"/>
              <a:gd name="connsiteY2" fmla="*/ 2833148 h 3278300"/>
              <a:gd name="connsiteX3" fmla="*/ 5254274 w 6098666"/>
              <a:gd name="connsiteY3" fmla="*/ 3278300 h 3278300"/>
              <a:gd name="connsiteX4" fmla="*/ 334 w 6098666"/>
              <a:gd name="connsiteY4" fmla="*/ 3276184 h 3278300"/>
              <a:gd name="connsiteX5" fmla="*/ -1 w 6098666"/>
              <a:gd name="connsiteY5" fmla="*/ 0 h 3278300"/>
              <a:gd name="connsiteX0" fmla="*/ 1 w 6098796"/>
              <a:gd name="connsiteY0" fmla="*/ 0 h 3278300"/>
              <a:gd name="connsiteX1" fmla="*/ 6098001 w 6098796"/>
              <a:gd name="connsiteY1" fmla="*/ 3698 h 3278300"/>
              <a:gd name="connsiteX2" fmla="*/ 6098000 w 6098796"/>
              <a:gd name="connsiteY2" fmla="*/ 2833148 h 3278300"/>
              <a:gd name="connsiteX3" fmla="*/ 5254276 w 6098796"/>
              <a:gd name="connsiteY3" fmla="*/ 3278300 h 3278300"/>
              <a:gd name="connsiteX4" fmla="*/ 336 w 6098796"/>
              <a:gd name="connsiteY4" fmla="*/ 3276184 h 3278300"/>
              <a:gd name="connsiteX5" fmla="*/ 1 w 6098796"/>
              <a:gd name="connsiteY5" fmla="*/ 0 h 3278300"/>
              <a:gd name="connsiteX0" fmla="*/ -1 w 6098794"/>
              <a:gd name="connsiteY0" fmla="*/ 0 h 3276184"/>
              <a:gd name="connsiteX1" fmla="*/ 6097999 w 6098794"/>
              <a:gd name="connsiteY1" fmla="*/ 3698 h 3276184"/>
              <a:gd name="connsiteX2" fmla="*/ 6097998 w 6098794"/>
              <a:gd name="connsiteY2" fmla="*/ 2833148 h 3276184"/>
              <a:gd name="connsiteX3" fmla="*/ 3259278 w 6098794"/>
              <a:gd name="connsiteY3" fmla="*/ 3273473 h 3276184"/>
              <a:gd name="connsiteX4" fmla="*/ 334 w 6098794"/>
              <a:gd name="connsiteY4" fmla="*/ 3276184 h 3276184"/>
              <a:gd name="connsiteX5" fmla="*/ -1 w 6098794"/>
              <a:gd name="connsiteY5" fmla="*/ 0 h 3276184"/>
              <a:gd name="connsiteX0" fmla="*/ 1 w 6098000"/>
              <a:gd name="connsiteY0" fmla="*/ 0 h 3276184"/>
              <a:gd name="connsiteX1" fmla="*/ 6098001 w 6098000"/>
              <a:gd name="connsiteY1" fmla="*/ 3698 h 3276184"/>
              <a:gd name="connsiteX2" fmla="*/ 6079864 w 6098000"/>
              <a:gd name="connsiteY2" fmla="*/ 2529014 h 3276184"/>
              <a:gd name="connsiteX3" fmla="*/ 3259280 w 6098000"/>
              <a:gd name="connsiteY3" fmla="*/ 3273473 h 3276184"/>
              <a:gd name="connsiteX4" fmla="*/ 336 w 6098000"/>
              <a:gd name="connsiteY4" fmla="*/ 3276184 h 3276184"/>
              <a:gd name="connsiteX5" fmla="*/ 1 w 6098000"/>
              <a:gd name="connsiteY5" fmla="*/ 0 h 3276184"/>
              <a:gd name="connsiteX0" fmla="*/ 8737 w 6106737"/>
              <a:gd name="connsiteY0" fmla="*/ 0 h 3273473"/>
              <a:gd name="connsiteX1" fmla="*/ 6106737 w 6106737"/>
              <a:gd name="connsiteY1" fmla="*/ 3698 h 3273473"/>
              <a:gd name="connsiteX2" fmla="*/ 6088600 w 6106737"/>
              <a:gd name="connsiteY2" fmla="*/ 2529014 h 3273473"/>
              <a:gd name="connsiteX3" fmla="*/ 3268016 w 6106737"/>
              <a:gd name="connsiteY3" fmla="*/ 3273473 h 3273473"/>
              <a:gd name="connsiteX4" fmla="*/ 3 w 6106737"/>
              <a:gd name="connsiteY4" fmla="*/ 2329989 h 3273473"/>
              <a:gd name="connsiteX5" fmla="*/ 8737 w 6106737"/>
              <a:gd name="connsiteY5" fmla="*/ 0 h 3273473"/>
              <a:gd name="connsiteX0" fmla="*/ 335189 w 6106735"/>
              <a:gd name="connsiteY0" fmla="*/ 454917 h 3269775"/>
              <a:gd name="connsiteX1" fmla="*/ 6106735 w 6106735"/>
              <a:gd name="connsiteY1" fmla="*/ 0 h 3269775"/>
              <a:gd name="connsiteX2" fmla="*/ 6088598 w 6106735"/>
              <a:gd name="connsiteY2" fmla="*/ 2525316 h 3269775"/>
              <a:gd name="connsiteX3" fmla="*/ 3268014 w 6106735"/>
              <a:gd name="connsiteY3" fmla="*/ 3269775 h 3269775"/>
              <a:gd name="connsiteX4" fmla="*/ 1 w 6106735"/>
              <a:gd name="connsiteY4" fmla="*/ 2326291 h 3269775"/>
              <a:gd name="connsiteX5" fmla="*/ 335189 w 6106735"/>
              <a:gd name="connsiteY5" fmla="*/ 454917 h 3269775"/>
              <a:gd name="connsiteX0" fmla="*/ 335189 w 6106735"/>
              <a:gd name="connsiteY0" fmla="*/ 454917 h 3269775"/>
              <a:gd name="connsiteX1" fmla="*/ 3432891 w 6106735"/>
              <a:gd name="connsiteY1" fmla="*/ 205873 h 3269775"/>
              <a:gd name="connsiteX2" fmla="*/ 6106735 w 6106735"/>
              <a:gd name="connsiteY2" fmla="*/ 0 h 3269775"/>
              <a:gd name="connsiteX3" fmla="*/ 6088598 w 6106735"/>
              <a:gd name="connsiteY3" fmla="*/ 2525316 h 3269775"/>
              <a:gd name="connsiteX4" fmla="*/ 3268014 w 6106735"/>
              <a:gd name="connsiteY4" fmla="*/ 3269775 h 3269775"/>
              <a:gd name="connsiteX5" fmla="*/ 1 w 6106735"/>
              <a:gd name="connsiteY5" fmla="*/ 2326291 h 3269775"/>
              <a:gd name="connsiteX6" fmla="*/ 335189 w 6106735"/>
              <a:gd name="connsiteY6" fmla="*/ 454917 h 3269775"/>
              <a:gd name="connsiteX0" fmla="*/ 335189 w 6106735"/>
              <a:gd name="connsiteY0" fmla="*/ 454917 h 3269775"/>
              <a:gd name="connsiteX1" fmla="*/ 3260597 w 6106735"/>
              <a:gd name="connsiteY1" fmla="*/ 22428 h 3269775"/>
              <a:gd name="connsiteX2" fmla="*/ 6106735 w 6106735"/>
              <a:gd name="connsiteY2" fmla="*/ 0 h 3269775"/>
              <a:gd name="connsiteX3" fmla="*/ 6088598 w 6106735"/>
              <a:gd name="connsiteY3" fmla="*/ 2525316 h 3269775"/>
              <a:gd name="connsiteX4" fmla="*/ 3268014 w 6106735"/>
              <a:gd name="connsiteY4" fmla="*/ 3269775 h 3269775"/>
              <a:gd name="connsiteX5" fmla="*/ 1 w 6106735"/>
              <a:gd name="connsiteY5" fmla="*/ 2326291 h 3269775"/>
              <a:gd name="connsiteX6" fmla="*/ 335189 w 6106735"/>
              <a:gd name="connsiteY6" fmla="*/ 454917 h 3269775"/>
              <a:gd name="connsiteX0" fmla="*/ 335189 w 6124871"/>
              <a:gd name="connsiteY0" fmla="*/ 432489 h 3247347"/>
              <a:gd name="connsiteX1" fmla="*/ 3260597 w 6124871"/>
              <a:gd name="connsiteY1" fmla="*/ 0 h 3247347"/>
              <a:gd name="connsiteX2" fmla="*/ 6124871 w 6124871"/>
              <a:gd name="connsiteY2" fmla="*/ 281705 h 3247347"/>
              <a:gd name="connsiteX3" fmla="*/ 6088598 w 6124871"/>
              <a:gd name="connsiteY3" fmla="*/ 2502888 h 3247347"/>
              <a:gd name="connsiteX4" fmla="*/ 3268014 w 6124871"/>
              <a:gd name="connsiteY4" fmla="*/ 3247347 h 3247347"/>
              <a:gd name="connsiteX5" fmla="*/ 1 w 6124871"/>
              <a:gd name="connsiteY5" fmla="*/ 2303863 h 3247347"/>
              <a:gd name="connsiteX6" fmla="*/ 335189 w 6124871"/>
              <a:gd name="connsiteY6" fmla="*/ 432489 h 3247347"/>
              <a:gd name="connsiteX0" fmla="*/ 618041 w 6407723"/>
              <a:gd name="connsiteY0" fmla="*/ 432489 h 3247347"/>
              <a:gd name="connsiteX1" fmla="*/ 3543449 w 6407723"/>
              <a:gd name="connsiteY1" fmla="*/ 0 h 3247347"/>
              <a:gd name="connsiteX2" fmla="*/ 6407723 w 6407723"/>
              <a:gd name="connsiteY2" fmla="*/ 281705 h 3247347"/>
              <a:gd name="connsiteX3" fmla="*/ 6371450 w 6407723"/>
              <a:gd name="connsiteY3" fmla="*/ 2502888 h 3247347"/>
              <a:gd name="connsiteX4" fmla="*/ 3550866 w 6407723"/>
              <a:gd name="connsiteY4" fmla="*/ 3247347 h 3247347"/>
              <a:gd name="connsiteX5" fmla="*/ 282853 w 6407723"/>
              <a:gd name="connsiteY5" fmla="*/ 2303863 h 3247347"/>
              <a:gd name="connsiteX6" fmla="*/ 618041 w 6407723"/>
              <a:gd name="connsiteY6" fmla="*/ 432489 h 3247347"/>
              <a:gd name="connsiteX0" fmla="*/ 512943 w 6302625"/>
              <a:gd name="connsiteY0" fmla="*/ 432489 h 3247347"/>
              <a:gd name="connsiteX1" fmla="*/ 3438351 w 6302625"/>
              <a:gd name="connsiteY1" fmla="*/ 0 h 3247347"/>
              <a:gd name="connsiteX2" fmla="*/ 6302625 w 6302625"/>
              <a:gd name="connsiteY2" fmla="*/ 281705 h 3247347"/>
              <a:gd name="connsiteX3" fmla="*/ 6266352 w 6302625"/>
              <a:gd name="connsiteY3" fmla="*/ 2502888 h 3247347"/>
              <a:gd name="connsiteX4" fmla="*/ 3445768 w 6302625"/>
              <a:gd name="connsiteY4" fmla="*/ 3247347 h 3247347"/>
              <a:gd name="connsiteX5" fmla="*/ 177755 w 6302625"/>
              <a:gd name="connsiteY5" fmla="*/ 2303863 h 3247347"/>
              <a:gd name="connsiteX6" fmla="*/ 512943 w 6302625"/>
              <a:gd name="connsiteY6" fmla="*/ 432489 h 3247347"/>
              <a:gd name="connsiteX0" fmla="*/ 512943 w 6302625"/>
              <a:gd name="connsiteY0" fmla="*/ 432489 h 3283326"/>
              <a:gd name="connsiteX1" fmla="*/ 3438351 w 6302625"/>
              <a:gd name="connsiteY1" fmla="*/ 0 h 3283326"/>
              <a:gd name="connsiteX2" fmla="*/ 6302625 w 6302625"/>
              <a:gd name="connsiteY2" fmla="*/ 281705 h 3283326"/>
              <a:gd name="connsiteX3" fmla="*/ 6266352 w 6302625"/>
              <a:gd name="connsiteY3" fmla="*/ 2502888 h 3283326"/>
              <a:gd name="connsiteX4" fmla="*/ 3445768 w 6302625"/>
              <a:gd name="connsiteY4" fmla="*/ 3247347 h 3283326"/>
              <a:gd name="connsiteX5" fmla="*/ 177755 w 6302625"/>
              <a:gd name="connsiteY5" fmla="*/ 2303863 h 3283326"/>
              <a:gd name="connsiteX6" fmla="*/ 512943 w 6302625"/>
              <a:gd name="connsiteY6" fmla="*/ 432489 h 3283326"/>
              <a:gd name="connsiteX0" fmla="*/ 512943 w 6302625"/>
              <a:gd name="connsiteY0" fmla="*/ 432489 h 3283326"/>
              <a:gd name="connsiteX1" fmla="*/ 3438351 w 6302625"/>
              <a:gd name="connsiteY1" fmla="*/ 0 h 3283326"/>
              <a:gd name="connsiteX2" fmla="*/ 6302625 w 6302625"/>
              <a:gd name="connsiteY2" fmla="*/ 281705 h 3283326"/>
              <a:gd name="connsiteX3" fmla="*/ 6266352 w 6302625"/>
              <a:gd name="connsiteY3" fmla="*/ 2502888 h 3283326"/>
              <a:gd name="connsiteX4" fmla="*/ 3445768 w 6302625"/>
              <a:gd name="connsiteY4" fmla="*/ 3247347 h 3283326"/>
              <a:gd name="connsiteX5" fmla="*/ 177755 w 6302625"/>
              <a:gd name="connsiteY5" fmla="*/ 2303863 h 3283326"/>
              <a:gd name="connsiteX6" fmla="*/ 512943 w 6302625"/>
              <a:gd name="connsiteY6" fmla="*/ 432489 h 3283326"/>
              <a:gd name="connsiteX0" fmla="*/ 512943 w 6424948"/>
              <a:gd name="connsiteY0" fmla="*/ 432489 h 3283326"/>
              <a:gd name="connsiteX1" fmla="*/ 3438351 w 6424948"/>
              <a:gd name="connsiteY1" fmla="*/ 0 h 3283326"/>
              <a:gd name="connsiteX2" fmla="*/ 6302625 w 6424948"/>
              <a:gd name="connsiteY2" fmla="*/ 281705 h 3283326"/>
              <a:gd name="connsiteX3" fmla="*/ 6266352 w 6424948"/>
              <a:gd name="connsiteY3" fmla="*/ 2502888 h 3283326"/>
              <a:gd name="connsiteX4" fmla="*/ 3445768 w 6424948"/>
              <a:gd name="connsiteY4" fmla="*/ 3247347 h 3283326"/>
              <a:gd name="connsiteX5" fmla="*/ 177755 w 6424948"/>
              <a:gd name="connsiteY5" fmla="*/ 2303863 h 3283326"/>
              <a:gd name="connsiteX6" fmla="*/ 512943 w 642494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47782"/>
              <a:gd name="connsiteX1" fmla="*/ 3438351 w 6506888"/>
              <a:gd name="connsiteY1" fmla="*/ 0 h 3247782"/>
              <a:gd name="connsiteX2" fmla="*/ 6302625 w 6506888"/>
              <a:gd name="connsiteY2" fmla="*/ 281705 h 3247782"/>
              <a:gd name="connsiteX3" fmla="*/ 6266352 w 6506888"/>
              <a:gd name="connsiteY3" fmla="*/ 2502888 h 3247782"/>
              <a:gd name="connsiteX4" fmla="*/ 3445768 w 6506888"/>
              <a:gd name="connsiteY4" fmla="*/ 3247347 h 3247782"/>
              <a:gd name="connsiteX5" fmla="*/ 177755 w 6506888"/>
              <a:gd name="connsiteY5" fmla="*/ 2303863 h 3247782"/>
              <a:gd name="connsiteX6" fmla="*/ 512943 w 6506888"/>
              <a:gd name="connsiteY6" fmla="*/ 432489 h 3247782"/>
              <a:gd name="connsiteX0" fmla="*/ 512943 w 6640245"/>
              <a:gd name="connsiteY0" fmla="*/ 464431 h 3279724"/>
              <a:gd name="connsiteX1" fmla="*/ 3438351 w 6640245"/>
              <a:gd name="connsiteY1" fmla="*/ 31942 h 3279724"/>
              <a:gd name="connsiteX2" fmla="*/ 6302625 w 6640245"/>
              <a:gd name="connsiteY2" fmla="*/ 313647 h 3279724"/>
              <a:gd name="connsiteX3" fmla="*/ 6266352 w 6640245"/>
              <a:gd name="connsiteY3" fmla="*/ 2534830 h 3279724"/>
              <a:gd name="connsiteX4" fmla="*/ 3445768 w 6640245"/>
              <a:gd name="connsiteY4" fmla="*/ 3279289 h 3279724"/>
              <a:gd name="connsiteX5" fmla="*/ 177755 w 6640245"/>
              <a:gd name="connsiteY5" fmla="*/ 2335805 h 3279724"/>
              <a:gd name="connsiteX6" fmla="*/ 512943 w 6640245"/>
              <a:gd name="connsiteY6" fmla="*/ 464431 h 3279724"/>
              <a:gd name="connsiteX0" fmla="*/ 512943 w 6640245"/>
              <a:gd name="connsiteY0" fmla="*/ 435033 h 3250326"/>
              <a:gd name="connsiteX1" fmla="*/ 3438351 w 6640245"/>
              <a:gd name="connsiteY1" fmla="*/ 2544 h 3250326"/>
              <a:gd name="connsiteX2" fmla="*/ 6302625 w 6640245"/>
              <a:gd name="connsiteY2" fmla="*/ 284249 h 3250326"/>
              <a:gd name="connsiteX3" fmla="*/ 6266352 w 6640245"/>
              <a:gd name="connsiteY3" fmla="*/ 2505432 h 3250326"/>
              <a:gd name="connsiteX4" fmla="*/ 3445768 w 6640245"/>
              <a:gd name="connsiteY4" fmla="*/ 3249891 h 3250326"/>
              <a:gd name="connsiteX5" fmla="*/ 177755 w 6640245"/>
              <a:gd name="connsiteY5" fmla="*/ 2306407 h 3250326"/>
              <a:gd name="connsiteX6" fmla="*/ 512943 w 6640245"/>
              <a:gd name="connsiteY6" fmla="*/ 435033 h 3250326"/>
              <a:gd name="connsiteX0" fmla="*/ 512943 w 6481361"/>
              <a:gd name="connsiteY0" fmla="*/ 435033 h 3250326"/>
              <a:gd name="connsiteX1" fmla="*/ 3438351 w 6481361"/>
              <a:gd name="connsiteY1" fmla="*/ 2544 h 3250326"/>
              <a:gd name="connsiteX2" fmla="*/ 6302625 w 6481361"/>
              <a:gd name="connsiteY2" fmla="*/ 284249 h 3250326"/>
              <a:gd name="connsiteX3" fmla="*/ 6266352 w 6481361"/>
              <a:gd name="connsiteY3" fmla="*/ 2505432 h 3250326"/>
              <a:gd name="connsiteX4" fmla="*/ 3445768 w 6481361"/>
              <a:gd name="connsiteY4" fmla="*/ 3249891 h 3250326"/>
              <a:gd name="connsiteX5" fmla="*/ 177755 w 6481361"/>
              <a:gd name="connsiteY5" fmla="*/ 2306407 h 3250326"/>
              <a:gd name="connsiteX6" fmla="*/ 512943 w 6481361"/>
              <a:gd name="connsiteY6" fmla="*/ 435033 h 3250326"/>
              <a:gd name="connsiteX0" fmla="*/ 512943 w 6481363"/>
              <a:gd name="connsiteY0" fmla="*/ 435033 h 3250326"/>
              <a:gd name="connsiteX1" fmla="*/ 3438351 w 6481363"/>
              <a:gd name="connsiteY1" fmla="*/ 2544 h 3250326"/>
              <a:gd name="connsiteX2" fmla="*/ 6302625 w 6481363"/>
              <a:gd name="connsiteY2" fmla="*/ 284249 h 3250326"/>
              <a:gd name="connsiteX3" fmla="*/ 6266352 w 6481363"/>
              <a:gd name="connsiteY3" fmla="*/ 2505432 h 3250326"/>
              <a:gd name="connsiteX4" fmla="*/ 3445768 w 6481363"/>
              <a:gd name="connsiteY4" fmla="*/ 3249891 h 3250326"/>
              <a:gd name="connsiteX5" fmla="*/ 177755 w 6481363"/>
              <a:gd name="connsiteY5" fmla="*/ 2306407 h 3250326"/>
              <a:gd name="connsiteX6" fmla="*/ 512943 w 6481363"/>
              <a:gd name="connsiteY6" fmla="*/ 435033 h 3250326"/>
              <a:gd name="connsiteX0" fmla="*/ 512943 w 6481361"/>
              <a:gd name="connsiteY0" fmla="*/ 434187 h 3249480"/>
              <a:gd name="connsiteX1" fmla="*/ 3438351 w 6481361"/>
              <a:gd name="connsiteY1" fmla="*/ 1698 h 3249480"/>
              <a:gd name="connsiteX2" fmla="*/ 6302625 w 6481361"/>
              <a:gd name="connsiteY2" fmla="*/ 283403 h 3249480"/>
              <a:gd name="connsiteX3" fmla="*/ 6266352 w 6481361"/>
              <a:gd name="connsiteY3" fmla="*/ 2504586 h 3249480"/>
              <a:gd name="connsiteX4" fmla="*/ 3445768 w 6481361"/>
              <a:gd name="connsiteY4" fmla="*/ 3249045 h 3249480"/>
              <a:gd name="connsiteX5" fmla="*/ 177755 w 6481361"/>
              <a:gd name="connsiteY5" fmla="*/ 2305561 h 3249480"/>
              <a:gd name="connsiteX6" fmla="*/ 512943 w 6481361"/>
              <a:gd name="connsiteY6" fmla="*/ 434187 h 3249480"/>
              <a:gd name="connsiteX0" fmla="*/ 512943 w 6481363"/>
              <a:gd name="connsiteY0" fmla="*/ 435032 h 3250325"/>
              <a:gd name="connsiteX1" fmla="*/ 3438351 w 6481363"/>
              <a:gd name="connsiteY1" fmla="*/ 2543 h 3250325"/>
              <a:gd name="connsiteX2" fmla="*/ 6302625 w 6481363"/>
              <a:gd name="connsiteY2" fmla="*/ 284248 h 3250325"/>
              <a:gd name="connsiteX3" fmla="*/ 6266352 w 6481363"/>
              <a:gd name="connsiteY3" fmla="*/ 2505431 h 3250325"/>
              <a:gd name="connsiteX4" fmla="*/ 3445768 w 6481363"/>
              <a:gd name="connsiteY4" fmla="*/ 3249890 h 3250325"/>
              <a:gd name="connsiteX5" fmla="*/ 177755 w 6481363"/>
              <a:gd name="connsiteY5" fmla="*/ 2306406 h 3250325"/>
              <a:gd name="connsiteX6" fmla="*/ 512943 w 6481363"/>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356750 w 6146432"/>
              <a:gd name="connsiteY0" fmla="*/ 435032 h 3250325"/>
              <a:gd name="connsiteX1" fmla="*/ 3282158 w 6146432"/>
              <a:gd name="connsiteY1" fmla="*/ 2543 h 3250325"/>
              <a:gd name="connsiteX2" fmla="*/ 6146432 w 6146432"/>
              <a:gd name="connsiteY2" fmla="*/ 284248 h 3250325"/>
              <a:gd name="connsiteX3" fmla="*/ 6110159 w 6146432"/>
              <a:gd name="connsiteY3" fmla="*/ 2505431 h 3250325"/>
              <a:gd name="connsiteX4" fmla="*/ 3289575 w 6146432"/>
              <a:gd name="connsiteY4" fmla="*/ 3249890 h 3250325"/>
              <a:gd name="connsiteX5" fmla="*/ 21562 w 6146432"/>
              <a:gd name="connsiteY5" fmla="*/ 2306406 h 3250325"/>
              <a:gd name="connsiteX6" fmla="*/ 356750 w 6146432"/>
              <a:gd name="connsiteY6" fmla="*/ 435032 h 3250325"/>
              <a:gd name="connsiteX0" fmla="*/ 335225 w 6124907"/>
              <a:gd name="connsiteY0" fmla="*/ 435032 h 3250325"/>
              <a:gd name="connsiteX1" fmla="*/ 3260633 w 6124907"/>
              <a:gd name="connsiteY1" fmla="*/ 2543 h 3250325"/>
              <a:gd name="connsiteX2" fmla="*/ 6124907 w 6124907"/>
              <a:gd name="connsiteY2" fmla="*/ 284248 h 3250325"/>
              <a:gd name="connsiteX3" fmla="*/ 6088634 w 6124907"/>
              <a:gd name="connsiteY3" fmla="*/ 2505431 h 3250325"/>
              <a:gd name="connsiteX4" fmla="*/ 3268050 w 6124907"/>
              <a:gd name="connsiteY4" fmla="*/ 3249890 h 3250325"/>
              <a:gd name="connsiteX5" fmla="*/ 37 w 6124907"/>
              <a:gd name="connsiteY5" fmla="*/ 2306406 h 3250325"/>
              <a:gd name="connsiteX6" fmla="*/ 335225 w 6124907"/>
              <a:gd name="connsiteY6" fmla="*/ 435032 h 3250325"/>
              <a:gd name="connsiteX0" fmla="*/ 335225 w 6124907"/>
              <a:gd name="connsiteY0" fmla="*/ 515501 h 3330794"/>
              <a:gd name="connsiteX1" fmla="*/ 3260633 w 6124907"/>
              <a:gd name="connsiteY1" fmla="*/ 83012 h 3330794"/>
              <a:gd name="connsiteX2" fmla="*/ 6124907 w 6124907"/>
              <a:gd name="connsiteY2" fmla="*/ 364717 h 3330794"/>
              <a:gd name="connsiteX3" fmla="*/ 6088634 w 6124907"/>
              <a:gd name="connsiteY3" fmla="*/ 2585900 h 3330794"/>
              <a:gd name="connsiteX4" fmla="*/ 3268050 w 6124907"/>
              <a:gd name="connsiteY4" fmla="*/ 3330359 h 3330794"/>
              <a:gd name="connsiteX5" fmla="*/ 37 w 6124907"/>
              <a:gd name="connsiteY5" fmla="*/ 2386875 h 3330794"/>
              <a:gd name="connsiteX6" fmla="*/ 335225 w 6124907"/>
              <a:gd name="connsiteY6" fmla="*/ 515501 h 3330794"/>
              <a:gd name="connsiteX0" fmla="*/ 335225 w 6124907"/>
              <a:gd name="connsiteY0" fmla="*/ 432489 h 3247782"/>
              <a:gd name="connsiteX1" fmla="*/ 3260633 w 6124907"/>
              <a:gd name="connsiteY1" fmla="*/ 0 h 3247782"/>
              <a:gd name="connsiteX2" fmla="*/ 6124907 w 6124907"/>
              <a:gd name="connsiteY2" fmla="*/ 281705 h 3247782"/>
              <a:gd name="connsiteX3" fmla="*/ 6088634 w 6124907"/>
              <a:gd name="connsiteY3" fmla="*/ 2502888 h 3247782"/>
              <a:gd name="connsiteX4" fmla="*/ 3268050 w 6124907"/>
              <a:gd name="connsiteY4" fmla="*/ 3247347 h 3247782"/>
              <a:gd name="connsiteX5" fmla="*/ 37 w 6124907"/>
              <a:gd name="connsiteY5" fmla="*/ 2303863 h 3247782"/>
              <a:gd name="connsiteX6" fmla="*/ 335225 w 6124907"/>
              <a:gd name="connsiteY6" fmla="*/ 432489 h 3247782"/>
              <a:gd name="connsiteX0" fmla="*/ 335225 w 6223855"/>
              <a:gd name="connsiteY0" fmla="*/ 434186 h 3249479"/>
              <a:gd name="connsiteX1" fmla="*/ 3260633 w 6223855"/>
              <a:gd name="connsiteY1" fmla="*/ 1697 h 3249479"/>
              <a:gd name="connsiteX2" fmla="*/ 6124907 w 6223855"/>
              <a:gd name="connsiteY2" fmla="*/ 283402 h 3249479"/>
              <a:gd name="connsiteX3" fmla="*/ 6088634 w 6223855"/>
              <a:gd name="connsiteY3" fmla="*/ 2504585 h 3249479"/>
              <a:gd name="connsiteX4" fmla="*/ 3268050 w 6223855"/>
              <a:gd name="connsiteY4" fmla="*/ 3249044 h 3249479"/>
              <a:gd name="connsiteX5" fmla="*/ 37 w 6223855"/>
              <a:gd name="connsiteY5" fmla="*/ 2305560 h 3249479"/>
              <a:gd name="connsiteX6" fmla="*/ 335225 w 6223855"/>
              <a:gd name="connsiteY6" fmla="*/ 434186 h 3249479"/>
              <a:gd name="connsiteX0" fmla="*/ 335225 w 6124907"/>
              <a:gd name="connsiteY0" fmla="*/ 435032 h 3250325"/>
              <a:gd name="connsiteX1" fmla="*/ 3260633 w 6124907"/>
              <a:gd name="connsiteY1" fmla="*/ 2543 h 3250325"/>
              <a:gd name="connsiteX2" fmla="*/ 6124907 w 6124907"/>
              <a:gd name="connsiteY2" fmla="*/ 284248 h 3250325"/>
              <a:gd name="connsiteX3" fmla="*/ 6088634 w 6124907"/>
              <a:gd name="connsiteY3" fmla="*/ 2505431 h 3250325"/>
              <a:gd name="connsiteX4" fmla="*/ 3268050 w 6124907"/>
              <a:gd name="connsiteY4" fmla="*/ 3249890 h 3250325"/>
              <a:gd name="connsiteX5" fmla="*/ 37 w 6124907"/>
              <a:gd name="connsiteY5" fmla="*/ 2306406 h 3250325"/>
              <a:gd name="connsiteX6" fmla="*/ 335225 w 6124907"/>
              <a:gd name="connsiteY6" fmla="*/ 435032 h 3250325"/>
              <a:gd name="connsiteX0" fmla="*/ 335225 w 6124907"/>
              <a:gd name="connsiteY0" fmla="*/ 515501 h 3330794"/>
              <a:gd name="connsiteX1" fmla="*/ 3260633 w 6124907"/>
              <a:gd name="connsiteY1" fmla="*/ 83012 h 3330794"/>
              <a:gd name="connsiteX2" fmla="*/ 6124907 w 6124907"/>
              <a:gd name="connsiteY2" fmla="*/ 364717 h 3330794"/>
              <a:gd name="connsiteX3" fmla="*/ 6088634 w 6124907"/>
              <a:gd name="connsiteY3" fmla="*/ 2585900 h 3330794"/>
              <a:gd name="connsiteX4" fmla="*/ 3268050 w 6124907"/>
              <a:gd name="connsiteY4" fmla="*/ 3330359 h 3330794"/>
              <a:gd name="connsiteX5" fmla="*/ 37 w 6124907"/>
              <a:gd name="connsiteY5" fmla="*/ 2386875 h 3330794"/>
              <a:gd name="connsiteX6" fmla="*/ 335225 w 6124907"/>
              <a:gd name="connsiteY6" fmla="*/ 515501 h 3330794"/>
              <a:gd name="connsiteX0" fmla="*/ 335225 w 6124907"/>
              <a:gd name="connsiteY0" fmla="*/ 432489 h 3247782"/>
              <a:gd name="connsiteX1" fmla="*/ 3260633 w 6124907"/>
              <a:gd name="connsiteY1" fmla="*/ 0 h 3247782"/>
              <a:gd name="connsiteX2" fmla="*/ 6124907 w 6124907"/>
              <a:gd name="connsiteY2" fmla="*/ 281705 h 3247782"/>
              <a:gd name="connsiteX3" fmla="*/ 6088634 w 6124907"/>
              <a:gd name="connsiteY3" fmla="*/ 2502888 h 3247782"/>
              <a:gd name="connsiteX4" fmla="*/ 3268050 w 6124907"/>
              <a:gd name="connsiteY4" fmla="*/ 3247347 h 3247782"/>
              <a:gd name="connsiteX5" fmla="*/ 37 w 6124907"/>
              <a:gd name="connsiteY5" fmla="*/ 2303863 h 3247782"/>
              <a:gd name="connsiteX6" fmla="*/ 335225 w 6124907"/>
              <a:gd name="connsiteY6" fmla="*/ 432489 h 3247782"/>
              <a:gd name="connsiteX0" fmla="*/ 335225 w 6223855"/>
              <a:gd name="connsiteY0" fmla="*/ 434186 h 3249479"/>
              <a:gd name="connsiteX1" fmla="*/ 3260633 w 6223855"/>
              <a:gd name="connsiteY1" fmla="*/ 1697 h 3249479"/>
              <a:gd name="connsiteX2" fmla="*/ 6124907 w 6223855"/>
              <a:gd name="connsiteY2" fmla="*/ 283402 h 3249479"/>
              <a:gd name="connsiteX3" fmla="*/ 6088634 w 6223855"/>
              <a:gd name="connsiteY3" fmla="*/ 2504585 h 3249479"/>
              <a:gd name="connsiteX4" fmla="*/ 3268050 w 6223855"/>
              <a:gd name="connsiteY4" fmla="*/ 3249044 h 3249479"/>
              <a:gd name="connsiteX5" fmla="*/ 37 w 6223855"/>
              <a:gd name="connsiteY5" fmla="*/ 2305560 h 3249479"/>
              <a:gd name="connsiteX6" fmla="*/ 335225 w 6223855"/>
              <a:gd name="connsiteY6" fmla="*/ 434186 h 3249479"/>
              <a:gd name="connsiteX0" fmla="*/ 335225 w 6124907"/>
              <a:gd name="connsiteY0" fmla="*/ 435032 h 3250325"/>
              <a:gd name="connsiteX1" fmla="*/ 3260633 w 6124907"/>
              <a:gd name="connsiteY1" fmla="*/ 2543 h 3250325"/>
              <a:gd name="connsiteX2" fmla="*/ 6124907 w 6124907"/>
              <a:gd name="connsiteY2" fmla="*/ 284248 h 3250325"/>
              <a:gd name="connsiteX3" fmla="*/ 6088634 w 6124907"/>
              <a:gd name="connsiteY3" fmla="*/ 2505431 h 3250325"/>
              <a:gd name="connsiteX4" fmla="*/ 3268050 w 6124907"/>
              <a:gd name="connsiteY4" fmla="*/ 3249890 h 3250325"/>
              <a:gd name="connsiteX5" fmla="*/ 37 w 6124907"/>
              <a:gd name="connsiteY5" fmla="*/ 2306406 h 3250325"/>
              <a:gd name="connsiteX6" fmla="*/ 335225 w 6124907"/>
              <a:gd name="connsiteY6" fmla="*/ 435032 h 3250325"/>
              <a:gd name="connsiteX0" fmla="*/ 335225 w 6124907"/>
              <a:gd name="connsiteY0" fmla="*/ 434001 h 3249294"/>
              <a:gd name="connsiteX1" fmla="*/ 3260633 w 6124907"/>
              <a:gd name="connsiteY1" fmla="*/ 1512 h 3249294"/>
              <a:gd name="connsiteX2" fmla="*/ 6124907 w 6124907"/>
              <a:gd name="connsiteY2" fmla="*/ 283217 h 3249294"/>
              <a:gd name="connsiteX3" fmla="*/ 6088634 w 6124907"/>
              <a:gd name="connsiteY3" fmla="*/ 2504400 h 3249294"/>
              <a:gd name="connsiteX4" fmla="*/ 3268050 w 6124907"/>
              <a:gd name="connsiteY4" fmla="*/ 3248859 h 3249294"/>
              <a:gd name="connsiteX5" fmla="*/ 37 w 6124907"/>
              <a:gd name="connsiteY5" fmla="*/ 2305375 h 3249294"/>
              <a:gd name="connsiteX6" fmla="*/ 335225 w 6124907"/>
              <a:gd name="connsiteY6" fmla="*/ 434001 h 3249294"/>
              <a:gd name="connsiteX0" fmla="*/ 335225 w 6124907"/>
              <a:gd name="connsiteY0" fmla="*/ 432489 h 3247782"/>
              <a:gd name="connsiteX1" fmla="*/ 3260633 w 6124907"/>
              <a:gd name="connsiteY1" fmla="*/ 0 h 3247782"/>
              <a:gd name="connsiteX2" fmla="*/ 6124907 w 6124907"/>
              <a:gd name="connsiteY2" fmla="*/ 281705 h 3247782"/>
              <a:gd name="connsiteX3" fmla="*/ 6088634 w 6124907"/>
              <a:gd name="connsiteY3" fmla="*/ 2502888 h 3247782"/>
              <a:gd name="connsiteX4" fmla="*/ 3268050 w 6124907"/>
              <a:gd name="connsiteY4" fmla="*/ 3247347 h 3247782"/>
              <a:gd name="connsiteX5" fmla="*/ 37 w 6124907"/>
              <a:gd name="connsiteY5" fmla="*/ 2303863 h 3247782"/>
              <a:gd name="connsiteX6" fmla="*/ 335225 w 6124907"/>
              <a:gd name="connsiteY6" fmla="*/ 432489 h 3247782"/>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512181 h 3327474"/>
              <a:gd name="connsiteX1" fmla="*/ 3260633 w 6088641"/>
              <a:gd name="connsiteY1" fmla="*/ 79692 h 3327474"/>
              <a:gd name="connsiteX2" fmla="*/ 5816589 w 6088641"/>
              <a:gd name="connsiteY2" fmla="*/ 361397 h 3327474"/>
              <a:gd name="connsiteX3" fmla="*/ 6088634 w 6088641"/>
              <a:gd name="connsiteY3" fmla="*/ 2582580 h 3327474"/>
              <a:gd name="connsiteX4" fmla="*/ 3268050 w 6088641"/>
              <a:gd name="connsiteY4" fmla="*/ 3327039 h 3327474"/>
              <a:gd name="connsiteX5" fmla="*/ 37 w 6088641"/>
              <a:gd name="connsiteY5" fmla="*/ 2383555 h 3327474"/>
              <a:gd name="connsiteX6" fmla="*/ 335225 w 6088641"/>
              <a:gd name="connsiteY6" fmla="*/ 512181 h 3327474"/>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434186 h 3249479"/>
              <a:gd name="connsiteX1" fmla="*/ 3260633 w 6088641"/>
              <a:gd name="connsiteY1" fmla="*/ 1697 h 3249479"/>
              <a:gd name="connsiteX2" fmla="*/ 5816589 w 6088641"/>
              <a:gd name="connsiteY2" fmla="*/ 283402 h 3249479"/>
              <a:gd name="connsiteX3" fmla="*/ 6088634 w 6088641"/>
              <a:gd name="connsiteY3" fmla="*/ 2504585 h 3249479"/>
              <a:gd name="connsiteX4" fmla="*/ 3268050 w 6088641"/>
              <a:gd name="connsiteY4" fmla="*/ 3249044 h 3249479"/>
              <a:gd name="connsiteX5" fmla="*/ 37 w 6088641"/>
              <a:gd name="connsiteY5" fmla="*/ 2305560 h 3249479"/>
              <a:gd name="connsiteX6" fmla="*/ 335225 w 6088641"/>
              <a:gd name="connsiteY6" fmla="*/ 434186 h 3249479"/>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434692 h 3249985"/>
              <a:gd name="connsiteX1" fmla="*/ 3260633 w 6088641"/>
              <a:gd name="connsiteY1" fmla="*/ 2203 h 3249985"/>
              <a:gd name="connsiteX2" fmla="*/ 5816589 w 6088641"/>
              <a:gd name="connsiteY2" fmla="*/ 283908 h 3249985"/>
              <a:gd name="connsiteX3" fmla="*/ 6088634 w 6088641"/>
              <a:gd name="connsiteY3" fmla="*/ 2505091 h 3249985"/>
              <a:gd name="connsiteX4" fmla="*/ 3268050 w 6088641"/>
              <a:gd name="connsiteY4" fmla="*/ 3249550 h 3249985"/>
              <a:gd name="connsiteX5" fmla="*/ 37 w 6088641"/>
              <a:gd name="connsiteY5" fmla="*/ 2306066 h 3249985"/>
              <a:gd name="connsiteX6" fmla="*/ 335225 w 6088641"/>
              <a:gd name="connsiteY6" fmla="*/ 434692 h 3249985"/>
              <a:gd name="connsiteX0" fmla="*/ 335225 w 6088641"/>
              <a:gd name="connsiteY0" fmla="*/ 434455 h 3249748"/>
              <a:gd name="connsiteX1" fmla="*/ 3260633 w 6088641"/>
              <a:gd name="connsiteY1" fmla="*/ 1966 h 3249748"/>
              <a:gd name="connsiteX2" fmla="*/ 5816589 w 6088641"/>
              <a:gd name="connsiteY2" fmla="*/ 283671 h 3249748"/>
              <a:gd name="connsiteX3" fmla="*/ 6088634 w 6088641"/>
              <a:gd name="connsiteY3" fmla="*/ 2504854 h 3249748"/>
              <a:gd name="connsiteX4" fmla="*/ 3268050 w 6088641"/>
              <a:gd name="connsiteY4" fmla="*/ 3249313 h 3249748"/>
              <a:gd name="connsiteX5" fmla="*/ 37 w 6088641"/>
              <a:gd name="connsiteY5" fmla="*/ 2305829 h 3249748"/>
              <a:gd name="connsiteX6" fmla="*/ 335225 w 6088641"/>
              <a:gd name="connsiteY6" fmla="*/ 434455 h 3249748"/>
              <a:gd name="connsiteX0" fmla="*/ 335225 w 6088641"/>
              <a:gd name="connsiteY0" fmla="*/ 478129 h 3293422"/>
              <a:gd name="connsiteX1" fmla="*/ 3260633 w 6088641"/>
              <a:gd name="connsiteY1" fmla="*/ 45640 h 3293422"/>
              <a:gd name="connsiteX2" fmla="*/ 4969580 w 6088641"/>
              <a:gd name="connsiteY2" fmla="*/ 22169 h 3293422"/>
              <a:gd name="connsiteX3" fmla="*/ 5816589 w 6088641"/>
              <a:gd name="connsiteY3" fmla="*/ 327345 h 3293422"/>
              <a:gd name="connsiteX4" fmla="*/ 6088634 w 6088641"/>
              <a:gd name="connsiteY4" fmla="*/ 2548528 h 3293422"/>
              <a:gd name="connsiteX5" fmla="*/ 3268050 w 6088641"/>
              <a:gd name="connsiteY5" fmla="*/ 3292987 h 3293422"/>
              <a:gd name="connsiteX6" fmla="*/ 37 w 6088641"/>
              <a:gd name="connsiteY6" fmla="*/ 2349503 h 3293422"/>
              <a:gd name="connsiteX7" fmla="*/ 335225 w 6088641"/>
              <a:gd name="connsiteY7" fmla="*/ 478129 h 3293422"/>
              <a:gd name="connsiteX0" fmla="*/ 335225 w 6088641"/>
              <a:gd name="connsiteY0" fmla="*/ 464432 h 3279725"/>
              <a:gd name="connsiteX1" fmla="*/ 3260633 w 6088641"/>
              <a:gd name="connsiteY1" fmla="*/ 31943 h 3279725"/>
              <a:gd name="connsiteX2" fmla="*/ 5816589 w 6088641"/>
              <a:gd name="connsiteY2" fmla="*/ 313648 h 3279725"/>
              <a:gd name="connsiteX3" fmla="*/ 6088634 w 6088641"/>
              <a:gd name="connsiteY3" fmla="*/ 2534831 h 3279725"/>
              <a:gd name="connsiteX4" fmla="*/ 3268050 w 6088641"/>
              <a:gd name="connsiteY4" fmla="*/ 3279290 h 3279725"/>
              <a:gd name="connsiteX5" fmla="*/ 37 w 6088641"/>
              <a:gd name="connsiteY5" fmla="*/ 2335806 h 3279725"/>
              <a:gd name="connsiteX6" fmla="*/ 335225 w 6088641"/>
              <a:gd name="connsiteY6" fmla="*/ 464432 h 3279725"/>
              <a:gd name="connsiteX0" fmla="*/ 335225 w 6088641"/>
              <a:gd name="connsiteY0" fmla="*/ 434187 h 3249480"/>
              <a:gd name="connsiteX1" fmla="*/ 3260633 w 6088641"/>
              <a:gd name="connsiteY1" fmla="*/ 1698 h 3249480"/>
              <a:gd name="connsiteX2" fmla="*/ 5816589 w 6088641"/>
              <a:gd name="connsiteY2" fmla="*/ 283403 h 3249480"/>
              <a:gd name="connsiteX3" fmla="*/ 6088634 w 6088641"/>
              <a:gd name="connsiteY3" fmla="*/ 2504586 h 3249480"/>
              <a:gd name="connsiteX4" fmla="*/ 3268050 w 6088641"/>
              <a:gd name="connsiteY4" fmla="*/ 3249045 h 3249480"/>
              <a:gd name="connsiteX5" fmla="*/ 37 w 6088641"/>
              <a:gd name="connsiteY5" fmla="*/ 2305561 h 3249480"/>
              <a:gd name="connsiteX6" fmla="*/ 335225 w 6088641"/>
              <a:gd name="connsiteY6" fmla="*/ 434187 h 3249480"/>
              <a:gd name="connsiteX0" fmla="*/ 335225 w 6088641"/>
              <a:gd name="connsiteY0" fmla="*/ 434187 h 3249480"/>
              <a:gd name="connsiteX1" fmla="*/ 3260633 w 6088641"/>
              <a:gd name="connsiteY1" fmla="*/ 1698 h 3249480"/>
              <a:gd name="connsiteX2" fmla="*/ 5816589 w 6088641"/>
              <a:gd name="connsiteY2" fmla="*/ 283403 h 3249480"/>
              <a:gd name="connsiteX3" fmla="*/ 6088634 w 6088641"/>
              <a:gd name="connsiteY3" fmla="*/ 2504586 h 3249480"/>
              <a:gd name="connsiteX4" fmla="*/ 3268050 w 6088641"/>
              <a:gd name="connsiteY4" fmla="*/ 3249045 h 3249480"/>
              <a:gd name="connsiteX5" fmla="*/ 37 w 6088641"/>
              <a:gd name="connsiteY5" fmla="*/ 2305561 h 3249480"/>
              <a:gd name="connsiteX6" fmla="*/ 335225 w 6088641"/>
              <a:gd name="connsiteY6" fmla="*/ 434187 h 3249480"/>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512181 h 3327474"/>
              <a:gd name="connsiteX1" fmla="*/ 3260633 w 6088641"/>
              <a:gd name="connsiteY1" fmla="*/ 79692 h 3327474"/>
              <a:gd name="connsiteX2" fmla="*/ 5816589 w 6088641"/>
              <a:gd name="connsiteY2" fmla="*/ 361397 h 3327474"/>
              <a:gd name="connsiteX3" fmla="*/ 6088634 w 6088641"/>
              <a:gd name="connsiteY3" fmla="*/ 2582580 h 3327474"/>
              <a:gd name="connsiteX4" fmla="*/ 3268050 w 6088641"/>
              <a:gd name="connsiteY4" fmla="*/ 3327039 h 3327474"/>
              <a:gd name="connsiteX5" fmla="*/ 37 w 6088641"/>
              <a:gd name="connsiteY5" fmla="*/ 2383555 h 3327474"/>
              <a:gd name="connsiteX6" fmla="*/ 335225 w 6088641"/>
              <a:gd name="connsiteY6" fmla="*/ 512181 h 3327474"/>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434186 h 3249479"/>
              <a:gd name="connsiteX1" fmla="*/ 3260633 w 6088641"/>
              <a:gd name="connsiteY1" fmla="*/ 1697 h 3249479"/>
              <a:gd name="connsiteX2" fmla="*/ 5816589 w 6088641"/>
              <a:gd name="connsiteY2" fmla="*/ 283402 h 3249479"/>
              <a:gd name="connsiteX3" fmla="*/ 6088634 w 6088641"/>
              <a:gd name="connsiteY3" fmla="*/ 2504585 h 3249479"/>
              <a:gd name="connsiteX4" fmla="*/ 3268050 w 6088641"/>
              <a:gd name="connsiteY4" fmla="*/ 3249044 h 3249479"/>
              <a:gd name="connsiteX5" fmla="*/ 37 w 6088641"/>
              <a:gd name="connsiteY5" fmla="*/ 2305560 h 3249479"/>
              <a:gd name="connsiteX6" fmla="*/ 335225 w 6088641"/>
              <a:gd name="connsiteY6" fmla="*/ 434186 h 3249479"/>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433957 h 3249250"/>
              <a:gd name="connsiteX1" fmla="*/ 3260633 w 6088641"/>
              <a:gd name="connsiteY1" fmla="*/ 1468 h 3249250"/>
              <a:gd name="connsiteX2" fmla="*/ 5816589 w 6088641"/>
              <a:gd name="connsiteY2" fmla="*/ 283173 h 3249250"/>
              <a:gd name="connsiteX3" fmla="*/ 6088634 w 6088641"/>
              <a:gd name="connsiteY3" fmla="*/ 2504356 h 3249250"/>
              <a:gd name="connsiteX4" fmla="*/ 3268050 w 6088641"/>
              <a:gd name="connsiteY4" fmla="*/ 3248815 h 3249250"/>
              <a:gd name="connsiteX5" fmla="*/ 37 w 6088641"/>
              <a:gd name="connsiteY5" fmla="*/ 2305331 h 3249250"/>
              <a:gd name="connsiteX6" fmla="*/ 335225 w 6088641"/>
              <a:gd name="connsiteY6" fmla="*/ 433957 h 3249250"/>
              <a:gd name="connsiteX0" fmla="*/ 335225 w 6088641"/>
              <a:gd name="connsiteY0" fmla="*/ 433944 h 3249237"/>
              <a:gd name="connsiteX1" fmla="*/ 3260633 w 6088641"/>
              <a:gd name="connsiteY1" fmla="*/ 1455 h 3249237"/>
              <a:gd name="connsiteX2" fmla="*/ 5816589 w 6088641"/>
              <a:gd name="connsiteY2" fmla="*/ 283160 h 3249237"/>
              <a:gd name="connsiteX3" fmla="*/ 6088634 w 6088641"/>
              <a:gd name="connsiteY3" fmla="*/ 2504343 h 3249237"/>
              <a:gd name="connsiteX4" fmla="*/ 3268050 w 6088641"/>
              <a:gd name="connsiteY4" fmla="*/ 3248802 h 3249237"/>
              <a:gd name="connsiteX5" fmla="*/ 37 w 6088641"/>
              <a:gd name="connsiteY5" fmla="*/ 2305318 h 3249237"/>
              <a:gd name="connsiteX6" fmla="*/ 335225 w 6088641"/>
              <a:gd name="connsiteY6" fmla="*/ 433944 h 3249237"/>
              <a:gd name="connsiteX0" fmla="*/ 335225 w 6088641"/>
              <a:gd name="connsiteY0" fmla="*/ 433390 h 3248683"/>
              <a:gd name="connsiteX1" fmla="*/ 3260633 w 6088641"/>
              <a:gd name="connsiteY1" fmla="*/ 901 h 3248683"/>
              <a:gd name="connsiteX2" fmla="*/ 5816589 w 6088641"/>
              <a:gd name="connsiteY2" fmla="*/ 282606 h 3248683"/>
              <a:gd name="connsiteX3" fmla="*/ 6088634 w 6088641"/>
              <a:gd name="connsiteY3" fmla="*/ 2503789 h 3248683"/>
              <a:gd name="connsiteX4" fmla="*/ 3268050 w 6088641"/>
              <a:gd name="connsiteY4" fmla="*/ 3248248 h 3248683"/>
              <a:gd name="connsiteX5" fmla="*/ 37 w 6088641"/>
              <a:gd name="connsiteY5" fmla="*/ 2304764 h 3248683"/>
              <a:gd name="connsiteX6" fmla="*/ 335225 w 6088641"/>
              <a:gd name="connsiteY6" fmla="*/ 433390 h 3248683"/>
              <a:gd name="connsiteX0" fmla="*/ 335225 w 6088641"/>
              <a:gd name="connsiteY0" fmla="*/ 512181 h 3327474"/>
              <a:gd name="connsiteX1" fmla="*/ 3260633 w 6088641"/>
              <a:gd name="connsiteY1" fmla="*/ 79692 h 3327474"/>
              <a:gd name="connsiteX2" fmla="*/ 5816589 w 6088641"/>
              <a:gd name="connsiteY2" fmla="*/ 361397 h 3327474"/>
              <a:gd name="connsiteX3" fmla="*/ 6088634 w 6088641"/>
              <a:gd name="connsiteY3" fmla="*/ 2582580 h 3327474"/>
              <a:gd name="connsiteX4" fmla="*/ 3268050 w 6088641"/>
              <a:gd name="connsiteY4" fmla="*/ 3327039 h 3327474"/>
              <a:gd name="connsiteX5" fmla="*/ 37 w 6088641"/>
              <a:gd name="connsiteY5" fmla="*/ 2383555 h 3327474"/>
              <a:gd name="connsiteX6" fmla="*/ 335225 w 6088641"/>
              <a:gd name="connsiteY6" fmla="*/ 512181 h 3327474"/>
              <a:gd name="connsiteX0" fmla="*/ 335225 w 6088641"/>
              <a:gd name="connsiteY0" fmla="*/ 516824 h 3332117"/>
              <a:gd name="connsiteX1" fmla="*/ 3260633 w 6088641"/>
              <a:gd name="connsiteY1" fmla="*/ 84335 h 3332117"/>
              <a:gd name="connsiteX2" fmla="*/ 5816589 w 6088641"/>
              <a:gd name="connsiteY2" fmla="*/ 366040 h 3332117"/>
              <a:gd name="connsiteX3" fmla="*/ 6088634 w 6088641"/>
              <a:gd name="connsiteY3" fmla="*/ 2587223 h 3332117"/>
              <a:gd name="connsiteX4" fmla="*/ 3268050 w 6088641"/>
              <a:gd name="connsiteY4" fmla="*/ 3331682 h 3332117"/>
              <a:gd name="connsiteX5" fmla="*/ 37 w 6088641"/>
              <a:gd name="connsiteY5" fmla="*/ 2388198 h 3332117"/>
              <a:gd name="connsiteX6" fmla="*/ 335225 w 6088641"/>
              <a:gd name="connsiteY6" fmla="*/ 516824 h 3332117"/>
              <a:gd name="connsiteX0" fmla="*/ 335225 w 6088641"/>
              <a:gd name="connsiteY0" fmla="*/ 512182 h 3327475"/>
              <a:gd name="connsiteX1" fmla="*/ 3260633 w 6088641"/>
              <a:gd name="connsiteY1" fmla="*/ 79693 h 3327475"/>
              <a:gd name="connsiteX2" fmla="*/ 5816589 w 6088641"/>
              <a:gd name="connsiteY2" fmla="*/ 361398 h 3327475"/>
              <a:gd name="connsiteX3" fmla="*/ 6088634 w 6088641"/>
              <a:gd name="connsiteY3" fmla="*/ 2582581 h 3327475"/>
              <a:gd name="connsiteX4" fmla="*/ 3268050 w 6088641"/>
              <a:gd name="connsiteY4" fmla="*/ 3327040 h 3327475"/>
              <a:gd name="connsiteX5" fmla="*/ 37 w 6088641"/>
              <a:gd name="connsiteY5" fmla="*/ 2383556 h 3327475"/>
              <a:gd name="connsiteX6" fmla="*/ 335225 w 6088641"/>
              <a:gd name="connsiteY6" fmla="*/ 512182 h 3327475"/>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433961 h 3249254"/>
              <a:gd name="connsiteX1" fmla="*/ 3260633 w 6088641"/>
              <a:gd name="connsiteY1" fmla="*/ 1472 h 3249254"/>
              <a:gd name="connsiteX2" fmla="*/ 5816589 w 6088641"/>
              <a:gd name="connsiteY2" fmla="*/ 283177 h 3249254"/>
              <a:gd name="connsiteX3" fmla="*/ 6088634 w 6088641"/>
              <a:gd name="connsiteY3" fmla="*/ 2504360 h 3249254"/>
              <a:gd name="connsiteX4" fmla="*/ 3268050 w 6088641"/>
              <a:gd name="connsiteY4" fmla="*/ 3248819 h 3249254"/>
              <a:gd name="connsiteX5" fmla="*/ 37 w 6088641"/>
              <a:gd name="connsiteY5" fmla="*/ 2305335 h 3249254"/>
              <a:gd name="connsiteX6" fmla="*/ 335225 w 6088641"/>
              <a:gd name="connsiteY6" fmla="*/ 433961 h 3249254"/>
              <a:gd name="connsiteX0" fmla="*/ 335225 w 6088641"/>
              <a:gd name="connsiteY0" fmla="*/ 434186 h 3249479"/>
              <a:gd name="connsiteX1" fmla="*/ 3260633 w 6088641"/>
              <a:gd name="connsiteY1" fmla="*/ 1697 h 3249479"/>
              <a:gd name="connsiteX2" fmla="*/ 5816589 w 6088641"/>
              <a:gd name="connsiteY2" fmla="*/ 283402 h 3249479"/>
              <a:gd name="connsiteX3" fmla="*/ 6088634 w 6088641"/>
              <a:gd name="connsiteY3" fmla="*/ 2504585 h 3249479"/>
              <a:gd name="connsiteX4" fmla="*/ 3268050 w 6088641"/>
              <a:gd name="connsiteY4" fmla="*/ 3249044 h 3249479"/>
              <a:gd name="connsiteX5" fmla="*/ 37 w 6088641"/>
              <a:gd name="connsiteY5" fmla="*/ 2305560 h 3249479"/>
              <a:gd name="connsiteX6" fmla="*/ 335225 w 6088641"/>
              <a:gd name="connsiteY6" fmla="*/ 434186 h 3249479"/>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509718 h 3325011"/>
              <a:gd name="connsiteX1" fmla="*/ 3260633 w 6088641"/>
              <a:gd name="connsiteY1" fmla="*/ 77229 h 3325011"/>
              <a:gd name="connsiteX2" fmla="*/ 5816589 w 6088641"/>
              <a:gd name="connsiteY2" fmla="*/ 358934 h 3325011"/>
              <a:gd name="connsiteX3" fmla="*/ 6088634 w 6088641"/>
              <a:gd name="connsiteY3" fmla="*/ 2580117 h 3325011"/>
              <a:gd name="connsiteX4" fmla="*/ 3268050 w 6088641"/>
              <a:gd name="connsiteY4" fmla="*/ 3324576 h 3325011"/>
              <a:gd name="connsiteX5" fmla="*/ 37 w 6088641"/>
              <a:gd name="connsiteY5" fmla="*/ 2381092 h 3325011"/>
              <a:gd name="connsiteX6" fmla="*/ 335225 w 6088641"/>
              <a:gd name="connsiteY6" fmla="*/ 509718 h 3325011"/>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088641"/>
              <a:gd name="connsiteY0" fmla="*/ 440004 h 3255297"/>
              <a:gd name="connsiteX1" fmla="*/ 3260633 w 6088641"/>
              <a:gd name="connsiteY1" fmla="*/ 7515 h 3255297"/>
              <a:gd name="connsiteX2" fmla="*/ 6088634 w 6088641"/>
              <a:gd name="connsiteY2" fmla="*/ 2510403 h 3255297"/>
              <a:gd name="connsiteX3" fmla="*/ 3268050 w 6088641"/>
              <a:gd name="connsiteY3" fmla="*/ 3254862 h 3255297"/>
              <a:gd name="connsiteX4" fmla="*/ 37 w 6088641"/>
              <a:gd name="connsiteY4" fmla="*/ 2311378 h 3255297"/>
              <a:gd name="connsiteX5" fmla="*/ 335225 w 6088641"/>
              <a:gd name="connsiteY5" fmla="*/ 440004 h 3255297"/>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123026"/>
              <a:gd name="connsiteY0" fmla="*/ 432489 h 3247782"/>
              <a:gd name="connsiteX1" fmla="*/ 3260633 w 6123026"/>
              <a:gd name="connsiteY1" fmla="*/ 0 h 3247782"/>
              <a:gd name="connsiteX2" fmla="*/ 4736515 w 6123026"/>
              <a:gd name="connsiteY2" fmla="*/ 1160782 h 3247782"/>
              <a:gd name="connsiteX3" fmla="*/ 6088634 w 6123026"/>
              <a:gd name="connsiteY3" fmla="*/ 2502888 h 3247782"/>
              <a:gd name="connsiteX4" fmla="*/ 3268050 w 6123026"/>
              <a:gd name="connsiteY4" fmla="*/ 3247347 h 3247782"/>
              <a:gd name="connsiteX5" fmla="*/ 37 w 6123026"/>
              <a:gd name="connsiteY5" fmla="*/ 2303863 h 3247782"/>
              <a:gd name="connsiteX6" fmla="*/ 335225 w 6123026"/>
              <a:gd name="connsiteY6" fmla="*/ 432489 h 3247782"/>
              <a:gd name="connsiteX0" fmla="*/ 335225 w 6213970"/>
              <a:gd name="connsiteY0" fmla="*/ 432489 h 3247782"/>
              <a:gd name="connsiteX1" fmla="*/ 3260633 w 6213970"/>
              <a:gd name="connsiteY1" fmla="*/ 0 h 3247782"/>
              <a:gd name="connsiteX2" fmla="*/ 5748245 w 6213970"/>
              <a:gd name="connsiteY2" fmla="*/ 440703 h 3247782"/>
              <a:gd name="connsiteX3" fmla="*/ 6088634 w 6213970"/>
              <a:gd name="connsiteY3" fmla="*/ 2502888 h 3247782"/>
              <a:gd name="connsiteX4" fmla="*/ 3268050 w 6213970"/>
              <a:gd name="connsiteY4" fmla="*/ 3247347 h 3247782"/>
              <a:gd name="connsiteX5" fmla="*/ 37 w 6213970"/>
              <a:gd name="connsiteY5" fmla="*/ 2303863 h 3247782"/>
              <a:gd name="connsiteX6" fmla="*/ 335225 w 6213970"/>
              <a:gd name="connsiteY6" fmla="*/ 432489 h 3247782"/>
              <a:gd name="connsiteX0" fmla="*/ 335225 w 6213972"/>
              <a:gd name="connsiteY0" fmla="*/ 432489 h 3247782"/>
              <a:gd name="connsiteX1" fmla="*/ 3260633 w 6213972"/>
              <a:gd name="connsiteY1" fmla="*/ 0 h 3247782"/>
              <a:gd name="connsiteX2" fmla="*/ 5748245 w 6213972"/>
              <a:gd name="connsiteY2" fmla="*/ 440703 h 3247782"/>
              <a:gd name="connsiteX3" fmla="*/ 6088634 w 6213972"/>
              <a:gd name="connsiteY3" fmla="*/ 2502888 h 3247782"/>
              <a:gd name="connsiteX4" fmla="*/ 3268050 w 6213972"/>
              <a:gd name="connsiteY4" fmla="*/ 3247347 h 3247782"/>
              <a:gd name="connsiteX5" fmla="*/ 37 w 6213972"/>
              <a:gd name="connsiteY5" fmla="*/ 2303863 h 3247782"/>
              <a:gd name="connsiteX6" fmla="*/ 335225 w 6213972"/>
              <a:gd name="connsiteY6" fmla="*/ 432489 h 3247782"/>
              <a:gd name="connsiteX0" fmla="*/ 335225 w 6213970"/>
              <a:gd name="connsiteY0" fmla="*/ 432489 h 3247782"/>
              <a:gd name="connsiteX1" fmla="*/ 3260633 w 6213970"/>
              <a:gd name="connsiteY1" fmla="*/ 0 h 3247782"/>
              <a:gd name="connsiteX2" fmla="*/ 5748245 w 6213970"/>
              <a:gd name="connsiteY2" fmla="*/ 440703 h 3247782"/>
              <a:gd name="connsiteX3" fmla="*/ 6088634 w 6213970"/>
              <a:gd name="connsiteY3" fmla="*/ 2502888 h 3247782"/>
              <a:gd name="connsiteX4" fmla="*/ 3268050 w 6213970"/>
              <a:gd name="connsiteY4" fmla="*/ 3247347 h 3247782"/>
              <a:gd name="connsiteX5" fmla="*/ 37 w 6213970"/>
              <a:gd name="connsiteY5" fmla="*/ 2303863 h 3247782"/>
              <a:gd name="connsiteX6" fmla="*/ 335225 w 6213970"/>
              <a:gd name="connsiteY6" fmla="*/ 432489 h 3247782"/>
              <a:gd name="connsiteX0" fmla="*/ 335225 w 6147867"/>
              <a:gd name="connsiteY0" fmla="*/ 432489 h 3247782"/>
              <a:gd name="connsiteX1" fmla="*/ 3260633 w 6147867"/>
              <a:gd name="connsiteY1" fmla="*/ 0 h 3247782"/>
              <a:gd name="connsiteX2" fmla="*/ 5748245 w 6147867"/>
              <a:gd name="connsiteY2" fmla="*/ 440703 h 3247782"/>
              <a:gd name="connsiteX3" fmla="*/ 6088634 w 6147867"/>
              <a:gd name="connsiteY3" fmla="*/ 2502888 h 3247782"/>
              <a:gd name="connsiteX4" fmla="*/ 3268050 w 6147867"/>
              <a:gd name="connsiteY4" fmla="*/ 3247347 h 3247782"/>
              <a:gd name="connsiteX5" fmla="*/ 37 w 6147867"/>
              <a:gd name="connsiteY5" fmla="*/ 2303863 h 3247782"/>
              <a:gd name="connsiteX6" fmla="*/ 335225 w 6147867"/>
              <a:gd name="connsiteY6" fmla="*/ 432489 h 3247782"/>
              <a:gd name="connsiteX0" fmla="*/ 335225 w 6088640"/>
              <a:gd name="connsiteY0" fmla="*/ 432489 h 3247782"/>
              <a:gd name="connsiteX1" fmla="*/ 3260633 w 6088640"/>
              <a:gd name="connsiteY1" fmla="*/ 0 h 3247782"/>
              <a:gd name="connsiteX2" fmla="*/ 5748245 w 6088640"/>
              <a:gd name="connsiteY2" fmla="*/ 440703 h 3247782"/>
              <a:gd name="connsiteX3" fmla="*/ 6088634 w 6088640"/>
              <a:gd name="connsiteY3" fmla="*/ 2502888 h 3247782"/>
              <a:gd name="connsiteX4" fmla="*/ 3268050 w 6088640"/>
              <a:gd name="connsiteY4" fmla="*/ 3247347 h 3247782"/>
              <a:gd name="connsiteX5" fmla="*/ 37 w 6088640"/>
              <a:gd name="connsiteY5" fmla="*/ 2303863 h 3247782"/>
              <a:gd name="connsiteX6" fmla="*/ 335225 w 6088640"/>
              <a:gd name="connsiteY6" fmla="*/ 432489 h 3247782"/>
              <a:gd name="connsiteX0" fmla="*/ 335225 w 6088642"/>
              <a:gd name="connsiteY0" fmla="*/ 432489 h 3247782"/>
              <a:gd name="connsiteX1" fmla="*/ 3260633 w 6088642"/>
              <a:gd name="connsiteY1" fmla="*/ 0 h 3247782"/>
              <a:gd name="connsiteX2" fmla="*/ 5748245 w 6088642"/>
              <a:gd name="connsiteY2" fmla="*/ 440703 h 3247782"/>
              <a:gd name="connsiteX3" fmla="*/ 6088634 w 6088642"/>
              <a:gd name="connsiteY3" fmla="*/ 2502888 h 3247782"/>
              <a:gd name="connsiteX4" fmla="*/ 3268050 w 6088642"/>
              <a:gd name="connsiteY4" fmla="*/ 3247347 h 3247782"/>
              <a:gd name="connsiteX5" fmla="*/ 37 w 6088642"/>
              <a:gd name="connsiteY5" fmla="*/ 2303863 h 3247782"/>
              <a:gd name="connsiteX6" fmla="*/ 335225 w 6088642"/>
              <a:gd name="connsiteY6" fmla="*/ 432489 h 3247782"/>
              <a:gd name="connsiteX0" fmla="*/ 335225 w 6088640"/>
              <a:gd name="connsiteY0" fmla="*/ 432489 h 3247782"/>
              <a:gd name="connsiteX1" fmla="*/ 3260633 w 6088640"/>
              <a:gd name="connsiteY1" fmla="*/ 0 h 3247782"/>
              <a:gd name="connsiteX2" fmla="*/ 5748245 w 6088640"/>
              <a:gd name="connsiteY2" fmla="*/ 440703 h 3247782"/>
              <a:gd name="connsiteX3" fmla="*/ 6088634 w 6088640"/>
              <a:gd name="connsiteY3" fmla="*/ 2502888 h 3247782"/>
              <a:gd name="connsiteX4" fmla="*/ 3268050 w 6088640"/>
              <a:gd name="connsiteY4" fmla="*/ 3247347 h 3247782"/>
              <a:gd name="connsiteX5" fmla="*/ 37 w 6088640"/>
              <a:gd name="connsiteY5" fmla="*/ 2303863 h 3247782"/>
              <a:gd name="connsiteX6" fmla="*/ 335225 w 6088640"/>
              <a:gd name="connsiteY6" fmla="*/ 432489 h 3247782"/>
              <a:gd name="connsiteX0" fmla="*/ 335225 w 6088642"/>
              <a:gd name="connsiteY0" fmla="*/ 432489 h 3247782"/>
              <a:gd name="connsiteX1" fmla="*/ 3260633 w 6088642"/>
              <a:gd name="connsiteY1" fmla="*/ 0 h 3247782"/>
              <a:gd name="connsiteX2" fmla="*/ 5748245 w 6088642"/>
              <a:gd name="connsiteY2" fmla="*/ 440703 h 3247782"/>
              <a:gd name="connsiteX3" fmla="*/ 6088634 w 6088642"/>
              <a:gd name="connsiteY3" fmla="*/ 2502888 h 3247782"/>
              <a:gd name="connsiteX4" fmla="*/ 3268050 w 6088642"/>
              <a:gd name="connsiteY4" fmla="*/ 3247347 h 3247782"/>
              <a:gd name="connsiteX5" fmla="*/ 37 w 6088642"/>
              <a:gd name="connsiteY5" fmla="*/ 2303863 h 3247782"/>
              <a:gd name="connsiteX6" fmla="*/ 335225 w 6088642"/>
              <a:gd name="connsiteY6" fmla="*/ 432489 h 3247782"/>
              <a:gd name="connsiteX0" fmla="*/ 353201 w 6106621"/>
              <a:gd name="connsiteY0" fmla="*/ 432489 h 3263671"/>
              <a:gd name="connsiteX1" fmla="*/ 3278609 w 6106621"/>
              <a:gd name="connsiteY1" fmla="*/ 0 h 3263671"/>
              <a:gd name="connsiteX2" fmla="*/ 5766221 w 6106621"/>
              <a:gd name="connsiteY2" fmla="*/ 440703 h 3263671"/>
              <a:gd name="connsiteX3" fmla="*/ 6106610 w 6106621"/>
              <a:gd name="connsiteY3" fmla="*/ 2502888 h 3263671"/>
              <a:gd name="connsiteX4" fmla="*/ 3286026 w 6106621"/>
              <a:gd name="connsiteY4" fmla="*/ 3247347 h 3263671"/>
              <a:gd name="connsiteX5" fmla="*/ 53 w 6106621"/>
              <a:gd name="connsiteY5" fmla="*/ 1620527 h 3263671"/>
              <a:gd name="connsiteX6" fmla="*/ 353201 w 6106621"/>
              <a:gd name="connsiteY6" fmla="*/ 432489 h 3263671"/>
              <a:gd name="connsiteX0" fmla="*/ 353201 w 6106621"/>
              <a:gd name="connsiteY0" fmla="*/ 432489 h 3263671"/>
              <a:gd name="connsiteX1" fmla="*/ 3278609 w 6106621"/>
              <a:gd name="connsiteY1" fmla="*/ 0 h 3263671"/>
              <a:gd name="connsiteX2" fmla="*/ 5766221 w 6106621"/>
              <a:gd name="connsiteY2" fmla="*/ 440703 h 3263671"/>
              <a:gd name="connsiteX3" fmla="*/ 6106610 w 6106621"/>
              <a:gd name="connsiteY3" fmla="*/ 2502888 h 3263671"/>
              <a:gd name="connsiteX4" fmla="*/ 3286026 w 6106621"/>
              <a:gd name="connsiteY4" fmla="*/ 3247347 h 3263671"/>
              <a:gd name="connsiteX5" fmla="*/ 53 w 6106621"/>
              <a:gd name="connsiteY5" fmla="*/ 1620527 h 3263671"/>
              <a:gd name="connsiteX6" fmla="*/ 353201 w 6106621"/>
              <a:gd name="connsiteY6" fmla="*/ 432489 h 3263671"/>
              <a:gd name="connsiteX0" fmla="*/ 353201 w 6106621"/>
              <a:gd name="connsiteY0" fmla="*/ 432489 h 3263671"/>
              <a:gd name="connsiteX1" fmla="*/ 3278609 w 6106621"/>
              <a:gd name="connsiteY1" fmla="*/ 0 h 3263671"/>
              <a:gd name="connsiteX2" fmla="*/ 5766221 w 6106621"/>
              <a:gd name="connsiteY2" fmla="*/ 440703 h 3263671"/>
              <a:gd name="connsiteX3" fmla="*/ 6106610 w 6106621"/>
              <a:gd name="connsiteY3" fmla="*/ 2502888 h 3263671"/>
              <a:gd name="connsiteX4" fmla="*/ 3286026 w 6106621"/>
              <a:gd name="connsiteY4" fmla="*/ 3247347 h 3263671"/>
              <a:gd name="connsiteX5" fmla="*/ 53 w 6106621"/>
              <a:gd name="connsiteY5" fmla="*/ 1620527 h 3263671"/>
              <a:gd name="connsiteX6" fmla="*/ 353201 w 6106621"/>
              <a:gd name="connsiteY6" fmla="*/ 432489 h 3263671"/>
              <a:gd name="connsiteX0" fmla="*/ 464353 w 6217770"/>
              <a:gd name="connsiteY0" fmla="*/ 432489 h 3391714"/>
              <a:gd name="connsiteX1" fmla="*/ 3389761 w 6217770"/>
              <a:gd name="connsiteY1" fmla="*/ 0 h 3391714"/>
              <a:gd name="connsiteX2" fmla="*/ 5877373 w 6217770"/>
              <a:gd name="connsiteY2" fmla="*/ 440703 h 3391714"/>
              <a:gd name="connsiteX3" fmla="*/ 6217762 w 6217770"/>
              <a:gd name="connsiteY3" fmla="*/ 2502888 h 3391714"/>
              <a:gd name="connsiteX4" fmla="*/ 2490214 w 6217770"/>
              <a:gd name="connsiteY4" fmla="*/ 3377277 h 3391714"/>
              <a:gd name="connsiteX5" fmla="*/ 111205 w 6217770"/>
              <a:gd name="connsiteY5" fmla="*/ 1620527 h 3391714"/>
              <a:gd name="connsiteX6" fmla="*/ 464353 w 6217770"/>
              <a:gd name="connsiteY6" fmla="*/ 432489 h 3391714"/>
              <a:gd name="connsiteX0" fmla="*/ 464353 w 6217767"/>
              <a:gd name="connsiteY0" fmla="*/ 432489 h 3377283"/>
              <a:gd name="connsiteX1" fmla="*/ 3389761 w 6217767"/>
              <a:gd name="connsiteY1" fmla="*/ 0 h 3377283"/>
              <a:gd name="connsiteX2" fmla="*/ 5877373 w 6217767"/>
              <a:gd name="connsiteY2" fmla="*/ 440703 h 3377283"/>
              <a:gd name="connsiteX3" fmla="*/ 6217762 w 6217767"/>
              <a:gd name="connsiteY3" fmla="*/ 2502888 h 3377283"/>
              <a:gd name="connsiteX4" fmla="*/ 2490214 w 6217767"/>
              <a:gd name="connsiteY4" fmla="*/ 3377277 h 3377283"/>
              <a:gd name="connsiteX5" fmla="*/ 111205 w 6217767"/>
              <a:gd name="connsiteY5" fmla="*/ 1620527 h 3377283"/>
              <a:gd name="connsiteX6" fmla="*/ 464353 w 6217767"/>
              <a:gd name="connsiteY6" fmla="*/ 432489 h 3377283"/>
              <a:gd name="connsiteX0" fmla="*/ 464353 w 6217767"/>
              <a:gd name="connsiteY0" fmla="*/ 432489 h 3377435"/>
              <a:gd name="connsiteX1" fmla="*/ 3389761 w 6217767"/>
              <a:gd name="connsiteY1" fmla="*/ 0 h 3377435"/>
              <a:gd name="connsiteX2" fmla="*/ 5877373 w 6217767"/>
              <a:gd name="connsiteY2" fmla="*/ 440703 h 3377435"/>
              <a:gd name="connsiteX3" fmla="*/ 6217762 w 6217767"/>
              <a:gd name="connsiteY3" fmla="*/ 2502888 h 3377435"/>
              <a:gd name="connsiteX4" fmla="*/ 2490214 w 6217767"/>
              <a:gd name="connsiteY4" fmla="*/ 3377277 h 3377435"/>
              <a:gd name="connsiteX5" fmla="*/ 111205 w 6217767"/>
              <a:gd name="connsiteY5" fmla="*/ 1620527 h 3377435"/>
              <a:gd name="connsiteX6" fmla="*/ 464353 w 6217767"/>
              <a:gd name="connsiteY6" fmla="*/ 432489 h 3377435"/>
              <a:gd name="connsiteX0" fmla="*/ 464353 w 6217767"/>
              <a:gd name="connsiteY0" fmla="*/ 432489 h 3377435"/>
              <a:gd name="connsiteX1" fmla="*/ 3389761 w 6217767"/>
              <a:gd name="connsiteY1" fmla="*/ 0 h 3377435"/>
              <a:gd name="connsiteX2" fmla="*/ 5877373 w 6217767"/>
              <a:gd name="connsiteY2" fmla="*/ 440703 h 3377435"/>
              <a:gd name="connsiteX3" fmla="*/ 6217762 w 6217767"/>
              <a:gd name="connsiteY3" fmla="*/ 2502888 h 3377435"/>
              <a:gd name="connsiteX4" fmla="*/ 2490214 w 6217767"/>
              <a:gd name="connsiteY4" fmla="*/ 3377277 h 3377435"/>
              <a:gd name="connsiteX5" fmla="*/ 111205 w 6217767"/>
              <a:gd name="connsiteY5" fmla="*/ 1620527 h 3377435"/>
              <a:gd name="connsiteX6" fmla="*/ 464353 w 6217767"/>
              <a:gd name="connsiteY6" fmla="*/ 432489 h 3377435"/>
              <a:gd name="connsiteX0" fmla="*/ 464353 w 6217767"/>
              <a:gd name="connsiteY0" fmla="*/ 432489 h 3377435"/>
              <a:gd name="connsiteX1" fmla="*/ 3389761 w 6217767"/>
              <a:gd name="connsiteY1" fmla="*/ 0 h 3377435"/>
              <a:gd name="connsiteX2" fmla="*/ 5877373 w 6217767"/>
              <a:gd name="connsiteY2" fmla="*/ 440703 h 3377435"/>
              <a:gd name="connsiteX3" fmla="*/ 6217762 w 6217767"/>
              <a:gd name="connsiteY3" fmla="*/ 2502888 h 3377435"/>
              <a:gd name="connsiteX4" fmla="*/ 2490214 w 6217767"/>
              <a:gd name="connsiteY4" fmla="*/ 3377277 h 3377435"/>
              <a:gd name="connsiteX5" fmla="*/ 111205 w 6217767"/>
              <a:gd name="connsiteY5" fmla="*/ 1620527 h 3377435"/>
              <a:gd name="connsiteX6" fmla="*/ 464353 w 6217767"/>
              <a:gd name="connsiteY6" fmla="*/ 432489 h 3377435"/>
              <a:gd name="connsiteX0" fmla="*/ 464353 w 6217767"/>
              <a:gd name="connsiteY0" fmla="*/ 432489 h 3377435"/>
              <a:gd name="connsiteX1" fmla="*/ 3389761 w 6217767"/>
              <a:gd name="connsiteY1" fmla="*/ 0 h 3377435"/>
              <a:gd name="connsiteX2" fmla="*/ 5877373 w 6217767"/>
              <a:gd name="connsiteY2" fmla="*/ 440703 h 3377435"/>
              <a:gd name="connsiteX3" fmla="*/ 6217762 w 6217767"/>
              <a:gd name="connsiteY3" fmla="*/ 2502888 h 3377435"/>
              <a:gd name="connsiteX4" fmla="*/ 2490214 w 6217767"/>
              <a:gd name="connsiteY4" fmla="*/ 3377277 h 3377435"/>
              <a:gd name="connsiteX5" fmla="*/ 111205 w 6217767"/>
              <a:gd name="connsiteY5" fmla="*/ 1620527 h 3377435"/>
              <a:gd name="connsiteX6" fmla="*/ 464353 w 6217767"/>
              <a:gd name="connsiteY6" fmla="*/ 432489 h 3377435"/>
              <a:gd name="connsiteX0" fmla="*/ 353260 w 6106674"/>
              <a:gd name="connsiteY0" fmla="*/ 432489 h 3377439"/>
              <a:gd name="connsiteX1" fmla="*/ 3278668 w 6106674"/>
              <a:gd name="connsiteY1" fmla="*/ 0 h 3377439"/>
              <a:gd name="connsiteX2" fmla="*/ 5766280 w 6106674"/>
              <a:gd name="connsiteY2" fmla="*/ 440703 h 3377439"/>
              <a:gd name="connsiteX3" fmla="*/ 6106669 w 6106674"/>
              <a:gd name="connsiteY3" fmla="*/ 2502888 h 3377439"/>
              <a:gd name="connsiteX4" fmla="*/ 2379121 w 6106674"/>
              <a:gd name="connsiteY4" fmla="*/ 3377277 h 3377439"/>
              <a:gd name="connsiteX5" fmla="*/ 112 w 6106674"/>
              <a:gd name="connsiteY5" fmla="*/ 1620527 h 3377439"/>
              <a:gd name="connsiteX6" fmla="*/ 353260 w 6106674"/>
              <a:gd name="connsiteY6" fmla="*/ 432489 h 3377439"/>
              <a:gd name="connsiteX0" fmla="*/ 353204 w 6106618"/>
              <a:gd name="connsiteY0" fmla="*/ 432489 h 3377392"/>
              <a:gd name="connsiteX1" fmla="*/ 3278612 w 6106618"/>
              <a:gd name="connsiteY1" fmla="*/ 0 h 3377392"/>
              <a:gd name="connsiteX2" fmla="*/ 5766224 w 6106618"/>
              <a:gd name="connsiteY2" fmla="*/ 440703 h 3377392"/>
              <a:gd name="connsiteX3" fmla="*/ 6106613 w 6106618"/>
              <a:gd name="connsiteY3" fmla="*/ 2502888 h 3377392"/>
              <a:gd name="connsiteX4" fmla="*/ 2379065 w 6106618"/>
              <a:gd name="connsiteY4" fmla="*/ 3377277 h 3377392"/>
              <a:gd name="connsiteX5" fmla="*/ 56 w 6106618"/>
              <a:gd name="connsiteY5" fmla="*/ 1620527 h 3377392"/>
              <a:gd name="connsiteX6" fmla="*/ 353204 w 6106618"/>
              <a:gd name="connsiteY6" fmla="*/ 432489 h 3377392"/>
              <a:gd name="connsiteX0" fmla="*/ 353202 w 6106616"/>
              <a:gd name="connsiteY0" fmla="*/ 432489 h 3377392"/>
              <a:gd name="connsiteX1" fmla="*/ 3278610 w 6106616"/>
              <a:gd name="connsiteY1" fmla="*/ 0 h 3377392"/>
              <a:gd name="connsiteX2" fmla="*/ 5766222 w 6106616"/>
              <a:gd name="connsiteY2" fmla="*/ 440703 h 3377392"/>
              <a:gd name="connsiteX3" fmla="*/ 6106611 w 6106616"/>
              <a:gd name="connsiteY3" fmla="*/ 2502888 h 3377392"/>
              <a:gd name="connsiteX4" fmla="*/ 2379063 w 6106616"/>
              <a:gd name="connsiteY4" fmla="*/ 3377277 h 3377392"/>
              <a:gd name="connsiteX5" fmla="*/ 54 w 6106616"/>
              <a:gd name="connsiteY5" fmla="*/ 1620527 h 3377392"/>
              <a:gd name="connsiteX6" fmla="*/ 353202 w 6106616"/>
              <a:gd name="connsiteY6" fmla="*/ 432489 h 3377392"/>
              <a:gd name="connsiteX0" fmla="*/ 353202 w 6106616"/>
              <a:gd name="connsiteY0" fmla="*/ 600917 h 3545820"/>
              <a:gd name="connsiteX1" fmla="*/ 2919417 w 6106616"/>
              <a:gd name="connsiteY1" fmla="*/ 0 h 3545820"/>
              <a:gd name="connsiteX2" fmla="*/ 5766222 w 6106616"/>
              <a:gd name="connsiteY2" fmla="*/ 609131 h 3545820"/>
              <a:gd name="connsiteX3" fmla="*/ 6106611 w 6106616"/>
              <a:gd name="connsiteY3" fmla="*/ 2671316 h 3545820"/>
              <a:gd name="connsiteX4" fmla="*/ 2379063 w 6106616"/>
              <a:gd name="connsiteY4" fmla="*/ 3545705 h 3545820"/>
              <a:gd name="connsiteX5" fmla="*/ 54 w 6106616"/>
              <a:gd name="connsiteY5" fmla="*/ 1788955 h 3545820"/>
              <a:gd name="connsiteX6" fmla="*/ 353202 w 6106616"/>
              <a:gd name="connsiteY6" fmla="*/ 600917 h 3545820"/>
              <a:gd name="connsiteX0" fmla="*/ 353202 w 6116436"/>
              <a:gd name="connsiteY0" fmla="*/ 600917 h 3545820"/>
              <a:gd name="connsiteX1" fmla="*/ 2919417 w 6116436"/>
              <a:gd name="connsiteY1" fmla="*/ 0 h 3545820"/>
              <a:gd name="connsiteX2" fmla="*/ 6116436 w 6116436"/>
              <a:gd name="connsiteY2" fmla="*/ 1143288 h 3545820"/>
              <a:gd name="connsiteX3" fmla="*/ 6106611 w 6116436"/>
              <a:gd name="connsiteY3" fmla="*/ 2671316 h 3545820"/>
              <a:gd name="connsiteX4" fmla="*/ 2379063 w 6116436"/>
              <a:gd name="connsiteY4" fmla="*/ 3545705 h 3545820"/>
              <a:gd name="connsiteX5" fmla="*/ 54 w 6116436"/>
              <a:gd name="connsiteY5" fmla="*/ 1788955 h 3545820"/>
              <a:gd name="connsiteX6" fmla="*/ 353202 w 6116436"/>
              <a:gd name="connsiteY6" fmla="*/ 600917 h 3545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16436" h="3545820">
                <a:moveTo>
                  <a:pt x="353202" y="600917"/>
                </a:moveTo>
                <a:lnTo>
                  <a:pt x="2919417" y="0"/>
                </a:lnTo>
                <a:lnTo>
                  <a:pt x="6116436" y="1143288"/>
                </a:lnTo>
                <a:cubicBezTo>
                  <a:pt x="6108251" y="1142508"/>
                  <a:pt x="6106831" y="2669771"/>
                  <a:pt x="6106611" y="2671316"/>
                </a:cubicBezTo>
                <a:cubicBezTo>
                  <a:pt x="6111990" y="2667830"/>
                  <a:pt x="2400060" y="3548398"/>
                  <a:pt x="2379063" y="3545705"/>
                </a:cubicBezTo>
                <a:cubicBezTo>
                  <a:pt x="2393986" y="3562261"/>
                  <a:pt x="-13141" y="1788418"/>
                  <a:pt x="54" y="1788955"/>
                </a:cubicBezTo>
                <a:cubicBezTo>
                  <a:pt x="11033" y="1789402"/>
                  <a:pt x="365205" y="598220"/>
                  <a:pt x="353202" y="600917"/>
                </a:cubicBezTo>
                <a:close/>
              </a:path>
            </a:pathLst>
          </a:custGeom>
          <a:ln w="50800">
            <a:noFill/>
          </a:ln>
        </p:spPr>
        <p:txBody>
          <a:bodyPr/>
          <a:lstStyle/>
          <a:p>
            <a:pPr marL="304778" marR="0" lvl="0" indent="-304778" algn="l" defTabSz="1219108" rtl="0" eaLnBrk="1" fontAlgn="auto" latinLnBrk="0" hangingPunct="1">
              <a:lnSpc>
                <a:spcPct val="90000"/>
              </a:lnSpc>
              <a:spcBef>
                <a:spcPts val="1333"/>
              </a:spcBef>
              <a:spcAft>
                <a:spcPts val="0"/>
              </a:spcAft>
              <a:buClrTx/>
              <a:buSzTx/>
              <a:buFont typeface="Arial" panose="020B0604020202020204" pitchFamily="34" charset="0"/>
              <a:buNone/>
              <a:tabLst/>
              <a:defRPr/>
            </a:pPr>
            <a:r>
              <a:rPr lang="en-US" noProof="0"/>
              <a:t>Picture</a:t>
            </a:r>
          </a:p>
        </p:txBody>
      </p:sp>
      <p:sp>
        <p:nvSpPr>
          <p:cNvPr id="8" name="Marcador de texto 6">
            <a:extLst>
              <a:ext uri="{FF2B5EF4-FFF2-40B4-BE49-F238E27FC236}">
                <a16:creationId xmlns:a16="http://schemas.microsoft.com/office/drawing/2014/main" id="{E3619F6B-15DF-68F7-04D6-126CB08E624B}"/>
              </a:ext>
            </a:extLst>
          </p:cNvPr>
          <p:cNvSpPr>
            <a:spLocks noGrp="1"/>
          </p:cNvSpPr>
          <p:nvPr>
            <p:ph type="body" sz="quarter" idx="19" hasCustomPrompt="1"/>
          </p:nvPr>
        </p:nvSpPr>
        <p:spPr>
          <a:xfrm>
            <a:off x="239184" y="6341105"/>
            <a:ext cx="960965" cy="310299"/>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3"/>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10" name="Marcador de texto 5">
            <a:extLst>
              <a:ext uri="{FF2B5EF4-FFF2-40B4-BE49-F238E27FC236}">
                <a16:creationId xmlns:a16="http://schemas.microsoft.com/office/drawing/2014/main" id="{96A8DA01-E316-D993-708C-AFC6B752A1FF}"/>
              </a:ext>
            </a:extLst>
          </p:cNvPr>
          <p:cNvSpPr>
            <a:spLocks noGrp="1"/>
          </p:cNvSpPr>
          <p:nvPr>
            <p:ph type="body" sz="quarter" idx="26" hasCustomPrompt="1"/>
          </p:nvPr>
        </p:nvSpPr>
        <p:spPr>
          <a:xfrm>
            <a:off x="4039281" y="6417750"/>
            <a:ext cx="4113439" cy="195084"/>
          </a:xfrm>
          <a:prstGeom prst="rect">
            <a:avLst/>
          </a:prstGeom>
        </p:spPr>
        <p:txBody>
          <a:bodyPr/>
          <a:lstStyle>
            <a:lvl1pPr marL="0" indent="0" algn="ctr">
              <a:buNone/>
              <a:defRPr sz="933">
                <a:solidFill>
                  <a:schemeClr val="accent1"/>
                </a:solidFill>
              </a:defRPr>
            </a:lvl1pPr>
          </a:lstStyle>
          <a:p>
            <a:r>
              <a:rPr lang="es-ES" err="1"/>
              <a:t>Lorem</a:t>
            </a:r>
            <a:r>
              <a:rPr lang="es-ES"/>
              <a:t> </a:t>
            </a:r>
            <a:r>
              <a:rPr lang="es-ES" err="1"/>
              <a:t>ipsum</a:t>
            </a:r>
            <a:r>
              <a:rPr lang="es-ES"/>
              <a:t> dolor </a:t>
            </a:r>
            <a:r>
              <a:rPr lang="es-ES" err="1"/>
              <a:t>sit</a:t>
            </a:r>
            <a:r>
              <a:rPr lang="es-ES"/>
              <a:t> </a:t>
            </a:r>
            <a:r>
              <a:rPr lang="es-ES" err="1"/>
              <a:t>amet</a:t>
            </a:r>
            <a:r>
              <a:rPr lang="es-ES"/>
              <a:t>.</a:t>
            </a:r>
          </a:p>
        </p:txBody>
      </p:sp>
      <p:sp>
        <p:nvSpPr>
          <p:cNvPr id="11" name="Slide Number Placeholder 5">
            <a:extLst>
              <a:ext uri="{FF2B5EF4-FFF2-40B4-BE49-F238E27FC236}">
                <a16:creationId xmlns:a16="http://schemas.microsoft.com/office/drawing/2014/main" id="{1A8893D1-114C-047B-F4D2-5E486AC9726D}"/>
              </a:ext>
            </a:extLst>
          </p:cNvPr>
          <p:cNvSpPr>
            <a:spLocks noGrp="1"/>
          </p:cNvSpPr>
          <p:nvPr>
            <p:ph type="sldNum" sz="quarter" idx="4"/>
          </p:nvPr>
        </p:nvSpPr>
        <p:spPr>
          <a:xfrm>
            <a:off x="10910403" y="6356351"/>
            <a:ext cx="1042415" cy="365125"/>
          </a:xfrm>
          <a:prstGeom prst="rect">
            <a:avLst/>
          </a:prstGeom>
        </p:spPr>
        <p:txBody>
          <a:bodyPr vert="horz" lIns="91440" tIns="45720" rIns="91440" bIns="45720" rtlCol="0" anchor="ctr"/>
          <a:lstStyle>
            <a:lvl1pPr algn="r">
              <a:defRPr sz="933">
                <a:solidFill>
                  <a:schemeClr val="accent1"/>
                </a:solidFill>
              </a:defRPr>
            </a:lvl1pPr>
          </a:lstStyle>
          <a:p>
            <a:fld id="{96F64DD7-E411-6141-89FE-121B5323FD5F}" type="slidenum">
              <a:rPr lang="en-US" smtClean="0"/>
              <a:pPr/>
              <a:t>‹Nº›</a:t>
            </a:fld>
            <a:endParaRPr lang="en-US"/>
          </a:p>
        </p:txBody>
      </p:sp>
    </p:spTree>
    <p:extLst>
      <p:ext uri="{BB962C8B-B14F-4D97-AF65-F5344CB8AC3E}">
        <p14:creationId xmlns:p14="http://schemas.microsoft.com/office/powerpoint/2010/main" val="1021091287"/>
      </p:ext>
    </p:extLst>
  </p:cSld>
  <p:clrMapOvr>
    <a:masterClrMapping/>
  </p:clrMapOvr>
  <p:extLst>
    <p:ext uri="{DCECCB84-F9BA-43D5-87BE-67443E8EF086}">
      <p15:sldGuideLst xmlns:p15="http://schemas.microsoft.com/office/powerpoint/2012/main">
        <p15:guide id="1" orient="horz" pos="2867">
          <p15:clr>
            <a:srgbClr val="FBAE40"/>
          </p15:clr>
        </p15:guide>
        <p15:guide id="2" pos="2880">
          <p15:clr>
            <a:srgbClr val="FBAE40"/>
          </p15:clr>
        </p15:guide>
        <p15:guide id="3" orient="horz" pos="35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 Image 2">
    <p:bg>
      <p:bgPr>
        <a:solidFill>
          <a:schemeClr val="bg1"/>
        </a:solidFill>
        <a:effectLst/>
      </p:bgPr>
    </p:bg>
    <p:spTree>
      <p:nvGrpSpPr>
        <p:cNvPr id="1" name=""/>
        <p:cNvGrpSpPr/>
        <p:nvPr/>
      </p:nvGrpSpPr>
      <p:grpSpPr>
        <a:xfrm>
          <a:off x="0" y="0"/>
          <a:ext cx="0" cy="0"/>
          <a:chOff x="0" y="0"/>
          <a:chExt cx="0" cy="0"/>
        </a:xfrm>
      </p:grpSpPr>
      <p:sp>
        <p:nvSpPr>
          <p:cNvPr id="3" name="Título 1">
            <a:extLst>
              <a:ext uri="{FF2B5EF4-FFF2-40B4-BE49-F238E27FC236}">
                <a16:creationId xmlns:a16="http://schemas.microsoft.com/office/drawing/2014/main" id="{6A7163C3-6C67-E27A-BD86-1F428AEE1090}"/>
              </a:ext>
            </a:extLst>
          </p:cNvPr>
          <p:cNvSpPr>
            <a:spLocks noGrp="1"/>
          </p:cNvSpPr>
          <p:nvPr>
            <p:ph type="title" hasCustomPrompt="1"/>
          </p:nvPr>
        </p:nvSpPr>
        <p:spPr>
          <a:xfrm>
            <a:off x="6527800" y="740834"/>
            <a:ext cx="4895851" cy="2599343"/>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4800" baseline="0">
                <a:solidFill>
                  <a:schemeClr val="accent2"/>
                </a:solidFill>
              </a:defRPr>
            </a:lvl1pPr>
          </a:lstStyle>
          <a:p>
            <a:r>
              <a:rPr lang="en-US" noProof="0"/>
              <a:t>Headline is Arial Reg.36pt.</a:t>
            </a:r>
            <a:br>
              <a:rPr lang="en-US" noProof="0"/>
            </a:br>
            <a:r>
              <a:rPr lang="en-US" noProof="0"/>
              <a:t>Lorem ipsum </a:t>
            </a:r>
            <a:br>
              <a:rPr lang="en-US" noProof="0"/>
            </a:br>
            <a:r>
              <a:rPr lang="en-US" noProof="0"/>
              <a:t>dolor sit </a:t>
            </a:r>
            <a:r>
              <a:rPr lang="en-US" noProof="0" err="1"/>
              <a:t>amet</a:t>
            </a:r>
            <a:r>
              <a:rPr lang="en-US" noProof="0"/>
              <a:t>.</a:t>
            </a:r>
          </a:p>
        </p:txBody>
      </p:sp>
      <p:sp>
        <p:nvSpPr>
          <p:cNvPr id="2" name="Marcador de texto 6">
            <a:extLst>
              <a:ext uri="{FF2B5EF4-FFF2-40B4-BE49-F238E27FC236}">
                <a16:creationId xmlns:a16="http://schemas.microsoft.com/office/drawing/2014/main" id="{F5607EC1-818C-BAD3-C94A-E0EBEE0267BB}"/>
              </a:ext>
            </a:extLst>
          </p:cNvPr>
          <p:cNvSpPr>
            <a:spLocks noGrp="1"/>
          </p:cNvSpPr>
          <p:nvPr>
            <p:ph type="body" sz="quarter" idx="25" hasCustomPrompt="1"/>
          </p:nvPr>
        </p:nvSpPr>
        <p:spPr>
          <a:xfrm>
            <a:off x="7856264" y="3349248"/>
            <a:ext cx="4335736" cy="3508752"/>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2"/>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7" name="Marcador de imagen 7">
            <a:extLst>
              <a:ext uri="{FF2B5EF4-FFF2-40B4-BE49-F238E27FC236}">
                <a16:creationId xmlns:a16="http://schemas.microsoft.com/office/drawing/2014/main" id="{1CB64C5B-97F4-0D5F-B624-BC1B6A3C66FA}"/>
              </a:ext>
            </a:extLst>
          </p:cNvPr>
          <p:cNvSpPr>
            <a:spLocks noGrp="1"/>
          </p:cNvSpPr>
          <p:nvPr>
            <p:ph type="pic" sz="quarter" idx="20" hasCustomPrompt="1"/>
          </p:nvPr>
        </p:nvSpPr>
        <p:spPr>
          <a:xfrm>
            <a:off x="753923" y="742060"/>
            <a:ext cx="4906589" cy="5315755"/>
          </a:xfrm>
          <a:custGeom>
            <a:avLst/>
            <a:gdLst>
              <a:gd name="connsiteX0" fmla="*/ 0 w 8411266"/>
              <a:gd name="connsiteY0" fmla="*/ 0 h 2915921"/>
              <a:gd name="connsiteX1" fmla="*/ 8411266 w 8411266"/>
              <a:gd name="connsiteY1" fmla="*/ 0 h 2915921"/>
              <a:gd name="connsiteX2" fmla="*/ 8411266 w 8411266"/>
              <a:gd name="connsiteY2" fmla="*/ 2915921 h 2915921"/>
              <a:gd name="connsiteX3" fmla="*/ 0 w 8411266"/>
              <a:gd name="connsiteY3" fmla="*/ 2915921 h 2915921"/>
              <a:gd name="connsiteX4" fmla="*/ 0 w 8411266"/>
              <a:gd name="connsiteY4" fmla="*/ 0 h 2915921"/>
              <a:gd name="connsiteX0" fmla="*/ 0 w 8411266"/>
              <a:gd name="connsiteY0" fmla="*/ 0 h 2915922"/>
              <a:gd name="connsiteX1" fmla="*/ 8411266 w 8411266"/>
              <a:gd name="connsiteY1" fmla="*/ 0 h 2915922"/>
              <a:gd name="connsiteX2" fmla="*/ 8411266 w 8411266"/>
              <a:gd name="connsiteY2" fmla="*/ 2915921 h 2915922"/>
              <a:gd name="connsiteX3" fmla="*/ 7668987 w 8411266"/>
              <a:gd name="connsiteY3" fmla="*/ 2915922 h 2915922"/>
              <a:gd name="connsiteX4" fmla="*/ 0 w 8411266"/>
              <a:gd name="connsiteY4" fmla="*/ 2915921 h 2915922"/>
              <a:gd name="connsiteX5" fmla="*/ 0 w 8411266"/>
              <a:gd name="connsiteY5" fmla="*/ 0 h 2915922"/>
              <a:gd name="connsiteX0" fmla="*/ 0 w 8411266"/>
              <a:gd name="connsiteY0" fmla="*/ 0 h 2915922"/>
              <a:gd name="connsiteX1" fmla="*/ 8411266 w 8411266"/>
              <a:gd name="connsiteY1" fmla="*/ 0 h 2915922"/>
              <a:gd name="connsiteX2" fmla="*/ 8405886 w 8411266"/>
              <a:gd name="connsiteY2" fmla="*/ 2238189 h 2915922"/>
              <a:gd name="connsiteX3" fmla="*/ 8411266 w 8411266"/>
              <a:gd name="connsiteY3" fmla="*/ 2915921 h 2915922"/>
              <a:gd name="connsiteX4" fmla="*/ 7668987 w 8411266"/>
              <a:gd name="connsiteY4" fmla="*/ 2915922 h 2915922"/>
              <a:gd name="connsiteX5" fmla="*/ 0 w 8411266"/>
              <a:gd name="connsiteY5" fmla="*/ 2915921 h 2915922"/>
              <a:gd name="connsiteX6" fmla="*/ 0 w 8411266"/>
              <a:gd name="connsiteY6" fmla="*/ 0 h 2915922"/>
              <a:gd name="connsiteX0" fmla="*/ 0 w 8411782"/>
              <a:gd name="connsiteY0" fmla="*/ 0 h 2915922"/>
              <a:gd name="connsiteX1" fmla="*/ 8411266 w 8411782"/>
              <a:gd name="connsiteY1" fmla="*/ 0 h 2915922"/>
              <a:gd name="connsiteX2" fmla="*/ 8411265 w 8411782"/>
              <a:gd name="connsiteY2" fmla="*/ 2211294 h 2915922"/>
              <a:gd name="connsiteX3" fmla="*/ 8411266 w 8411782"/>
              <a:gd name="connsiteY3" fmla="*/ 2915921 h 2915922"/>
              <a:gd name="connsiteX4" fmla="*/ 7668987 w 8411782"/>
              <a:gd name="connsiteY4" fmla="*/ 2915922 h 2915922"/>
              <a:gd name="connsiteX5" fmla="*/ 0 w 8411782"/>
              <a:gd name="connsiteY5" fmla="*/ 2915921 h 2915922"/>
              <a:gd name="connsiteX6" fmla="*/ 0 w 8411782"/>
              <a:gd name="connsiteY6" fmla="*/ 0 h 2915922"/>
              <a:gd name="connsiteX0" fmla="*/ 0 w 8519559"/>
              <a:gd name="connsiteY0" fmla="*/ 0 h 2915922"/>
              <a:gd name="connsiteX1" fmla="*/ 8411266 w 8519559"/>
              <a:gd name="connsiteY1" fmla="*/ 0 h 2915922"/>
              <a:gd name="connsiteX2" fmla="*/ 8411265 w 8519559"/>
              <a:gd name="connsiteY2" fmla="*/ 2211294 h 2915922"/>
              <a:gd name="connsiteX3" fmla="*/ 7668987 w 8519559"/>
              <a:gd name="connsiteY3" fmla="*/ 2915922 h 2915922"/>
              <a:gd name="connsiteX4" fmla="*/ 0 w 8519559"/>
              <a:gd name="connsiteY4" fmla="*/ 2915921 h 2915922"/>
              <a:gd name="connsiteX5" fmla="*/ 0 w 8519559"/>
              <a:gd name="connsiteY5" fmla="*/ 0 h 2915922"/>
              <a:gd name="connsiteX0" fmla="*/ 0 w 8568374"/>
              <a:gd name="connsiteY0" fmla="*/ 0 h 2915922"/>
              <a:gd name="connsiteX1" fmla="*/ 8411266 w 8568374"/>
              <a:gd name="connsiteY1" fmla="*/ 0 h 2915922"/>
              <a:gd name="connsiteX2" fmla="*/ 8411265 w 8568374"/>
              <a:gd name="connsiteY2" fmla="*/ 2211294 h 2915922"/>
              <a:gd name="connsiteX3" fmla="*/ 7668987 w 8568374"/>
              <a:gd name="connsiteY3" fmla="*/ 2915922 h 2915922"/>
              <a:gd name="connsiteX4" fmla="*/ 0 w 8568374"/>
              <a:gd name="connsiteY4" fmla="*/ 2915921 h 2915922"/>
              <a:gd name="connsiteX5" fmla="*/ 0 w 8568374"/>
              <a:gd name="connsiteY5" fmla="*/ 0 h 2915922"/>
              <a:gd name="connsiteX0" fmla="*/ 0 w 8411782"/>
              <a:gd name="connsiteY0" fmla="*/ 0 h 2915922"/>
              <a:gd name="connsiteX1" fmla="*/ 8411266 w 8411782"/>
              <a:gd name="connsiteY1" fmla="*/ 0 h 2915922"/>
              <a:gd name="connsiteX2" fmla="*/ 8411265 w 8411782"/>
              <a:gd name="connsiteY2" fmla="*/ 2211294 h 2915922"/>
              <a:gd name="connsiteX3" fmla="*/ 7668987 w 8411782"/>
              <a:gd name="connsiteY3" fmla="*/ 2915922 h 2915922"/>
              <a:gd name="connsiteX4" fmla="*/ 0 w 8411782"/>
              <a:gd name="connsiteY4" fmla="*/ 2915921 h 2915922"/>
              <a:gd name="connsiteX5" fmla="*/ 0 w 8411782"/>
              <a:gd name="connsiteY5" fmla="*/ 0 h 2915922"/>
              <a:gd name="connsiteX0" fmla="*/ 0 w 8418465"/>
              <a:gd name="connsiteY0" fmla="*/ 0 h 2915922"/>
              <a:gd name="connsiteX1" fmla="*/ 8411266 w 8418465"/>
              <a:gd name="connsiteY1" fmla="*/ 0 h 2915922"/>
              <a:gd name="connsiteX2" fmla="*/ 8418046 w 8418465"/>
              <a:gd name="connsiteY2" fmla="*/ 2519966 h 2915922"/>
              <a:gd name="connsiteX3" fmla="*/ 7668987 w 8418465"/>
              <a:gd name="connsiteY3" fmla="*/ 2915922 h 2915922"/>
              <a:gd name="connsiteX4" fmla="*/ 0 w 8418465"/>
              <a:gd name="connsiteY4" fmla="*/ 2915921 h 2915922"/>
              <a:gd name="connsiteX5" fmla="*/ 0 w 8418465"/>
              <a:gd name="connsiteY5" fmla="*/ 0 h 2915922"/>
              <a:gd name="connsiteX0" fmla="*/ 0 w 8425205"/>
              <a:gd name="connsiteY0" fmla="*/ 0 h 2915922"/>
              <a:gd name="connsiteX1" fmla="*/ 8411266 w 8425205"/>
              <a:gd name="connsiteY1" fmla="*/ 0 h 2915922"/>
              <a:gd name="connsiteX2" fmla="*/ 8424827 w 8425205"/>
              <a:gd name="connsiteY2" fmla="*/ 2522560 h 2915922"/>
              <a:gd name="connsiteX3" fmla="*/ 7668987 w 8425205"/>
              <a:gd name="connsiteY3" fmla="*/ 2915922 h 2915922"/>
              <a:gd name="connsiteX4" fmla="*/ 0 w 8425205"/>
              <a:gd name="connsiteY4" fmla="*/ 2915921 h 2915922"/>
              <a:gd name="connsiteX5" fmla="*/ 0 w 8425205"/>
              <a:gd name="connsiteY5" fmla="*/ 0 h 2915922"/>
              <a:gd name="connsiteX0" fmla="*/ 0 w 8411783"/>
              <a:gd name="connsiteY0" fmla="*/ 0 h 2915922"/>
              <a:gd name="connsiteX1" fmla="*/ 8411266 w 8411783"/>
              <a:gd name="connsiteY1" fmla="*/ 0 h 2915922"/>
              <a:gd name="connsiteX2" fmla="*/ 8411265 w 8411783"/>
              <a:gd name="connsiteY2" fmla="*/ 2506997 h 2915922"/>
              <a:gd name="connsiteX3" fmla="*/ 7668987 w 8411783"/>
              <a:gd name="connsiteY3" fmla="*/ 2915922 h 2915922"/>
              <a:gd name="connsiteX4" fmla="*/ 0 w 8411783"/>
              <a:gd name="connsiteY4" fmla="*/ 2915921 h 2915922"/>
              <a:gd name="connsiteX5" fmla="*/ 0 w 8411783"/>
              <a:gd name="connsiteY5" fmla="*/ 0 h 2915922"/>
              <a:gd name="connsiteX0" fmla="*/ 0 w 8411781"/>
              <a:gd name="connsiteY0" fmla="*/ 0 h 2918516"/>
              <a:gd name="connsiteX1" fmla="*/ 8411266 w 8411781"/>
              <a:gd name="connsiteY1" fmla="*/ 0 h 2918516"/>
              <a:gd name="connsiteX2" fmla="*/ 8411265 w 8411781"/>
              <a:gd name="connsiteY2" fmla="*/ 2506997 h 2918516"/>
              <a:gd name="connsiteX3" fmla="*/ 7431649 w 8411781"/>
              <a:gd name="connsiteY3" fmla="*/ 2918516 h 2918516"/>
              <a:gd name="connsiteX4" fmla="*/ 0 w 8411781"/>
              <a:gd name="connsiteY4" fmla="*/ 2915921 h 2918516"/>
              <a:gd name="connsiteX5" fmla="*/ 0 w 8411781"/>
              <a:gd name="connsiteY5" fmla="*/ 0 h 2918516"/>
              <a:gd name="connsiteX0" fmla="*/ 0 w 8411783"/>
              <a:gd name="connsiteY0" fmla="*/ 0 h 2921109"/>
              <a:gd name="connsiteX1" fmla="*/ 8411266 w 8411783"/>
              <a:gd name="connsiteY1" fmla="*/ 0 h 2921109"/>
              <a:gd name="connsiteX2" fmla="*/ 8411265 w 8411783"/>
              <a:gd name="connsiteY2" fmla="*/ 2506997 h 2921109"/>
              <a:gd name="connsiteX3" fmla="*/ 7431649 w 8411783"/>
              <a:gd name="connsiteY3" fmla="*/ 2918516 h 2921109"/>
              <a:gd name="connsiteX4" fmla="*/ 0 w 8411783"/>
              <a:gd name="connsiteY4" fmla="*/ 2921109 h 2921109"/>
              <a:gd name="connsiteX5" fmla="*/ 0 w 8411783"/>
              <a:gd name="connsiteY5" fmla="*/ 0 h 2921109"/>
              <a:gd name="connsiteX0" fmla="*/ 0 w 8412159"/>
              <a:gd name="connsiteY0" fmla="*/ 0 h 2921109"/>
              <a:gd name="connsiteX1" fmla="*/ 8411266 w 8412159"/>
              <a:gd name="connsiteY1" fmla="*/ 0 h 2921109"/>
              <a:gd name="connsiteX2" fmla="*/ 8411265 w 8412159"/>
              <a:gd name="connsiteY2" fmla="*/ 2506997 h 2921109"/>
              <a:gd name="connsiteX3" fmla="*/ 7431649 w 8412159"/>
              <a:gd name="connsiteY3" fmla="*/ 2918516 h 2921109"/>
              <a:gd name="connsiteX4" fmla="*/ 0 w 8412159"/>
              <a:gd name="connsiteY4" fmla="*/ 2921109 h 2921109"/>
              <a:gd name="connsiteX5" fmla="*/ 0 w 8412159"/>
              <a:gd name="connsiteY5" fmla="*/ 0 h 2921109"/>
              <a:gd name="connsiteX0" fmla="*/ 13562 w 8412159"/>
              <a:gd name="connsiteY0" fmla="*/ 0 h 2921109"/>
              <a:gd name="connsiteX1" fmla="*/ 8411266 w 8412159"/>
              <a:gd name="connsiteY1" fmla="*/ 0 h 2921109"/>
              <a:gd name="connsiteX2" fmla="*/ 8411265 w 8412159"/>
              <a:gd name="connsiteY2" fmla="*/ 2506997 h 2921109"/>
              <a:gd name="connsiteX3" fmla="*/ 7431649 w 8412159"/>
              <a:gd name="connsiteY3" fmla="*/ 2918516 h 2921109"/>
              <a:gd name="connsiteX4" fmla="*/ 0 w 8412159"/>
              <a:gd name="connsiteY4" fmla="*/ 2921109 h 2921109"/>
              <a:gd name="connsiteX5" fmla="*/ 13562 w 8412159"/>
              <a:gd name="connsiteY5" fmla="*/ 0 h 2921109"/>
              <a:gd name="connsiteX0" fmla="*/ 13562 w 8415929"/>
              <a:gd name="connsiteY0" fmla="*/ 0 h 2922720"/>
              <a:gd name="connsiteX1" fmla="*/ 8411266 w 8415929"/>
              <a:gd name="connsiteY1" fmla="*/ 0 h 2922720"/>
              <a:gd name="connsiteX2" fmla="*/ 8411265 w 8415929"/>
              <a:gd name="connsiteY2" fmla="*/ 2506997 h 2922720"/>
              <a:gd name="connsiteX3" fmla="*/ 7514079 w 8415929"/>
              <a:gd name="connsiteY3" fmla="*/ 2922720 h 2922720"/>
              <a:gd name="connsiteX4" fmla="*/ 0 w 8415929"/>
              <a:gd name="connsiteY4" fmla="*/ 2921109 h 2922720"/>
              <a:gd name="connsiteX5" fmla="*/ 13562 w 8415929"/>
              <a:gd name="connsiteY5" fmla="*/ 0 h 2922720"/>
              <a:gd name="connsiteX0" fmla="*/ 13562 w 8415929"/>
              <a:gd name="connsiteY0" fmla="*/ 0 h 2922720"/>
              <a:gd name="connsiteX1" fmla="*/ 8411266 w 8415929"/>
              <a:gd name="connsiteY1" fmla="*/ 0 h 2922720"/>
              <a:gd name="connsiteX2" fmla="*/ 8411265 w 8415929"/>
              <a:gd name="connsiteY2" fmla="*/ 2481772 h 2922720"/>
              <a:gd name="connsiteX3" fmla="*/ 7514079 w 8415929"/>
              <a:gd name="connsiteY3" fmla="*/ 2922720 h 2922720"/>
              <a:gd name="connsiteX4" fmla="*/ 0 w 8415929"/>
              <a:gd name="connsiteY4" fmla="*/ 2921109 h 2922720"/>
              <a:gd name="connsiteX5" fmla="*/ 13562 w 8415929"/>
              <a:gd name="connsiteY5" fmla="*/ 0 h 2922720"/>
              <a:gd name="connsiteX0" fmla="*/ 13562 w 8414282"/>
              <a:gd name="connsiteY0" fmla="*/ 0 h 2922720"/>
              <a:gd name="connsiteX1" fmla="*/ 8411266 w 8414282"/>
              <a:gd name="connsiteY1" fmla="*/ 0 h 2922720"/>
              <a:gd name="connsiteX2" fmla="*/ 8411265 w 8414282"/>
              <a:gd name="connsiteY2" fmla="*/ 2481772 h 2922720"/>
              <a:gd name="connsiteX3" fmla="*/ 7514079 w 8414282"/>
              <a:gd name="connsiteY3" fmla="*/ 2922720 h 2922720"/>
              <a:gd name="connsiteX4" fmla="*/ 0 w 8414282"/>
              <a:gd name="connsiteY4" fmla="*/ 2921109 h 2922720"/>
              <a:gd name="connsiteX5" fmla="*/ 13562 w 8414282"/>
              <a:gd name="connsiteY5" fmla="*/ 0 h 2922720"/>
              <a:gd name="connsiteX0" fmla="*/ 13562 w 8418988"/>
              <a:gd name="connsiteY0" fmla="*/ 0 h 2926924"/>
              <a:gd name="connsiteX1" fmla="*/ 8411266 w 8418988"/>
              <a:gd name="connsiteY1" fmla="*/ 0 h 2926924"/>
              <a:gd name="connsiteX2" fmla="*/ 8411265 w 8418988"/>
              <a:gd name="connsiteY2" fmla="*/ 2481772 h 2926924"/>
              <a:gd name="connsiteX3" fmla="*/ 7567541 w 8418988"/>
              <a:gd name="connsiteY3" fmla="*/ 2926924 h 2926924"/>
              <a:gd name="connsiteX4" fmla="*/ 0 w 8418988"/>
              <a:gd name="connsiteY4" fmla="*/ 2921109 h 2926924"/>
              <a:gd name="connsiteX5" fmla="*/ 13562 w 8418988"/>
              <a:gd name="connsiteY5" fmla="*/ 0 h 2926924"/>
              <a:gd name="connsiteX0" fmla="*/ 13562 w 8411933"/>
              <a:gd name="connsiteY0" fmla="*/ 0 h 2926924"/>
              <a:gd name="connsiteX1" fmla="*/ 8411266 w 8411933"/>
              <a:gd name="connsiteY1" fmla="*/ 0 h 2926924"/>
              <a:gd name="connsiteX2" fmla="*/ 8411265 w 8411933"/>
              <a:gd name="connsiteY2" fmla="*/ 2481772 h 2926924"/>
              <a:gd name="connsiteX3" fmla="*/ 7567541 w 8411933"/>
              <a:gd name="connsiteY3" fmla="*/ 2926924 h 2926924"/>
              <a:gd name="connsiteX4" fmla="*/ 0 w 8411933"/>
              <a:gd name="connsiteY4" fmla="*/ 2921109 h 2926924"/>
              <a:gd name="connsiteX5" fmla="*/ 13562 w 8411933"/>
              <a:gd name="connsiteY5" fmla="*/ 0 h 2926924"/>
              <a:gd name="connsiteX0" fmla="*/ 2313266 w 8411933"/>
              <a:gd name="connsiteY0" fmla="*/ 0 h 3278300"/>
              <a:gd name="connsiteX1" fmla="*/ 8411266 w 8411933"/>
              <a:gd name="connsiteY1" fmla="*/ 351376 h 3278300"/>
              <a:gd name="connsiteX2" fmla="*/ 8411265 w 8411933"/>
              <a:gd name="connsiteY2" fmla="*/ 2833148 h 3278300"/>
              <a:gd name="connsiteX3" fmla="*/ 7567541 w 8411933"/>
              <a:gd name="connsiteY3" fmla="*/ 3278300 h 3278300"/>
              <a:gd name="connsiteX4" fmla="*/ 0 w 8411933"/>
              <a:gd name="connsiteY4" fmla="*/ 3272485 h 3278300"/>
              <a:gd name="connsiteX5" fmla="*/ 2313266 w 8411933"/>
              <a:gd name="connsiteY5" fmla="*/ 0 h 3278300"/>
              <a:gd name="connsiteX0" fmla="*/ 1267 w 6099934"/>
              <a:gd name="connsiteY0" fmla="*/ 0 h 3278300"/>
              <a:gd name="connsiteX1" fmla="*/ 6099267 w 6099934"/>
              <a:gd name="connsiteY1" fmla="*/ 351376 h 3278300"/>
              <a:gd name="connsiteX2" fmla="*/ 6099266 w 6099934"/>
              <a:gd name="connsiteY2" fmla="*/ 2833148 h 3278300"/>
              <a:gd name="connsiteX3" fmla="*/ 5255542 w 6099934"/>
              <a:gd name="connsiteY3" fmla="*/ 3278300 h 3278300"/>
              <a:gd name="connsiteX4" fmla="*/ 1602 w 6099934"/>
              <a:gd name="connsiteY4" fmla="*/ 3276184 h 3278300"/>
              <a:gd name="connsiteX5" fmla="*/ 1267 w 6099934"/>
              <a:gd name="connsiteY5" fmla="*/ 0 h 3278300"/>
              <a:gd name="connsiteX0" fmla="*/ 1267 w 6099934"/>
              <a:gd name="connsiteY0" fmla="*/ 0 h 3278300"/>
              <a:gd name="connsiteX1" fmla="*/ 6099267 w 6099934"/>
              <a:gd name="connsiteY1" fmla="*/ 3698 h 3278300"/>
              <a:gd name="connsiteX2" fmla="*/ 6099266 w 6099934"/>
              <a:gd name="connsiteY2" fmla="*/ 2833148 h 3278300"/>
              <a:gd name="connsiteX3" fmla="*/ 5255542 w 6099934"/>
              <a:gd name="connsiteY3" fmla="*/ 3278300 h 3278300"/>
              <a:gd name="connsiteX4" fmla="*/ 1602 w 6099934"/>
              <a:gd name="connsiteY4" fmla="*/ 3276184 h 3278300"/>
              <a:gd name="connsiteX5" fmla="*/ 1267 w 6099934"/>
              <a:gd name="connsiteY5" fmla="*/ 0 h 3278300"/>
              <a:gd name="connsiteX0" fmla="*/ -1 w 6098666"/>
              <a:gd name="connsiteY0" fmla="*/ 0 h 3278300"/>
              <a:gd name="connsiteX1" fmla="*/ 6097999 w 6098666"/>
              <a:gd name="connsiteY1" fmla="*/ 3698 h 3278300"/>
              <a:gd name="connsiteX2" fmla="*/ 6097998 w 6098666"/>
              <a:gd name="connsiteY2" fmla="*/ 2833148 h 3278300"/>
              <a:gd name="connsiteX3" fmla="*/ 5254274 w 6098666"/>
              <a:gd name="connsiteY3" fmla="*/ 3278300 h 3278300"/>
              <a:gd name="connsiteX4" fmla="*/ 334 w 6098666"/>
              <a:gd name="connsiteY4" fmla="*/ 3276184 h 3278300"/>
              <a:gd name="connsiteX5" fmla="*/ -1 w 6098666"/>
              <a:gd name="connsiteY5" fmla="*/ 0 h 3278300"/>
              <a:gd name="connsiteX0" fmla="*/ 1 w 6098668"/>
              <a:gd name="connsiteY0" fmla="*/ 0 h 3278300"/>
              <a:gd name="connsiteX1" fmla="*/ 6098001 w 6098668"/>
              <a:gd name="connsiteY1" fmla="*/ 3698 h 3278300"/>
              <a:gd name="connsiteX2" fmla="*/ 6098000 w 6098668"/>
              <a:gd name="connsiteY2" fmla="*/ 2833148 h 3278300"/>
              <a:gd name="connsiteX3" fmla="*/ 5254276 w 6098668"/>
              <a:gd name="connsiteY3" fmla="*/ 3278300 h 3278300"/>
              <a:gd name="connsiteX4" fmla="*/ 336 w 6098668"/>
              <a:gd name="connsiteY4" fmla="*/ 3276184 h 3278300"/>
              <a:gd name="connsiteX5" fmla="*/ 1 w 6098668"/>
              <a:gd name="connsiteY5" fmla="*/ 0 h 3278300"/>
              <a:gd name="connsiteX0" fmla="*/ -1 w 6098666"/>
              <a:gd name="connsiteY0" fmla="*/ 0 h 3278300"/>
              <a:gd name="connsiteX1" fmla="*/ 6097999 w 6098666"/>
              <a:gd name="connsiteY1" fmla="*/ 3698 h 3278300"/>
              <a:gd name="connsiteX2" fmla="*/ 6097998 w 6098666"/>
              <a:gd name="connsiteY2" fmla="*/ 2833148 h 3278300"/>
              <a:gd name="connsiteX3" fmla="*/ 5254274 w 6098666"/>
              <a:gd name="connsiteY3" fmla="*/ 3278300 h 3278300"/>
              <a:gd name="connsiteX4" fmla="*/ 334 w 6098666"/>
              <a:gd name="connsiteY4" fmla="*/ 3276184 h 3278300"/>
              <a:gd name="connsiteX5" fmla="*/ -1 w 6098666"/>
              <a:gd name="connsiteY5" fmla="*/ 0 h 3278300"/>
              <a:gd name="connsiteX0" fmla="*/ 1 w 6098796"/>
              <a:gd name="connsiteY0" fmla="*/ 0 h 3278300"/>
              <a:gd name="connsiteX1" fmla="*/ 6098001 w 6098796"/>
              <a:gd name="connsiteY1" fmla="*/ 3698 h 3278300"/>
              <a:gd name="connsiteX2" fmla="*/ 6098000 w 6098796"/>
              <a:gd name="connsiteY2" fmla="*/ 2833148 h 3278300"/>
              <a:gd name="connsiteX3" fmla="*/ 5254276 w 6098796"/>
              <a:gd name="connsiteY3" fmla="*/ 3278300 h 3278300"/>
              <a:gd name="connsiteX4" fmla="*/ 336 w 6098796"/>
              <a:gd name="connsiteY4" fmla="*/ 3276184 h 3278300"/>
              <a:gd name="connsiteX5" fmla="*/ 1 w 6098796"/>
              <a:gd name="connsiteY5" fmla="*/ 0 h 3278300"/>
              <a:gd name="connsiteX0" fmla="*/ -1 w 6098794"/>
              <a:gd name="connsiteY0" fmla="*/ 0 h 3276184"/>
              <a:gd name="connsiteX1" fmla="*/ 6097999 w 6098794"/>
              <a:gd name="connsiteY1" fmla="*/ 3698 h 3276184"/>
              <a:gd name="connsiteX2" fmla="*/ 6097998 w 6098794"/>
              <a:gd name="connsiteY2" fmla="*/ 2833148 h 3276184"/>
              <a:gd name="connsiteX3" fmla="*/ 3259278 w 6098794"/>
              <a:gd name="connsiteY3" fmla="*/ 3273473 h 3276184"/>
              <a:gd name="connsiteX4" fmla="*/ 334 w 6098794"/>
              <a:gd name="connsiteY4" fmla="*/ 3276184 h 3276184"/>
              <a:gd name="connsiteX5" fmla="*/ -1 w 6098794"/>
              <a:gd name="connsiteY5" fmla="*/ 0 h 3276184"/>
              <a:gd name="connsiteX0" fmla="*/ 1 w 6098000"/>
              <a:gd name="connsiteY0" fmla="*/ 0 h 3276184"/>
              <a:gd name="connsiteX1" fmla="*/ 6098001 w 6098000"/>
              <a:gd name="connsiteY1" fmla="*/ 3698 h 3276184"/>
              <a:gd name="connsiteX2" fmla="*/ 6079864 w 6098000"/>
              <a:gd name="connsiteY2" fmla="*/ 2529014 h 3276184"/>
              <a:gd name="connsiteX3" fmla="*/ 3259280 w 6098000"/>
              <a:gd name="connsiteY3" fmla="*/ 3273473 h 3276184"/>
              <a:gd name="connsiteX4" fmla="*/ 336 w 6098000"/>
              <a:gd name="connsiteY4" fmla="*/ 3276184 h 3276184"/>
              <a:gd name="connsiteX5" fmla="*/ 1 w 6098000"/>
              <a:gd name="connsiteY5" fmla="*/ 0 h 3276184"/>
              <a:gd name="connsiteX0" fmla="*/ 8737 w 6106737"/>
              <a:gd name="connsiteY0" fmla="*/ 0 h 3273473"/>
              <a:gd name="connsiteX1" fmla="*/ 6106737 w 6106737"/>
              <a:gd name="connsiteY1" fmla="*/ 3698 h 3273473"/>
              <a:gd name="connsiteX2" fmla="*/ 6088600 w 6106737"/>
              <a:gd name="connsiteY2" fmla="*/ 2529014 h 3273473"/>
              <a:gd name="connsiteX3" fmla="*/ 3268016 w 6106737"/>
              <a:gd name="connsiteY3" fmla="*/ 3273473 h 3273473"/>
              <a:gd name="connsiteX4" fmla="*/ 3 w 6106737"/>
              <a:gd name="connsiteY4" fmla="*/ 2329989 h 3273473"/>
              <a:gd name="connsiteX5" fmla="*/ 8737 w 6106737"/>
              <a:gd name="connsiteY5" fmla="*/ 0 h 3273473"/>
              <a:gd name="connsiteX0" fmla="*/ 335189 w 6106735"/>
              <a:gd name="connsiteY0" fmla="*/ 454917 h 3269775"/>
              <a:gd name="connsiteX1" fmla="*/ 6106735 w 6106735"/>
              <a:gd name="connsiteY1" fmla="*/ 0 h 3269775"/>
              <a:gd name="connsiteX2" fmla="*/ 6088598 w 6106735"/>
              <a:gd name="connsiteY2" fmla="*/ 2525316 h 3269775"/>
              <a:gd name="connsiteX3" fmla="*/ 3268014 w 6106735"/>
              <a:gd name="connsiteY3" fmla="*/ 3269775 h 3269775"/>
              <a:gd name="connsiteX4" fmla="*/ 1 w 6106735"/>
              <a:gd name="connsiteY4" fmla="*/ 2326291 h 3269775"/>
              <a:gd name="connsiteX5" fmla="*/ 335189 w 6106735"/>
              <a:gd name="connsiteY5" fmla="*/ 454917 h 3269775"/>
              <a:gd name="connsiteX0" fmla="*/ 335189 w 6106735"/>
              <a:gd name="connsiteY0" fmla="*/ 454917 h 3269775"/>
              <a:gd name="connsiteX1" fmla="*/ 3432891 w 6106735"/>
              <a:gd name="connsiteY1" fmla="*/ 205873 h 3269775"/>
              <a:gd name="connsiteX2" fmla="*/ 6106735 w 6106735"/>
              <a:gd name="connsiteY2" fmla="*/ 0 h 3269775"/>
              <a:gd name="connsiteX3" fmla="*/ 6088598 w 6106735"/>
              <a:gd name="connsiteY3" fmla="*/ 2525316 h 3269775"/>
              <a:gd name="connsiteX4" fmla="*/ 3268014 w 6106735"/>
              <a:gd name="connsiteY4" fmla="*/ 3269775 h 3269775"/>
              <a:gd name="connsiteX5" fmla="*/ 1 w 6106735"/>
              <a:gd name="connsiteY5" fmla="*/ 2326291 h 3269775"/>
              <a:gd name="connsiteX6" fmla="*/ 335189 w 6106735"/>
              <a:gd name="connsiteY6" fmla="*/ 454917 h 3269775"/>
              <a:gd name="connsiteX0" fmla="*/ 335189 w 6106735"/>
              <a:gd name="connsiteY0" fmla="*/ 454917 h 3269775"/>
              <a:gd name="connsiteX1" fmla="*/ 3260597 w 6106735"/>
              <a:gd name="connsiteY1" fmla="*/ 22428 h 3269775"/>
              <a:gd name="connsiteX2" fmla="*/ 6106735 w 6106735"/>
              <a:gd name="connsiteY2" fmla="*/ 0 h 3269775"/>
              <a:gd name="connsiteX3" fmla="*/ 6088598 w 6106735"/>
              <a:gd name="connsiteY3" fmla="*/ 2525316 h 3269775"/>
              <a:gd name="connsiteX4" fmla="*/ 3268014 w 6106735"/>
              <a:gd name="connsiteY4" fmla="*/ 3269775 h 3269775"/>
              <a:gd name="connsiteX5" fmla="*/ 1 w 6106735"/>
              <a:gd name="connsiteY5" fmla="*/ 2326291 h 3269775"/>
              <a:gd name="connsiteX6" fmla="*/ 335189 w 6106735"/>
              <a:gd name="connsiteY6" fmla="*/ 454917 h 3269775"/>
              <a:gd name="connsiteX0" fmla="*/ 335189 w 6124871"/>
              <a:gd name="connsiteY0" fmla="*/ 432489 h 3247347"/>
              <a:gd name="connsiteX1" fmla="*/ 3260597 w 6124871"/>
              <a:gd name="connsiteY1" fmla="*/ 0 h 3247347"/>
              <a:gd name="connsiteX2" fmla="*/ 6124871 w 6124871"/>
              <a:gd name="connsiteY2" fmla="*/ 281705 h 3247347"/>
              <a:gd name="connsiteX3" fmla="*/ 6088598 w 6124871"/>
              <a:gd name="connsiteY3" fmla="*/ 2502888 h 3247347"/>
              <a:gd name="connsiteX4" fmla="*/ 3268014 w 6124871"/>
              <a:gd name="connsiteY4" fmla="*/ 3247347 h 3247347"/>
              <a:gd name="connsiteX5" fmla="*/ 1 w 6124871"/>
              <a:gd name="connsiteY5" fmla="*/ 2303863 h 3247347"/>
              <a:gd name="connsiteX6" fmla="*/ 335189 w 6124871"/>
              <a:gd name="connsiteY6" fmla="*/ 432489 h 3247347"/>
              <a:gd name="connsiteX0" fmla="*/ 618041 w 6407723"/>
              <a:gd name="connsiteY0" fmla="*/ 432489 h 3247347"/>
              <a:gd name="connsiteX1" fmla="*/ 3543449 w 6407723"/>
              <a:gd name="connsiteY1" fmla="*/ 0 h 3247347"/>
              <a:gd name="connsiteX2" fmla="*/ 6407723 w 6407723"/>
              <a:gd name="connsiteY2" fmla="*/ 281705 h 3247347"/>
              <a:gd name="connsiteX3" fmla="*/ 6371450 w 6407723"/>
              <a:gd name="connsiteY3" fmla="*/ 2502888 h 3247347"/>
              <a:gd name="connsiteX4" fmla="*/ 3550866 w 6407723"/>
              <a:gd name="connsiteY4" fmla="*/ 3247347 h 3247347"/>
              <a:gd name="connsiteX5" fmla="*/ 282853 w 6407723"/>
              <a:gd name="connsiteY5" fmla="*/ 2303863 h 3247347"/>
              <a:gd name="connsiteX6" fmla="*/ 618041 w 6407723"/>
              <a:gd name="connsiteY6" fmla="*/ 432489 h 3247347"/>
              <a:gd name="connsiteX0" fmla="*/ 512943 w 6302625"/>
              <a:gd name="connsiteY0" fmla="*/ 432489 h 3247347"/>
              <a:gd name="connsiteX1" fmla="*/ 3438351 w 6302625"/>
              <a:gd name="connsiteY1" fmla="*/ 0 h 3247347"/>
              <a:gd name="connsiteX2" fmla="*/ 6302625 w 6302625"/>
              <a:gd name="connsiteY2" fmla="*/ 281705 h 3247347"/>
              <a:gd name="connsiteX3" fmla="*/ 6266352 w 6302625"/>
              <a:gd name="connsiteY3" fmla="*/ 2502888 h 3247347"/>
              <a:gd name="connsiteX4" fmla="*/ 3445768 w 6302625"/>
              <a:gd name="connsiteY4" fmla="*/ 3247347 h 3247347"/>
              <a:gd name="connsiteX5" fmla="*/ 177755 w 6302625"/>
              <a:gd name="connsiteY5" fmla="*/ 2303863 h 3247347"/>
              <a:gd name="connsiteX6" fmla="*/ 512943 w 6302625"/>
              <a:gd name="connsiteY6" fmla="*/ 432489 h 3247347"/>
              <a:gd name="connsiteX0" fmla="*/ 512943 w 6302625"/>
              <a:gd name="connsiteY0" fmla="*/ 432489 h 3283326"/>
              <a:gd name="connsiteX1" fmla="*/ 3438351 w 6302625"/>
              <a:gd name="connsiteY1" fmla="*/ 0 h 3283326"/>
              <a:gd name="connsiteX2" fmla="*/ 6302625 w 6302625"/>
              <a:gd name="connsiteY2" fmla="*/ 281705 h 3283326"/>
              <a:gd name="connsiteX3" fmla="*/ 6266352 w 6302625"/>
              <a:gd name="connsiteY3" fmla="*/ 2502888 h 3283326"/>
              <a:gd name="connsiteX4" fmla="*/ 3445768 w 6302625"/>
              <a:gd name="connsiteY4" fmla="*/ 3247347 h 3283326"/>
              <a:gd name="connsiteX5" fmla="*/ 177755 w 6302625"/>
              <a:gd name="connsiteY5" fmla="*/ 2303863 h 3283326"/>
              <a:gd name="connsiteX6" fmla="*/ 512943 w 6302625"/>
              <a:gd name="connsiteY6" fmla="*/ 432489 h 3283326"/>
              <a:gd name="connsiteX0" fmla="*/ 512943 w 6302625"/>
              <a:gd name="connsiteY0" fmla="*/ 432489 h 3283326"/>
              <a:gd name="connsiteX1" fmla="*/ 3438351 w 6302625"/>
              <a:gd name="connsiteY1" fmla="*/ 0 h 3283326"/>
              <a:gd name="connsiteX2" fmla="*/ 6302625 w 6302625"/>
              <a:gd name="connsiteY2" fmla="*/ 281705 h 3283326"/>
              <a:gd name="connsiteX3" fmla="*/ 6266352 w 6302625"/>
              <a:gd name="connsiteY3" fmla="*/ 2502888 h 3283326"/>
              <a:gd name="connsiteX4" fmla="*/ 3445768 w 6302625"/>
              <a:gd name="connsiteY4" fmla="*/ 3247347 h 3283326"/>
              <a:gd name="connsiteX5" fmla="*/ 177755 w 6302625"/>
              <a:gd name="connsiteY5" fmla="*/ 2303863 h 3283326"/>
              <a:gd name="connsiteX6" fmla="*/ 512943 w 6302625"/>
              <a:gd name="connsiteY6" fmla="*/ 432489 h 3283326"/>
              <a:gd name="connsiteX0" fmla="*/ 512943 w 6424948"/>
              <a:gd name="connsiteY0" fmla="*/ 432489 h 3283326"/>
              <a:gd name="connsiteX1" fmla="*/ 3438351 w 6424948"/>
              <a:gd name="connsiteY1" fmla="*/ 0 h 3283326"/>
              <a:gd name="connsiteX2" fmla="*/ 6302625 w 6424948"/>
              <a:gd name="connsiteY2" fmla="*/ 281705 h 3283326"/>
              <a:gd name="connsiteX3" fmla="*/ 6266352 w 6424948"/>
              <a:gd name="connsiteY3" fmla="*/ 2502888 h 3283326"/>
              <a:gd name="connsiteX4" fmla="*/ 3445768 w 6424948"/>
              <a:gd name="connsiteY4" fmla="*/ 3247347 h 3283326"/>
              <a:gd name="connsiteX5" fmla="*/ 177755 w 6424948"/>
              <a:gd name="connsiteY5" fmla="*/ 2303863 h 3283326"/>
              <a:gd name="connsiteX6" fmla="*/ 512943 w 642494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47782"/>
              <a:gd name="connsiteX1" fmla="*/ 3438351 w 6506888"/>
              <a:gd name="connsiteY1" fmla="*/ 0 h 3247782"/>
              <a:gd name="connsiteX2" fmla="*/ 6302625 w 6506888"/>
              <a:gd name="connsiteY2" fmla="*/ 281705 h 3247782"/>
              <a:gd name="connsiteX3" fmla="*/ 6266352 w 6506888"/>
              <a:gd name="connsiteY3" fmla="*/ 2502888 h 3247782"/>
              <a:gd name="connsiteX4" fmla="*/ 3445768 w 6506888"/>
              <a:gd name="connsiteY4" fmla="*/ 3247347 h 3247782"/>
              <a:gd name="connsiteX5" fmla="*/ 177755 w 6506888"/>
              <a:gd name="connsiteY5" fmla="*/ 2303863 h 3247782"/>
              <a:gd name="connsiteX6" fmla="*/ 512943 w 6506888"/>
              <a:gd name="connsiteY6" fmla="*/ 432489 h 3247782"/>
              <a:gd name="connsiteX0" fmla="*/ 512943 w 6640245"/>
              <a:gd name="connsiteY0" fmla="*/ 464431 h 3279724"/>
              <a:gd name="connsiteX1" fmla="*/ 3438351 w 6640245"/>
              <a:gd name="connsiteY1" fmla="*/ 31942 h 3279724"/>
              <a:gd name="connsiteX2" fmla="*/ 6302625 w 6640245"/>
              <a:gd name="connsiteY2" fmla="*/ 313647 h 3279724"/>
              <a:gd name="connsiteX3" fmla="*/ 6266352 w 6640245"/>
              <a:gd name="connsiteY3" fmla="*/ 2534830 h 3279724"/>
              <a:gd name="connsiteX4" fmla="*/ 3445768 w 6640245"/>
              <a:gd name="connsiteY4" fmla="*/ 3279289 h 3279724"/>
              <a:gd name="connsiteX5" fmla="*/ 177755 w 6640245"/>
              <a:gd name="connsiteY5" fmla="*/ 2335805 h 3279724"/>
              <a:gd name="connsiteX6" fmla="*/ 512943 w 6640245"/>
              <a:gd name="connsiteY6" fmla="*/ 464431 h 3279724"/>
              <a:gd name="connsiteX0" fmla="*/ 512943 w 6640245"/>
              <a:gd name="connsiteY0" fmla="*/ 435033 h 3250326"/>
              <a:gd name="connsiteX1" fmla="*/ 3438351 w 6640245"/>
              <a:gd name="connsiteY1" fmla="*/ 2544 h 3250326"/>
              <a:gd name="connsiteX2" fmla="*/ 6302625 w 6640245"/>
              <a:gd name="connsiteY2" fmla="*/ 284249 h 3250326"/>
              <a:gd name="connsiteX3" fmla="*/ 6266352 w 6640245"/>
              <a:gd name="connsiteY3" fmla="*/ 2505432 h 3250326"/>
              <a:gd name="connsiteX4" fmla="*/ 3445768 w 6640245"/>
              <a:gd name="connsiteY4" fmla="*/ 3249891 h 3250326"/>
              <a:gd name="connsiteX5" fmla="*/ 177755 w 6640245"/>
              <a:gd name="connsiteY5" fmla="*/ 2306407 h 3250326"/>
              <a:gd name="connsiteX6" fmla="*/ 512943 w 6640245"/>
              <a:gd name="connsiteY6" fmla="*/ 435033 h 3250326"/>
              <a:gd name="connsiteX0" fmla="*/ 512943 w 6481361"/>
              <a:gd name="connsiteY0" fmla="*/ 435033 h 3250326"/>
              <a:gd name="connsiteX1" fmla="*/ 3438351 w 6481361"/>
              <a:gd name="connsiteY1" fmla="*/ 2544 h 3250326"/>
              <a:gd name="connsiteX2" fmla="*/ 6302625 w 6481361"/>
              <a:gd name="connsiteY2" fmla="*/ 284249 h 3250326"/>
              <a:gd name="connsiteX3" fmla="*/ 6266352 w 6481361"/>
              <a:gd name="connsiteY3" fmla="*/ 2505432 h 3250326"/>
              <a:gd name="connsiteX4" fmla="*/ 3445768 w 6481361"/>
              <a:gd name="connsiteY4" fmla="*/ 3249891 h 3250326"/>
              <a:gd name="connsiteX5" fmla="*/ 177755 w 6481361"/>
              <a:gd name="connsiteY5" fmla="*/ 2306407 h 3250326"/>
              <a:gd name="connsiteX6" fmla="*/ 512943 w 6481361"/>
              <a:gd name="connsiteY6" fmla="*/ 435033 h 3250326"/>
              <a:gd name="connsiteX0" fmla="*/ 512943 w 6481363"/>
              <a:gd name="connsiteY0" fmla="*/ 435033 h 3250326"/>
              <a:gd name="connsiteX1" fmla="*/ 3438351 w 6481363"/>
              <a:gd name="connsiteY1" fmla="*/ 2544 h 3250326"/>
              <a:gd name="connsiteX2" fmla="*/ 6302625 w 6481363"/>
              <a:gd name="connsiteY2" fmla="*/ 284249 h 3250326"/>
              <a:gd name="connsiteX3" fmla="*/ 6266352 w 6481363"/>
              <a:gd name="connsiteY3" fmla="*/ 2505432 h 3250326"/>
              <a:gd name="connsiteX4" fmla="*/ 3445768 w 6481363"/>
              <a:gd name="connsiteY4" fmla="*/ 3249891 h 3250326"/>
              <a:gd name="connsiteX5" fmla="*/ 177755 w 6481363"/>
              <a:gd name="connsiteY5" fmla="*/ 2306407 h 3250326"/>
              <a:gd name="connsiteX6" fmla="*/ 512943 w 6481363"/>
              <a:gd name="connsiteY6" fmla="*/ 435033 h 3250326"/>
              <a:gd name="connsiteX0" fmla="*/ 512943 w 6481361"/>
              <a:gd name="connsiteY0" fmla="*/ 434187 h 3249480"/>
              <a:gd name="connsiteX1" fmla="*/ 3438351 w 6481361"/>
              <a:gd name="connsiteY1" fmla="*/ 1698 h 3249480"/>
              <a:gd name="connsiteX2" fmla="*/ 6302625 w 6481361"/>
              <a:gd name="connsiteY2" fmla="*/ 283403 h 3249480"/>
              <a:gd name="connsiteX3" fmla="*/ 6266352 w 6481361"/>
              <a:gd name="connsiteY3" fmla="*/ 2504586 h 3249480"/>
              <a:gd name="connsiteX4" fmla="*/ 3445768 w 6481361"/>
              <a:gd name="connsiteY4" fmla="*/ 3249045 h 3249480"/>
              <a:gd name="connsiteX5" fmla="*/ 177755 w 6481361"/>
              <a:gd name="connsiteY5" fmla="*/ 2305561 h 3249480"/>
              <a:gd name="connsiteX6" fmla="*/ 512943 w 6481361"/>
              <a:gd name="connsiteY6" fmla="*/ 434187 h 3249480"/>
              <a:gd name="connsiteX0" fmla="*/ 512943 w 6481363"/>
              <a:gd name="connsiteY0" fmla="*/ 435032 h 3250325"/>
              <a:gd name="connsiteX1" fmla="*/ 3438351 w 6481363"/>
              <a:gd name="connsiteY1" fmla="*/ 2543 h 3250325"/>
              <a:gd name="connsiteX2" fmla="*/ 6302625 w 6481363"/>
              <a:gd name="connsiteY2" fmla="*/ 284248 h 3250325"/>
              <a:gd name="connsiteX3" fmla="*/ 6266352 w 6481363"/>
              <a:gd name="connsiteY3" fmla="*/ 2505431 h 3250325"/>
              <a:gd name="connsiteX4" fmla="*/ 3445768 w 6481363"/>
              <a:gd name="connsiteY4" fmla="*/ 3249890 h 3250325"/>
              <a:gd name="connsiteX5" fmla="*/ 177755 w 6481363"/>
              <a:gd name="connsiteY5" fmla="*/ 2306406 h 3250325"/>
              <a:gd name="connsiteX6" fmla="*/ 512943 w 6481363"/>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356750 w 6146432"/>
              <a:gd name="connsiteY0" fmla="*/ 435032 h 3250325"/>
              <a:gd name="connsiteX1" fmla="*/ 3282158 w 6146432"/>
              <a:gd name="connsiteY1" fmla="*/ 2543 h 3250325"/>
              <a:gd name="connsiteX2" fmla="*/ 6146432 w 6146432"/>
              <a:gd name="connsiteY2" fmla="*/ 284248 h 3250325"/>
              <a:gd name="connsiteX3" fmla="*/ 6110159 w 6146432"/>
              <a:gd name="connsiteY3" fmla="*/ 2505431 h 3250325"/>
              <a:gd name="connsiteX4" fmla="*/ 3289575 w 6146432"/>
              <a:gd name="connsiteY4" fmla="*/ 3249890 h 3250325"/>
              <a:gd name="connsiteX5" fmla="*/ 21562 w 6146432"/>
              <a:gd name="connsiteY5" fmla="*/ 2306406 h 3250325"/>
              <a:gd name="connsiteX6" fmla="*/ 356750 w 6146432"/>
              <a:gd name="connsiteY6" fmla="*/ 435032 h 3250325"/>
              <a:gd name="connsiteX0" fmla="*/ 335225 w 6124907"/>
              <a:gd name="connsiteY0" fmla="*/ 435032 h 3250325"/>
              <a:gd name="connsiteX1" fmla="*/ 3260633 w 6124907"/>
              <a:gd name="connsiteY1" fmla="*/ 2543 h 3250325"/>
              <a:gd name="connsiteX2" fmla="*/ 6124907 w 6124907"/>
              <a:gd name="connsiteY2" fmla="*/ 284248 h 3250325"/>
              <a:gd name="connsiteX3" fmla="*/ 6088634 w 6124907"/>
              <a:gd name="connsiteY3" fmla="*/ 2505431 h 3250325"/>
              <a:gd name="connsiteX4" fmla="*/ 3268050 w 6124907"/>
              <a:gd name="connsiteY4" fmla="*/ 3249890 h 3250325"/>
              <a:gd name="connsiteX5" fmla="*/ 37 w 6124907"/>
              <a:gd name="connsiteY5" fmla="*/ 2306406 h 3250325"/>
              <a:gd name="connsiteX6" fmla="*/ 335225 w 6124907"/>
              <a:gd name="connsiteY6" fmla="*/ 435032 h 3250325"/>
              <a:gd name="connsiteX0" fmla="*/ 335225 w 6124907"/>
              <a:gd name="connsiteY0" fmla="*/ 515501 h 3330794"/>
              <a:gd name="connsiteX1" fmla="*/ 3260633 w 6124907"/>
              <a:gd name="connsiteY1" fmla="*/ 83012 h 3330794"/>
              <a:gd name="connsiteX2" fmla="*/ 6124907 w 6124907"/>
              <a:gd name="connsiteY2" fmla="*/ 364717 h 3330794"/>
              <a:gd name="connsiteX3" fmla="*/ 6088634 w 6124907"/>
              <a:gd name="connsiteY3" fmla="*/ 2585900 h 3330794"/>
              <a:gd name="connsiteX4" fmla="*/ 3268050 w 6124907"/>
              <a:gd name="connsiteY4" fmla="*/ 3330359 h 3330794"/>
              <a:gd name="connsiteX5" fmla="*/ 37 w 6124907"/>
              <a:gd name="connsiteY5" fmla="*/ 2386875 h 3330794"/>
              <a:gd name="connsiteX6" fmla="*/ 335225 w 6124907"/>
              <a:gd name="connsiteY6" fmla="*/ 515501 h 3330794"/>
              <a:gd name="connsiteX0" fmla="*/ 335225 w 6124907"/>
              <a:gd name="connsiteY0" fmla="*/ 432489 h 3247782"/>
              <a:gd name="connsiteX1" fmla="*/ 3260633 w 6124907"/>
              <a:gd name="connsiteY1" fmla="*/ 0 h 3247782"/>
              <a:gd name="connsiteX2" fmla="*/ 6124907 w 6124907"/>
              <a:gd name="connsiteY2" fmla="*/ 281705 h 3247782"/>
              <a:gd name="connsiteX3" fmla="*/ 6088634 w 6124907"/>
              <a:gd name="connsiteY3" fmla="*/ 2502888 h 3247782"/>
              <a:gd name="connsiteX4" fmla="*/ 3268050 w 6124907"/>
              <a:gd name="connsiteY4" fmla="*/ 3247347 h 3247782"/>
              <a:gd name="connsiteX5" fmla="*/ 37 w 6124907"/>
              <a:gd name="connsiteY5" fmla="*/ 2303863 h 3247782"/>
              <a:gd name="connsiteX6" fmla="*/ 335225 w 6124907"/>
              <a:gd name="connsiteY6" fmla="*/ 432489 h 3247782"/>
              <a:gd name="connsiteX0" fmla="*/ 335225 w 6223855"/>
              <a:gd name="connsiteY0" fmla="*/ 434186 h 3249479"/>
              <a:gd name="connsiteX1" fmla="*/ 3260633 w 6223855"/>
              <a:gd name="connsiteY1" fmla="*/ 1697 h 3249479"/>
              <a:gd name="connsiteX2" fmla="*/ 6124907 w 6223855"/>
              <a:gd name="connsiteY2" fmla="*/ 283402 h 3249479"/>
              <a:gd name="connsiteX3" fmla="*/ 6088634 w 6223855"/>
              <a:gd name="connsiteY3" fmla="*/ 2504585 h 3249479"/>
              <a:gd name="connsiteX4" fmla="*/ 3268050 w 6223855"/>
              <a:gd name="connsiteY4" fmla="*/ 3249044 h 3249479"/>
              <a:gd name="connsiteX5" fmla="*/ 37 w 6223855"/>
              <a:gd name="connsiteY5" fmla="*/ 2305560 h 3249479"/>
              <a:gd name="connsiteX6" fmla="*/ 335225 w 6223855"/>
              <a:gd name="connsiteY6" fmla="*/ 434186 h 3249479"/>
              <a:gd name="connsiteX0" fmla="*/ 335225 w 6124907"/>
              <a:gd name="connsiteY0" fmla="*/ 435032 h 3250325"/>
              <a:gd name="connsiteX1" fmla="*/ 3260633 w 6124907"/>
              <a:gd name="connsiteY1" fmla="*/ 2543 h 3250325"/>
              <a:gd name="connsiteX2" fmla="*/ 6124907 w 6124907"/>
              <a:gd name="connsiteY2" fmla="*/ 284248 h 3250325"/>
              <a:gd name="connsiteX3" fmla="*/ 6088634 w 6124907"/>
              <a:gd name="connsiteY3" fmla="*/ 2505431 h 3250325"/>
              <a:gd name="connsiteX4" fmla="*/ 3268050 w 6124907"/>
              <a:gd name="connsiteY4" fmla="*/ 3249890 h 3250325"/>
              <a:gd name="connsiteX5" fmla="*/ 37 w 6124907"/>
              <a:gd name="connsiteY5" fmla="*/ 2306406 h 3250325"/>
              <a:gd name="connsiteX6" fmla="*/ 335225 w 6124907"/>
              <a:gd name="connsiteY6" fmla="*/ 435032 h 3250325"/>
              <a:gd name="connsiteX0" fmla="*/ 335225 w 6124907"/>
              <a:gd name="connsiteY0" fmla="*/ 515501 h 3330794"/>
              <a:gd name="connsiteX1" fmla="*/ 3260633 w 6124907"/>
              <a:gd name="connsiteY1" fmla="*/ 83012 h 3330794"/>
              <a:gd name="connsiteX2" fmla="*/ 6124907 w 6124907"/>
              <a:gd name="connsiteY2" fmla="*/ 364717 h 3330794"/>
              <a:gd name="connsiteX3" fmla="*/ 6088634 w 6124907"/>
              <a:gd name="connsiteY3" fmla="*/ 2585900 h 3330794"/>
              <a:gd name="connsiteX4" fmla="*/ 3268050 w 6124907"/>
              <a:gd name="connsiteY4" fmla="*/ 3330359 h 3330794"/>
              <a:gd name="connsiteX5" fmla="*/ 37 w 6124907"/>
              <a:gd name="connsiteY5" fmla="*/ 2386875 h 3330794"/>
              <a:gd name="connsiteX6" fmla="*/ 335225 w 6124907"/>
              <a:gd name="connsiteY6" fmla="*/ 515501 h 3330794"/>
              <a:gd name="connsiteX0" fmla="*/ 335225 w 6124907"/>
              <a:gd name="connsiteY0" fmla="*/ 432489 h 3247782"/>
              <a:gd name="connsiteX1" fmla="*/ 3260633 w 6124907"/>
              <a:gd name="connsiteY1" fmla="*/ 0 h 3247782"/>
              <a:gd name="connsiteX2" fmla="*/ 6124907 w 6124907"/>
              <a:gd name="connsiteY2" fmla="*/ 281705 h 3247782"/>
              <a:gd name="connsiteX3" fmla="*/ 6088634 w 6124907"/>
              <a:gd name="connsiteY3" fmla="*/ 2502888 h 3247782"/>
              <a:gd name="connsiteX4" fmla="*/ 3268050 w 6124907"/>
              <a:gd name="connsiteY4" fmla="*/ 3247347 h 3247782"/>
              <a:gd name="connsiteX5" fmla="*/ 37 w 6124907"/>
              <a:gd name="connsiteY5" fmla="*/ 2303863 h 3247782"/>
              <a:gd name="connsiteX6" fmla="*/ 335225 w 6124907"/>
              <a:gd name="connsiteY6" fmla="*/ 432489 h 3247782"/>
              <a:gd name="connsiteX0" fmla="*/ 335225 w 6223855"/>
              <a:gd name="connsiteY0" fmla="*/ 434186 h 3249479"/>
              <a:gd name="connsiteX1" fmla="*/ 3260633 w 6223855"/>
              <a:gd name="connsiteY1" fmla="*/ 1697 h 3249479"/>
              <a:gd name="connsiteX2" fmla="*/ 6124907 w 6223855"/>
              <a:gd name="connsiteY2" fmla="*/ 283402 h 3249479"/>
              <a:gd name="connsiteX3" fmla="*/ 6088634 w 6223855"/>
              <a:gd name="connsiteY3" fmla="*/ 2504585 h 3249479"/>
              <a:gd name="connsiteX4" fmla="*/ 3268050 w 6223855"/>
              <a:gd name="connsiteY4" fmla="*/ 3249044 h 3249479"/>
              <a:gd name="connsiteX5" fmla="*/ 37 w 6223855"/>
              <a:gd name="connsiteY5" fmla="*/ 2305560 h 3249479"/>
              <a:gd name="connsiteX6" fmla="*/ 335225 w 6223855"/>
              <a:gd name="connsiteY6" fmla="*/ 434186 h 3249479"/>
              <a:gd name="connsiteX0" fmla="*/ 335225 w 6124907"/>
              <a:gd name="connsiteY0" fmla="*/ 435032 h 3250325"/>
              <a:gd name="connsiteX1" fmla="*/ 3260633 w 6124907"/>
              <a:gd name="connsiteY1" fmla="*/ 2543 h 3250325"/>
              <a:gd name="connsiteX2" fmla="*/ 6124907 w 6124907"/>
              <a:gd name="connsiteY2" fmla="*/ 284248 h 3250325"/>
              <a:gd name="connsiteX3" fmla="*/ 6088634 w 6124907"/>
              <a:gd name="connsiteY3" fmla="*/ 2505431 h 3250325"/>
              <a:gd name="connsiteX4" fmla="*/ 3268050 w 6124907"/>
              <a:gd name="connsiteY4" fmla="*/ 3249890 h 3250325"/>
              <a:gd name="connsiteX5" fmla="*/ 37 w 6124907"/>
              <a:gd name="connsiteY5" fmla="*/ 2306406 h 3250325"/>
              <a:gd name="connsiteX6" fmla="*/ 335225 w 6124907"/>
              <a:gd name="connsiteY6" fmla="*/ 435032 h 3250325"/>
              <a:gd name="connsiteX0" fmla="*/ 335225 w 6124907"/>
              <a:gd name="connsiteY0" fmla="*/ 434001 h 3249294"/>
              <a:gd name="connsiteX1" fmla="*/ 3260633 w 6124907"/>
              <a:gd name="connsiteY1" fmla="*/ 1512 h 3249294"/>
              <a:gd name="connsiteX2" fmla="*/ 6124907 w 6124907"/>
              <a:gd name="connsiteY2" fmla="*/ 283217 h 3249294"/>
              <a:gd name="connsiteX3" fmla="*/ 6088634 w 6124907"/>
              <a:gd name="connsiteY3" fmla="*/ 2504400 h 3249294"/>
              <a:gd name="connsiteX4" fmla="*/ 3268050 w 6124907"/>
              <a:gd name="connsiteY4" fmla="*/ 3248859 h 3249294"/>
              <a:gd name="connsiteX5" fmla="*/ 37 w 6124907"/>
              <a:gd name="connsiteY5" fmla="*/ 2305375 h 3249294"/>
              <a:gd name="connsiteX6" fmla="*/ 335225 w 6124907"/>
              <a:gd name="connsiteY6" fmla="*/ 434001 h 3249294"/>
              <a:gd name="connsiteX0" fmla="*/ 335225 w 6124907"/>
              <a:gd name="connsiteY0" fmla="*/ 432489 h 3247782"/>
              <a:gd name="connsiteX1" fmla="*/ 3260633 w 6124907"/>
              <a:gd name="connsiteY1" fmla="*/ 0 h 3247782"/>
              <a:gd name="connsiteX2" fmla="*/ 6124907 w 6124907"/>
              <a:gd name="connsiteY2" fmla="*/ 281705 h 3247782"/>
              <a:gd name="connsiteX3" fmla="*/ 6088634 w 6124907"/>
              <a:gd name="connsiteY3" fmla="*/ 2502888 h 3247782"/>
              <a:gd name="connsiteX4" fmla="*/ 3268050 w 6124907"/>
              <a:gd name="connsiteY4" fmla="*/ 3247347 h 3247782"/>
              <a:gd name="connsiteX5" fmla="*/ 37 w 6124907"/>
              <a:gd name="connsiteY5" fmla="*/ 2303863 h 3247782"/>
              <a:gd name="connsiteX6" fmla="*/ 335225 w 6124907"/>
              <a:gd name="connsiteY6" fmla="*/ 432489 h 3247782"/>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512181 h 3327474"/>
              <a:gd name="connsiteX1" fmla="*/ 3260633 w 6088641"/>
              <a:gd name="connsiteY1" fmla="*/ 79692 h 3327474"/>
              <a:gd name="connsiteX2" fmla="*/ 5816589 w 6088641"/>
              <a:gd name="connsiteY2" fmla="*/ 361397 h 3327474"/>
              <a:gd name="connsiteX3" fmla="*/ 6088634 w 6088641"/>
              <a:gd name="connsiteY3" fmla="*/ 2582580 h 3327474"/>
              <a:gd name="connsiteX4" fmla="*/ 3268050 w 6088641"/>
              <a:gd name="connsiteY4" fmla="*/ 3327039 h 3327474"/>
              <a:gd name="connsiteX5" fmla="*/ 37 w 6088641"/>
              <a:gd name="connsiteY5" fmla="*/ 2383555 h 3327474"/>
              <a:gd name="connsiteX6" fmla="*/ 335225 w 6088641"/>
              <a:gd name="connsiteY6" fmla="*/ 512181 h 3327474"/>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434186 h 3249479"/>
              <a:gd name="connsiteX1" fmla="*/ 3260633 w 6088641"/>
              <a:gd name="connsiteY1" fmla="*/ 1697 h 3249479"/>
              <a:gd name="connsiteX2" fmla="*/ 5816589 w 6088641"/>
              <a:gd name="connsiteY2" fmla="*/ 283402 h 3249479"/>
              <a:gd name="connsiteX3" fmla="*/ 6088634 w 6088641"/>
              <a:gd name="connsiteY3" fmla="*/ 2504585 h 3249479"/>
              <a:gd name="connsiteX4" fmla="*/ 3268050 w 6088641"/>
              <a:gd name="connsiteY4" fmla="*/ 3249044 h 3249479"/>
              <a:gd name="connsiteX5" fmla="*/ 37 w 6088641"/>
              <a:gd name="connsiteY5" fmla="*/ 2305560 h 3249479"/>
              <a:gd name="connsiteX6" fmla="*/ 335225 w 6088641"/>
              <a:gd name="connsiteY6" fmla="*/ 434186 h 3249479"/>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434692 h 3249985"/>
              <a:gd name="connsiteX1" fmla="*/ 3260633 w 6088641"/>
              <a:gd name="connsiteY1" fmla="*/ 2203 h 3249985"/>
              <a:gd name="connsiteX2" fmla="*/ 5816589 w 6088641"/>
              <a:gd name="connsiteY2" fmla="*/ 283908 h 3249985"/>
              <a:gd name="connsiteX3" fmla="*/ 6088634 w 6088641"/>
              <a:gd name="connsiteY3" fmla="*/ 2505091 h 3249985"/>
              <a:gd name="connsiteX4" fmla="*/ 3268050 w 6088641"/>
              <a:gd name="connsiteY4" fmla="*/ 3249550 h 3249985"/>
              <a:gd name="connsiteX5" fmla="*/ 37 w 6088641"/>
              <a:gd name="connsiteY5" fmla="*/ 2306066 h 3249985"/>
              <a:gd name="connsiteX6" fmla="*/ 335225 w 6088641"/>
              <a:gd name="connsiteY6" fmla="*/ 434692 h 3249985"/>
              <a:gd name="connsiteX0" fmla="*/ 335225 w 6088641"/>
              <a:gd name="connsiteY0" fmla="*/ 434455 h 3249748"/>
              <a:gd name="connsiteX1" fmla="*/ 3260633 w 6088641"/>
              <a:gd name="connsiteY1" fmla="*/ 1966 h 3249748"/>
              <a:gd name="connsiteX2" fmla="*/ 5816589 w 6088641"/>
              <a:gd name="connsiteY2" fmla="*/ 283671 h 3249748"/>
              <a:gd name="connsiteX3" fmla="*/ 6088634 w 6088641"/>
              <a:gd name="connsiteY3" fmla="*/ 2504854 h 3249748"/>
              <a:gd name="connsiteX4" fmla="*/ 3268050 w 6088641"/>
              <a:gd name="connsiteY4" fmla="*/ 3249313 h 3249748"/>
              <a:gd name="connsiteX5" fmla="*/ 37 w 6088641"/>
              <a:gd name="connsiteY5" fmla="*/ 2305829 h 3249748"/>
              <a:gd name="connsiteX6" fmla="*/ 335225 w 6088641"/>
              <a:gd name="connsiteY6" fmla="*/ 434455 h 3249748"/>
              <a:gd name="connsiteX0" fmla="*/ 335225 w 6088641"/>
              <a:gd name="connsiteY0" fmla="*/ 478129 h 3293422"/>
              <a:gd name="connsiteX1" fmla="*/ 3260633 w 6088641"/>
              <a:gd name="connsiteY1" fmla="*/ 45640 h 3293422"/>
              <a:gd name="connsiteX2" fmla="*/ 4969580 w 6088641"/>
              <a:gd name="connsiteY2" fmla="*/ 22169 h 3293422"/>
              <a:gd name="connsiteX3" fmla="*/ 5816589 w 6088641"/>
              <a:gd name="connsiteY3" fmla="*/ 327345 h 3293422"/>
              <a:gd name="connsiteX4" fmla="*/ 6088634 w 6088641"/>
              <a:gd name="connsiteY4" fmla="*/ 2548528 h 3293422"/>
              <a:gd name="connsiteX5" fmla="*/ 3268050 w 6088641"/>
              <a:gd name="connsiteY5" fmla="*/ 3292987 h 3293422"/>
              <a:gd name="connsiteX6" fmla="*/ 37 w 6088641"/>
              <a:gd name="connsiteY6" fmla="*/ 2349503 h 3293422"/>
              <a:gd name="connsiteX7" fmla="*/ 335225 w 6088641"/>
              <a:gd name="connsiteY7" fmla="*/ 478129 h 3293422"/>
              <a:gd name="connsiteX0" fmla="*/ 335225 w 6088641"/>
              <a:gd name="connsiteY0" fmla="*/ 464432 h 3279725"/>
              <a:gd name="connsiteX1" fmla="*/ 3260633 w 6088641"/>
              <a:gd name="connsiteY1" fmla="*/ 31943 h 3279725"/>
              <a:gd name="connsiteX2" fmla="*/ 5816589 w 6088641"/>
              <a:gd name="connsiteY2" fmla="*/ 313648 h 3279725"/>
              <a:gd name="connsiteX3" fmla="*/ 6088634 w 6088641"/>
              <a:gd name="connsiteY3" fmla="*/ 2534831 h 3279725"/>
              <a:gd name="connsiteX4" fmla="*/ 3268050 w 6088641"/>
              <a:gd name="connsiteY4" fmla="*/ 3279290 h 3279725"/>
              <a:gd name="connsiteX5" fmla="*/ 37 w 6088641"/>
              <a:gd name="connsiteY5" fmla="*/ 2335806 h 3279725"/>
              <a:gd name="connsiteX6" fmla="*/ 335225 w 6088641"/>
              <a:gd name="connsiteY6" fmla="*/ 464432 h 3279725"/>
              <a:gd name="connsiteX0" fmla="*/ 335225 w 6088641"/>
              <a:gd name="connsiteY0" fmla="*/ 434187 h 3249480"/>
              <a:gd name="connsiteX1" fmla="*/ 3260633 w 6088641"/>
              <a:gd name="connsiteY1" fmla="*/ 1698 h 3249480"/>
              <a:gd name="connsiteX2" fmla="*/ 5816589 w 6088641"/>
              <a:gd name="connsiteY2" fmla="*/ 283403 h 3249480"/>
              <a:gd name="connsiteX3" fmla="*/ 6088634 w 6088641"/>
              <a:gd name="connsiteY3" fmla="*/ 2504586 h 3249480"/>
              <a:gd name="connsiteX4" fmla="*/ 3268050 w 6088641"/>
              <a:gd name="connsiteY4" fmla="*/ 3249045 h 3249480"/>
              <a:gd name="connsiteX5" fmla="*/ 37 w 6088641"/>
              <a:gd name="connsiteY5" fmla="*/ 2305561 h 3249480"/>
              <a:gd name="connsiteX6" fmla="*/ 335225 w 6088641"/>
              <a:gd name="connsiteY6" fmla="*/ 434187 h 3249480"/>
              <a:gd name="connsiteX0" fmla="*/ 335225 w 6088641"/>
              <a:gd name="connsiteY0" fmla="*/ 434187 h 3249480"/>
              <a:gd name="connsiteX1" fmla="*/ 3260633 w 6088641"/>
              <a:gd name="connsiteY1" fmla="*/ 1698 h 3249480"/>
              <a:gd name="connsiteX2" fmla="*/ 5816589 w 6088641"/>
              <a:gd name="connsiteY2" fmla="*/ 283403 h 3249480"/>
              <a:gd name="connsiteX3" fmla="*/ 6088634 w 6088641"/>
              <a:gd name="connsiteY3" fmla="*/ 2504586 h 3249480"/>
              <a:gd name="connsiteX4" fmla="*/ 3268050 w 6088641"/>
              <a:gd name="connsiteY4" fmla="*/ 3249045 h 3249480"/>
              <a:gd name="connsiteX5" fmla="*/ 37 w 6088641"/>
              <a:gd name="connsiteY5" fmla="*/ 2305561 h 3249480"/>
              <a:gd name="connsiteX6" fmla="*/ 335225 w 6088641"/>
              <a:gd name="connsiteY6" fmla="*/ 434187 h 3249480"/>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512181 h 3327474"/>
              <a:gd name="connsiteX1" fmla="*/ 3260633 w 6088641"/>
              <a:gd name="connsiteY1" fmla="*/ 79692 h 3327474"/>
              <a:gd name="connsiteX2" fmla="*/ 5816589 w 6088641"/>
              <a:gd name="connsiteY2" fmla="*/ 361397 h 3327474"/>
              <a:gd name="connsiteX3" fmla="*/ 6088634 w 6088641"/>
              <a:gd name="connsiteY3" fmla="*/ 2582580 h 3327474"/>
              <a:gd name="connsiteX4" fmla="*/ 3268050 w 6088641"/>
              <a:gd name="connsiteY4" fmla="*/ 3327039 h 3327474"/>
              <a:gd name="connsiteX5" fmla="*/ 37 w 6088641"/>
              <a:gd name="connsiteY5" fmla="*/ 2383555 h 3327474"/>
              <a:gd name="connsiteX6" fmla="*/ 335225 w 6088641"/>
              <a:gd name="connsiteY6" fmla="*/ 512181 h 3327474"/>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434186 h 3249479"/>
              <a:gd name="connsiteX1" fmla="*/ 3260633 w 6088641"/>
              <a:gd name="connsiteY1" fmla="*/ 1697 h 3249479"/>
              <a:gd name="connsiteX2" fmla="*/ 5816589 w 6088641"/>
              <a:gd name="connsiteY2" fmla="*/ 283402 h 3249479"/>
              <a:gd name="connsiteX3" fmla="*/ 6088634 w 6088641"/>
              <a:gd name="connsiteY3" fmla="*/ 2504585 h 3249479"/>
              <a:gd name="connsiteX4" fmla="*/ 3268050 w 6088641"/>
              <a:gd name="connsiteY4" fmla="*/ 3249044 h 3249479"/>
              <a:gd name="connsiteX5" fmla="*/ 37 w 6088641"/>
              <a:gd name="connsiteY5" fmla="*/ 2305560 h 3249479"/>
              <a:gd name="connsiteX6" fmla="*/ 335225 w 6088641"/>
              <a:gd name="connsiteY6" fmla="*/ 434186 h 3249479"/>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433957 h 3249250"/>
              <a:gd name="connsiteX1" fmla="*/ 3260633 w 6088641"/>
              <a:gd name="connsiteY1" fmla="*/ 1468 h 3249250"/>
              <a:gd name="connsiteX2" fmla="*/ 5816589 w 6088641"/>
              <a:gd name="connsiteY2" fmla="*/ 283173 h 3249250"/>
              <a:gd name="connsiteX3" fmla="*/ 6088634 w 6088641"/>
              <a:gd name="connsiteY3" fmla="*/ 2504356 h 3249250"/>
              <a:gd name="connsiteX4" fmla="*/ 3268050 w 6088641"/>
              <a:gd name="connsiteY4" fmla="*/ 3248815 h 3249250"/>
              <a:gd name="connsiteX5" fmla="*/ 37 w 6088641"/>
              <a:gd name="connsiteY5" fmla="*/ 2305331 h 3249250"/>
              <a:gd name="connsiteX6" fmla="*/ 335225 w 6088641"/>
              <a:gd name="connsiteY6" fmla="*/ 433957 h 3249250"/>
              <a:gd name="connsiteX0" fmla="*/ 335225 w 6088641"/>
              <a:gd name="connsiteY0" fmla="*/ 433944 h 3249237"/>
              <a:gd name="connsiteX1" fmla="*/ 3260633 w 6088641"/>
              <a:gd name="connsiteY1" fmla="*/ 1455 h 3249237"/>
              <a:gd name="connsiteX2" fmla="*/ 5816589 w 6088641"/>
              <a:gd name="connsiteY2" fmla="*/ 283160 h 3249237"/>
              <a:gd name="connsiteX3" fmla="*/ 6088634 w 6088641"/>
              <a:gd name="connsiteY3" fmla="*/ 2504343 h 3249237"/>
              <a:gd name="connsiteX4" fmla="*/ 3268050 w 6088641"/>
              <a:gd name="connsiteY4" fmla="*/ 3248802 h 3249237"/>
              <a:gd name="connsiteX5" fmla="*/ 37 w 6088641"/>
              <a:gd name="connsiteY5" fmla="*/ 2305318 h 3249237"/>
              <a:gd name="connsiteX6" fmla="*/ 335225 w 6088641"/>
              <a:gd name="connsiteY6" fmla="*/ 433944 h 3249237"/>
              <a:gd name="connsiteX0" fmla="*/ 335225 w 6088641"/>
              <a:gd name="connsiteY0" fmla="*/ 433390 h 3248683"/>
              <a:gd name="connsiteX1" fmla="*/ 3260633 w 6088641"/>
              <a:gd name="connsiteY1" fmla="*/ 901 h 3248683"/>
              <a:gd name="connsiteX2" fmla="*/ 5816589 w 6088641"/>
              <a:gd name="connsiteY2" fmla="*/ 282606 h 3248683"/>
              <a:gd name="connsiteX3" fmla="*/ 6088634 w 6088641"/>
              <a:gd name="connsiteY3" fmla="*/ 2503789 h 3248683"/>
              <a:gd name="connsiteX4" fmla="*/ 3268050 w 6088641"/>
              <a:gd name="connsiteY4" fmla="*/ 3248248 h 3248683"/>
              <a:gd name="connsiteX5" fmla="*/ 37 w 6088641"/>
              <a:gd name="connsiteY5" fmla="*/ 2304764 h 3248683"/>
              <a:gd name="connsiteX6" fmla="*/ 335225 w 6088641"/>
              <a:gd name="connsiteY6" fmla="*/ 433390 h 3248683"/>
              <a:gd name="connsiteX0" fmla="*/ 335225 w 6088641"/>
              <a:gd name="connsiteY0" fmla="*/ 512181 h 3327474"/>
              <a:gd name="connsiteX1" fmla="*/ 3260633 w 6088641"/>
              <a:gd name="connsiteY1" fmla="*/ 79692 h 3327474"/>
              <a:gd name="connsiteX2" fmla="*/ 5816589 w 6088641"/>
              <a:gd name="connsiteY2" fmla="*/ 361397 h 3327474"/>
              <a:gd name="connsiteX3" fmla="*/ 6088634 w 6088641"/>
              <a:gd name="connsiteY3" fmla="*/ 2582580 h 3327474"/>
              <a:gd name="connsiteX4" fmla="*/ 3268050 w 6088641"/>
              <a:gd name="connsiteY4" fmla="*/ 3327039 h 3327474"/>
              <a:gd name="connsiteX5" fmla="*/ 37 w 6088641"/>
              <a:gd name="connsiteY5" fmla="*/ 2383555 h 3327474"/>
              <a:gd name="connsiteX6" fmla="*/ 335225 w 6088641"/>
              <a:gd name="connsiteY6" fmla="*/ 512181 h 3327474"/>
              <a:gd name="connsiteX0" fmla="*/ 335225 w 6088641"/>
              <a:gd name="connsiteY0" fmla="*/ 516824 h 3332117"/>
              <a:gd name="connsiteX1" fmla="*/ 3260633 w 6088641"/>
              <a:gd name="connsiteY1" fmla="*/ 84335 h 3332117"/>
              <a:gd name="connsiteX2" fmla="*/ 5816589 w 6088641"/>
              <a:gd name="connsiteY2" fmla="*/ 366040 h 3332117"/>
              <a:gd name="connsiteX3" fmla="*/ 6088634 w 6088641"/>
              <a:gd name="connsiteY3" fmla="*/ 2587223 h 3332117"/>
              <a:gd name="connsiteX4" fmla="*/ 3268050 w 6088641"/>
              <a:gd name="connsiteY4" fmla="*/ 3331682 h 3332117"/>
              <a:gd name="connsiteX5" fmla="*/ 37 w 6088641"/>
              <a:gd name="connsiteY5" fmla="*/ 2388198 h 3332117"/>
              <a:gd name="connsiteX6" fmla="*/ 335225 w 6088641"/>
              <a:gd name="connsiteY6" fmla="*/ 516824 h 3332117"/>
              <a:gd name="connsiteX0" fmla="*/ 335225 w 6088641"/>
              <a:gd name="connsiteY0" fmla="*/ 512182 h 3327475"/>
              <a:gd name="connsiteX1" fmla="*/ 3260633 w 6088641"/>
              <a:gd name="connsiteY1" fmla="*/ 79693 h 3327475"/>
              <a:gd name="connsiteX2" fmla="*/ 5816589 w 6088641"/>
              <a:gd name="connsiteY2" fmla="*/ 361398 h 3327475"/>
              <a:gd name="connsiteX3" fmla="*/ 6088634 w 6088641"/>
              <a:gd name="connsiteY3" fmla="*/ 2582581 h 3327475"/>
              <a:gd name="connsiteX4" fmla="*/ 3268050 w 6088641"/>
              <a:gd name="connsiteY4" fmla="*/ 3327040 h 3327475"/>
              <a:gd name="connsiteX5" fmla="*/ 37 w 6088641"/>
              <a:gd name="connsiteY5" fmla="*/ 2383556 h 3327475"/>
              <a:gd name="connsiteX6" fmla="*/ 335225 w 6088641"/>
              <a:gd name="connsiteY6" fmla="*/ 512182 h 3327475"/>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433961 h 3249254"/>
              <a:gd name="connsiteX1" fmla="*/ 3260633 w 6088641"/>
              <a:gd name="connsiteY1" fmla="*/ 1472 h 3249254"/>
              <a:gd name="connsiteX2" fmla="*/ 5816589 w 6088641"/>
              <a:gd name="connsiteY2" fmla="*/ 283177 h 3249254"/>
              <a:gd name="connsiteX3" fmla="*/ 6088634 w 6088641"/>
              <a:gd name="connsiteY3" fmla="*/ 2504360 h 3249254"/>
              <a:gd name="connsiteX4" fmla="*/ 3268050 w 6088641"/>
              <a:gd name="connsiteY4" fmla="*/ 3248819 h 3249254"/>
              <a:gd name="connsiteX5" fmla="*/ 37 w 6088641"/>
              <a:gd name="connsiteY5" fmla="*/ 2305335 h 3249254"/>
              <a:gd name="connsiteX6" fmla="*/ 335225 w 6088641"/>
              <a:gd name="connsiteY6" fmla="*/ 433961 h 3249254"/>
              <a:gd name="connsiteX0" fmla="*/ 335225 w 6088641"/>
              <a:gd name="connsiteY0" fmla="*/ 434186 h 3249479"/>
              <a:gd name="connsiteX1" fmla="*/ 3260633 w 6088641"/>
              <a:gd name="connsiteY1" fmla="*/ 1697 h 3249479"/>
              <a:gd name="connsiteX2" fmla="*/ 5816589 w 6088641"/>
              <a:gd name="connsiteY2" fmla="*/ 283402 h 3249479"/>
              <a:gd name="connsiteX3" fmla="*/ 6088634 w 6088641"/>
              <a:gd name="connsiteY3" fmla="*/ 2504585 h 3249479"/>
              <a:gd name="connsiteX4" fmla="*/ 3268050 w 6088641"/>
              <a:gd name="connsiteY4" fmla="*/ 3249044 h 3249479"/>
              <a:gd name="connsiteX5" fmla="*/ 37 w 6088641"/>
              <a:gd name="connsiteY5" fmla="*/ 2305560 h 3249479"/>
              <a:gd name="connsiteX6" fmla="*/ 335225 w 6088641"/>
              <a:gd name="connsiteY6" fmla="*/ 434186 h 3249479"/>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509718 h 3325011"/>
              <a:gd name="connsiteX1" fmla="*/ 3260633 w 6088641"/>
              <a:gd name="connsiteY1" fmla="*/ 77229 h 3325011"/>
              <a:gd name="connsiteX2" fmla="*/ 5816589 w 6088641"/>
              <a:gd name="connsiteY2" fmla="*/ 358934 h 3325011"/>
              <a:gd name="connsiteX3" fmla="*/ 6088634 w 6088641"/>
              <a:gd name="connsiteY3" fmla="*/ 2580117 h 3325011"/>
              <a:gd name="connsiteX4" fmla="*/ 3268050 w 6088641"/>
              <a:gd name="connsiteY4" fmla="*/ 3324576 h 3325011"/>
              <a:gd name="connsiteX5" fmla="*/ 37 w 6088641"/>
              <a:gd name="connsiteY5" fmla="*/ 2381092 h 3325011"/>
              <a:gd name="connsiteX6" fmla="*/ 335225 w 6088641"/>
              <a:gd name="connsiteY6" fmla="*/ 509718 h 3325011"/>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088641"/>
              <a:gd name="connsiteY0" fmla="*/ 440004 h 3255297"/>
              <a:gd name="connsiteX1" fmla="*/ 3260633 w 6088641"/>
              <a:gd name="connsiteY1" fmla="*/ 7515 h 3255297"/>
              <a:gd name="connsiteX2" fmla="*/ 6088634 w 6088641"/>
              <a:gd name="connsiteY2" fmla="*/ 2510403 h 3255297"/>
              <a:gd name="connsiteX3" fmla="*/ 3268050 w 6088641"/>
              <a:gd name="connsiteY3" fmla="*/ 3254862 h 3255297"/>
              <a:gd name="connsiteX4" fmla="*/ 37 w 6088641"/>
              <a:gd name="connsiteY4" fmla="*/ 2311378 h 3255297"/>
              <a:gd name="connsiteX5" fmla="*/ 335225 w 6088641"/>
              <a:gd name="connsiteY5" fmla="*/ 440004 h 3255297"/>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123026"/>
              <a:gd name="connsiteY0" fmla="*/ 432489 h 3247782"/>
              <a:gd name="connsiteX1" fmla="*/ 3260633 w 6123026"/>
              <a:gd name="connsiteY1" fmla="*/ 0 h 3247782"/>
              <a:gd name="connsiteX2" fmla="*/ 4736515 w 6123026"/>
              <a:gd name="connsiteY2" fmla="*/ 1160782 h 3247782"/>
              <a:gd name="connsiteX3" fmla="*/ 6088634 w 6123026"/>
              <a:gd name="connsiteY3" fmla="*/ 2502888 h 3247782"/>
              <a:gd name="connsiteX4" fmla="*/ 3268050 w 6123026"/>
              <a:gd name="connsiteY4" fmla="*/ 3247347 h 3247782"/>
              <a:gd name="connsiteX5" fmla="*/ 37 w 6123026"/>
              <a:gd name="connsiteY5" fmla="*/ 2303863 h 3247782"/>
              <a:gd name="connsiteX6" fmla="*/ 335225 w 6123026"/>
              <a:gd name="connsiteY6" fmla="*/ 432489 h 3247782"/>
              <a:gd name="connsiteX0" fmla="*/ 335225 w 6213970"/>
              <a:gd name="connsiteY0" fmla="*/ 432489 h 3247782"/>
              <a:gd name="connsiteX1" fmla="*/ 3260633 w 6213970"/>
              <a:gd name="connsiteY1" fmla="*/ 0 h 3247782"/>
              <a:gd name="connsiteX2" fmla="*/ 5748245 w 6213970"/>
              <a:gd name="connsiteY2" fmla="*/ 440703 h 3247782"/>
              <a:gd name="connsiteX3" fmla="*/ 6088634 w 6213970"/>
              <a:gd name="connsiteY3" fmla="*/ 2502888 h 3247782"/>
              <a:gd name="connsiteX4" fmla="*/ 3268050 w 6213970"/>
              <a:gd name="connsiteY4" fmla="*/ 3247347 h 3247782"/>
              <a:gd name="connsiteX5" fmla="*/ 37 w 6213970"/>
              <a:gd name="connsiteY5" fmla="*/ 2303863 h 3247782"/>
              <a:gd name="connsiteX6" fmla="*/ 335225 w 6213970"/>
              <a:gd name="connsiteY6" fmla="*/ 432489 h 3247782"/>
              <a:gd name="connsiteX0" fmla="*/ 335225 w 6213972"/>
              <a:gd name="connsiteY0" fmla="*/ 432489 h 3247782"/>
              <a:gd name="connsiteX1" fmla="*/ 3260633 w 6213972"/>
              <a:gd name="connsiteY1" fmla="*/ 0 h 3247782"/>
              <a:gd name="connsiteX2" fmla="*/ 5748245 w 6213972"/>
              <a:gd name="connsiteY2" fmla="*/ 440703 h 3247782"/>
              <a:gd name="connsiteX3" fmla="*/ 6088634 w 6213972"/>
              <a:gd name="connsiteY3" fmla="*/ 2502888 h 3247782"/>
              <a:gd name="connsiteX4" fmla="*/ 3268050 w 6213972"/>
              <a:gd name="connsiteY4" fmla="*/ 3247347 h 3247782"/>
              <a:gd name="connsiteX5" fmla="*/ 37 w 6213972"/>
              <a:gd name="connsiteY5" fmla="*/ 2303863 h 3247782"/>
              <a:gd name="connsiteX6" fmla="*/ 335225 w 6213972"/>
              <a:gd name="connsiteY6" fmla="*/ 432489 h 3247782"/>
              <a:gd name="connsiteX0" fmla="*/ 335225 w 6213970"/>
              <a:gd name="connsiteY0" fmla="*/ 432489 h 3247782"/>
              <a:gd name="connsiteX1" fmla="*/ 3260633 w 6213970"/>
              <a:gd name="connsiteY1" fmla="*/ 0 h 3247782"/>
              <a:gd name="connsiteX2" fmla="*/ 5748245 w 6213970"/>
              <a:gd name="connsiteY2" fmla="*/ 440703 h 3247782"/>
              <a:gd name="connsiteX3" fmla="*/ 6088634 w 6213970"/>
              <a:gd name="connsiteY3" fmla="*/ 2502888 h 3247782"/>
              <a:gd name="connsiteX4" fmla="*/ 3268050 w 6213970"/>
              <a:gd name="connsiteY4" fmla="*/ 3247347 h 3247782"/>
              <a:gd name="connsiteX5" fmla="*/ 37 w 6213970"/>
              <a:gd name="connsiteY5" fmla="*/ 2303863 h 3247782"/>
              <a:gd name="connsiteX6" fmla="*/ 335225 w 6213970"/>
              <a:gd name="connsiteY6" fmla="*/ 432489 h 3247782"/>
              <a:gd name="connsiteX0" fmla="*/ 335225 w 6147867"/>
              <a:gd name="connsiteY0" fmla="*/ 432489 h 3247782"/>
              <a:gd name="connsiteX1" fmla="*/ 3260633 w 6147867"/>
              <a:gd name="connsiteY1" fmla="*/ 0 h 3247782"/>
              <a:gd name="connsiteX2" fmla="*/ 5748245 w 6147867"/>
              <a:gd name="connsiteY2" fmla="*/ 440703 h 3247782"/>
              <a:gd name="connsiteX3" fmla="*/ 6088634 w 6147867"/>
              <a:gd name="connsiteY3" fmla="*/ 2502888 h 3247782"/>
              <a:gd name="connsiteX4" fmla="*/ 3268050 w 6147867"/>
              <a:gd name="connsiteY4" fmla="*/ 3247347 h 3247782"/>
              <a:gd name="connsiteX5" fmla="*/ 37 w 6147867"/>
              <a:gd name="connsiteY5" fmla="*/ 2303863 h 3247782"/>
              <a:gd name="connsiteX6" fmla="*/ 335225 w 6147867"/>
              <a:gd name="connsiteY6" fmla="*/ 432489 h 3247782"/>
              <a:gd name="connsiteX0" fmla="*/ 335225 w 6088640"/>
              <a:gd name="connsiteY0" fmla="*/ 432489 h 3247782"/>
              <a:gd name="connsiteX1" fmla="*/ 3260633 w 6088640"/>
              <a:gd name="connsiteY1" fmla="*/ 0 h 3247782"/>
              <a:gd name="connsiteX2" fmla="*/ 5748245 w 6088640"/>
              <a:gd name="connsiteY2" fmla="*/ 440703 h 3247782"/>
              <a:gd name="connsiteX3" fmla="*/ 6088634 w 6088640"/>
              <a:gd name="connsiteY3" fmla="*/ 2502888 h 3247782"/>
              <a:gd name="connsiteX4" fmla="*/ 3268050 w 6088640"/>
              <a:gd name="connsiteY4" fmla="*/ 3247347 h 3247782"/>
              <a:gd name="connsiteX5" fmla="*/ 37 w 6088640"/>
              <a:gd name="connsiteY5" fmla="*/ 2303863 h 3247782"/>
              <a:gd name="connsiteX6" fmla="*/ 335225 w 6088640"/>
              <a:gd name="connsiteY6" fmla="*/ 432489 h 3247782"/>
              <a:gd name="connsiteX0" fmla="*/ 335225 w 6088642"/>
              <a:gd name="connsiteY0" fmla="*/ 432489 h 3247782"/>
              <a:gd name="connsiteX1" fmla="*/ 3260633 w 6088642"/>
              <a:gd name="connsiteY1" fmla="*/ 0 h 3247782"/>
              <a:gd name="connsiteX2" fmla="*/ 5748245 w 6088642"/>
              <a:gd name="connsiteY2" fmla="*/ 440703 h 3247782"/>
              <a:gd name="connsiteX3" fmla="*/ 6088634 w 6088642"/>
              <a:gd name="connsiteY3" fmla="*/ 2502888 h 3247782"/>
              <a:gd name="connsiteX4" fmla="*/ 3268050 w 6088642"/>
              <a:gd name="connsiteY4" fmla="*/ 3247347 h 3247782"/>
              <a:gd name="connsiteX5" fmla="*/ 37 w 6088642"/>
              <a:gd name="connsiteY5" fmla="*/ 2303863 h 3247782"/>
              <a:gd name="connsiteX6" fmla="*/ 335225 w 6088642"/>
              <a:gd name="connsiteY6" fmla="*/ 432489 h 3247782"/>
              <a:gd name="connsiteX0" fmla="*/ 335225 w 6088640"/>
              <a:gd name="connsiteY0" fmla="*/ 432489 h 3247782"/>
              <a:gd name="connsiteX1" fmla="*/ 3260633 w 6088640"/>
              <a:gd name="connsiteY1" fmla="*/ 0 h 3247782"/>
              <a:gd name="connsiteX2" fmla="*/ 5748245 w 6088640"/>
              <a:gd name="connsiteY2" fmla="*/ 440703 h 3247782"/>
              <a:gd name="connsiteX3" fmla="*/ 6088634 w 6088640"/>
              <a:gd name="connsiteY3" fmla="*/ 2502888 h 3247782"/>
              <a:gd name="connsiteX4" fmla="*/ 3268050 w 6088640"/>
              <a:gd name="connsiteY4" fmla="*/ 3247347 h 3247782"/>
              <a:gd name="connsiteX5" fmla="*/ 37 w 6088640"/>
              <a:gd name="connsiteY5" fmla="*/ 2303863 h 3247782"/>
              <a:gd name="connsiteX6" fmla="*/ 335225 w 6088640"/>
              <a:gd name="connsiteY6" fmla="*/ 432489 h 3247782"/>
              <a:gd name="connsiteX0" fmla="*/ 335225 w 6088642"/>
              <a:gd name="connsiteY0" fmla="*/ 432489 h 3247782"/>
              <a:gd name="connsiteX1" fmla="*/ 3260633 w 6088642"/>
              <a:gd name="connsiteY1" fmla="*/ 0 h 3247782"/>
              <a:gd name="connsiteX2" fmla="*/ 5748245 w 6088642"/>
              <a:gd name="connsiteY2" fmla="*/ 440703 h 3247782"/>
              <a:gd name="connsiteX3" fmla="*/ 6088634 w 6088642"/>
              <a:gd name="connsiteY3" fmla="*/ 2502888 h 3247782"/>
              <a:gd name="connsiteX4" fmla="*/ 3268050 w 6088642"/>
              <a:gd name="connsiteY4" fmla="*/ 3247347 h 3247782"/>
              <a:gd name="connsiteX5" fmla="*/ 37 w 6088642"/>
              <a:gd name="connsiteY5" fmla="*/ 2303863 h 3247782"/>
              <a:gd name="connsiteX6" fmla="*/ 335225 w 6088642"/>
              <a:gd name="connsiteY6" fmla="*/ 432489 h 3247782"/>
              <a:gd name="connsiteX0" fmla="*/ 353201 w 6106621"/>
              <a:gd name="connsiteY0" fmla="*/ 432489 h 3263671"/>
              <a:gd name="connsiteX1" fmla="*/ 3278609 w 6106621"/>
              <a:gd name="connsiteY1" fmla="*/ 0 h 3263671"/>
              <a:gd name="connsiteX2" fmla="*/ 5766221 w 6106621"/>
              <a:gd name="connsiteY2" fmla="*/ 440703 h 3263671"/>
              <a:gd name="connsiteX3" fmla="*/ 6106610 w 6106621"/>
              <a:gd name="connsiteY3" fmla="*/ 2502888 h 3263671"/>
              <a:gd name="connsiteX4" fmla="*/ 3286026 w 6106621"/>
              <a:gd name="connsiteY4" fmla="*/ 3247347 h 3263671"/>
              <a:gd name="connsiteX5" fmla="*/ 53 w 6106621"/>
              <a:gd name="connsiteY5" fmla="*/ 1620527 h 3263671"/>
              <a:gd name="connsiteX6" fmla="*/ 353201 w 6106621"/>
              <a:gd name="connsiteY6" fmla="*/ 432489 h 3263671"/>
              <a:gd name="connsiteX0" fmla="*/ 353201 w 6106621"/>
              <a:gd name="connsiteY0" fmla="*/ 432489 h 3263671"/>
              <a:gd name="connsiteX1" fmla="*/ 3278609 w 6106621"/>
              <a:gd name="connsiteY1" fmla="*/ 0 h 3263671"/>
              <a:gd name="connsiteX2" fmla="*/ 5766221 w 6106621"/>
              <a:gd name="connsiteY2" fmla="*/ 440703 h 3263671"/>
              <a:gd name="connsiteX3" fmla="*/ 6106610 w 6106621"/>
              <a:gd name="connsiteY3" fmla="*/ 2502888 h 3263671"/>
              <a:gd name="connsiteX4" fmla="*/ 3286026 w 6106621"/>
              <a:gd name="connsiteY4" fmla="*/ 3247347 h 3263671"/>
              <a:gd name="connsiteX5" fmla="*/ 53 w 6106621"/>
              <a:gd name="connsiteY5" fmla="*/ 1620527 h 3263671"/>
              <a:gd name="connsiteX6" fmla="*/ 353201 w 6106621"/>
              <a:gd name="connsiteY6" fmla="*/ 432489 h 3263671"/>
              <a:gd name="connsiteX0" fmla="*/ 353201 w 6106621"/>
              <a:gd name="connsiteY0" fmla="*/ 432489 h 3263671"/>
              <a:gd name="connsiteX1" fmla="*/ 3278609 w 6106621"/>
              <a:gd name="connsiteY1" fmla="*/ 0 h 3263671"/>
              <a:gd name="connsiteX2" fmla="*/ 5766221 w 6106621"/>
              <a:gd name="connsiteY2" fmla="*/ 440703 h 3263671"/>
              <a:gd name="connsiteX3" fmla="*/ 6106610 w 6106621"/>
              <a:gd name="connsiteY3" fmla="*/ 2502888 h 3263671"/>
              <a:gd name="connsiteX4" fmla="*/ 3286026 w 6106621"/>
              <a:gd name="connsiteY4" fmla="*/ 3247347 h 3263671"/>
              <a:gd name="connsiteX5" fmla="*/ 53 w 6106621"/>
              <a:gd name="connsiteY5" fmla="*/ 1620527 h 3263671"/>
              <a:gd name="connsiteX6" fmla="*/ 353201 w 6106621"/>
              <a:gd name="connsiteY6" fmla="*/ 432489 h 3263671"/>
              <a:gd name="connsiteX0" fmla="*/ 464353 w 6217770"/>
              <a:gd name="connsiteY0" fmla="*/ 432489 h 3391714"/>
              <a:gd name="connsiteX1" fmla="*/ 3389761 w 6217770"/>
              <a:gd name="connsiteY1" fmla="*/ 0 h 3391714"/>
              <a:gd name="connsiteX2" fmla="*/ 5877373 w 6217770"/>
              <a:gd name="connsiteY2" fmla="*/ 440703 h 3391714"/>
              <a:gd name="connsiteX3" fmla="*/ 6217762 w 6217770"/>
              <a:gd name="connsiteY3" fmla="*/ 2502888 h 3391714"/>
              <a:gd name="connsiteX4" fmla="*/ 2490214 w 6217770"/>
              <a:gd name="connsiteY4" fmla="*/ 3377277 h 3391714"/>
              <a:gd name="connsiteX5" fmla="*/ 111205 w 6217770"/>
              <a:gd name="connsiteY5" fmla="*/ 1620527 h 3391714"/>
              <a:gd name="connsiteX6" fmla="*/ 464353 w 6217770"/>
              <a:gd name="connsiteY6" fmla="*/ 432489 h 3391714"/>
              <a:gd name="connsiteX0" fmla="*/ 464353 w 6217767"/>
              <a:gd name="connsiteY0" fmla="*/ 432489 h 3377283"/>
              <a:gd name="connsiteX1" fmla="*/ 3389761 w 6217767"/>
              <a:gd name="connsiteY1" fmla="*/ 0 h 3377283"/>
              <a:gd name="connsiteX2" fmla="*/ 5877373 w 6217767"/>
              <a:gd name="connsiteY2" fmla="*/ 440703 h 3377283"/>
              <a:gd name="connsiteX3" fmla="*/ 6217762 w 6217767"/>
              <a:gd name="connsiteY3" fmla="*/ 2502888 h 3377283"/>
              <a:gd name="connsiteX4" fmla="*/ 2490214 w 6217767"/>
              <a:gd name="connsiteY4" fmla="*/ 3377277 h 3377283"/>
              <a:gd name="connsiteX5" fmla="*/ 111205 w 6217767"/>
              <a:gd name="connsiteY5" fmla="*/ 1620527 h 3377283"/>
              <a:gd name="connsiteX6" fmla="*/ 464353 w 6217767"/>
              <a:gd name="connsiteY6" fmla="*/ 432489 h 3377283"/>
              <a:gd name="connsiteX0" fmla="*/ 464353 w 6217767"/>
              <a:gd name="connsiteY0" fmla="*/ 432489 h 3377435"/>
              <a:gd name="connsiteX1" fmla="*/ 3389761 w 6217767"/>
              <a:gd name="connsiteY1" fmla="*/ 0 h 3377435"/>
              <a:gd name="connsiteX2" fmla="*/ 5877373 w 6217767"/>
              <a:gd name="connsiteY2" fmla="*/ 440703 h 3377435"/>
              <a:gd name="connsiteX3" fmla="*/ 6217762 w 6217767"/>
              <a:gd name="connsiteY3" fmla="*/ 2502888 h 3377435"/>
              <a:gd name="connsiteX4" fmla="*/ 2490214 w 6217767"/>
              <a:gd name="connsiteY4" fmla="*/ 3377277 h 3377435"/>
              <a:gd name="connsiteX5" fmla="*/ 111205 w 6217767"/>
              <a:gd name="connsiteY5" fmla="*/ 1620527 h 3377435"/>
              <a:gd name="connsiteX6" fmla="*/ 464353 w 6217767"/>
              <a:gd name="connsiteY6" fmla="*/ 432489 h 3377435"/>
              <a:gd name="connsiteX0" fmla="*/ 464353 w 6217767"/>
              <a:gd name="connsiteY0" fmla="*/ 432489 h 3377435"/>
              <a:gd name="connsiteX1" fmla="*/ 3389761 w 6217767"/>
              <a:gd name="connsiteY1" fmla="*/ 0 h 3377435"/>
              <a:gd name="connsiteX2" fmla="*/ 5877373 w 6217767"/>
              <a:gd name="connsiteY2" fmla="*/ 440703 h 3377435"/>
              <a:gd name="connsiteX3" fmla="*/ 6217762 w 6217767"/>
              <a:gd name="connsiteY3" fmla="*/ 2502888 h 3377435"/>
              <a:gd name="connsiteX4" fmla="*/ 2490214 w 6217767"/>
              <a:gd name="connsiteY4" fmla="*/ 3377277 h 3377435"/>
              <a:gd name="connsiteX5" fmla="*/ 111205 w 6217767"/>
              <a:gd name="connsiteY5" fmla="*/ 1620527 h 3377435"/>
              <a:gd name="connsiteX6" fmla="*/ 464353 w 6217767"/>
              <a:gd name="connsiteY6" fmla="*/ 432489 h 3377435"/>
              <a:gd name="connsiteX0" fmla="*/ 464353 w 6217767"/>
              <a:gd name="connsiteY0" fmla="*/ 432489 h 3377435"/>
              <a:gd name="connsiteX1" fmla="*/ 3389761 w 6217767"/>
              <a:gd name="connsiteY1" fmla="*/ 0 h 3377435"/>
              <a:gd name="connsiteX2" fmla="*/ 5877373 w 6217767"/>
              <a:gd name="connsiteY2" fmla="*/ 440703 h 3377435"/>
              <a:gd name="connsiteX3" fmla="*/ 6217762 w 6217767"/>
              <a:gd name="connsiteY3" fmla="*/ 2502888 h 3377435"/>
              <a:gd name="connsiteX4" fmla="*/ 2490214 w 6217767"/>
              <a:gd name="connsiteY4" fmla="*/ 3377277 h 3377435"/>
              <a:gd name="connsiteX5" fmla="*/ 111205 w 6217767"/>
              <a:gd name="connsiteY5" fmla="*/ 1620527 h 3377435"/>
              <a:gd name="connsiteX6" fmla="*/ 464353 w 6217767"/>
              <a:gd name="connsiteY6" fmla="*/ 432489 h 3377435"/>
              <a:gd name="connsiteX0" fmla="*/ 464353 w 6217767"/>
              <a:gd name="connsiteY0" fmla="*/ 432489 h 3377435"/>
              <a:gd name="connsiteX1" fmla="*/ 3389761 w 6217767"/>
              <a:gd name="connsiteY1" fmla="*/ 0 h 3377435"/>
              <a:gd name="connsiteX2" fmla="*/ 5877373 w 6217767"/>
              <a:gd name="connsiteY2" fmla="*/ 440703 h 3377435"/>
              <a:gd name="connsiteX3" fmla="*/ 6217762 w 6217767"/>
              <a:gd name="connsiteY3" fmla="*/ 2502888 h 3377435"/>
              <a:gd name="connsiteX4" fmla="*/ 2490214 w 6217767"/>
              <a:gd name="connsiteY4" fmla="*/ 3377277 h 3377435"/>
              <a:gd name="connsiteX5" fmla="*/ 111205 w 6217767"/>
              <a:gd name="connsiteY5" fmla="*/ 1620527 h 3377435"/>
              <a:gd name="connsiteX6" fmla="*/ 464353 w 6217767"/>
              <a:gd name="connsiteY6" fmla="*/ 432489 h 3377435"/>
              <a:gd name="connsiteX0" fmla="*/ 353260 w 6106674"/>
              <a:gd name="connsiteY0" fmla="*/ 432489 h 3377439"/>
              <a:gd name="connsiteX1" fmla="*/ 3278668 w 6106674"/>
              <a:gd name="connsiteY1" fmla="*/ 0 h 3377439"/>
              <a:gd name="connsiteX2" fmla="*/ 5766280 w 6106674"/>
              <a:gd name="connsiteY2" fmla="*/ 440703 h 3377439"/>
              <a:gd name="connsiteX3" fmla="*/ 6106669 w 6106674"/>
              <a:gd name="connsiteY3" fmla="*/ 2502888 h 3377439"/>
              <a:gd name="connsiteX4" fmla="*/ 2379121 w 6106674"/>
              <a:gd name="connsiteY4" fmla="*/ 3377277 h 3377439"/>
              <a:gd name="connsiteX5" fmla="*/ 112 w 6106674"/>
              <a:gd name="connsiteY5" fmla="*/ 1620527 h 3377439"/>
              <a:gd name="connsiteX6" fmla="*/ 353260 w 6106674"/>
              <a:gd name="connsiteY6" fmla="*/ 432489 h 3377439"/>
              <a:gd name="connsiteX0" fmla="*/ 353204 w 6106618"/>
              <a:gd name="connsiteY0" fmla="*/ 432489 h 3377392"/>
              <a:gd name="connsiteX1" fmla="*/ 3278612 w 6106618"/>
              <a:gd name="connsiteY1" fmla="*/ 0 h 3377392"/>
              <a:gd name="connsiteX2" fmla="*/ 5766224 w 6106618"/>
              <a:gd name="connsiteY2" fmla="*/ 440703 h 3377392"/>
              <a:gd name="connsiteX3" fmla="*/ 6106613 w 6106618"/>
              <a:gd name="connsiteY3" fmla="*/ 2502888 h 3377392"/>
              <a:gd name="connsiteX4" fmla="*/ 2379065 w 6106618"/>
              <a:gd name="connsiteY4" fmla="*/ 3377277 h 3377392"/>
              <a:gd name="connsiteX5" fmla="*/ 56 w 6106618"/>
              <a:gd name="connsiteY5" fmla="*/ 1620527 h 3377392"/>
              <a:gd name="connsiteX6" fmla="*/ 353204 w 6106618"/>
              <a:gd name="connsiteY6" fmla="*/ 432489 h 3377392"/>
              <a:gd name="connsiteX0" fmla="*/ 353202 w 6106616"/>
              <a:gd name="connsiteY0" fmla="*/ 432489 h 3377392"/>
              <a:gd name="connsiteX1" fmla="*/ 3278610 w 6106616"/>
              <a:gd name="connsiteY1" fmla="*/ 0 h 3377392"/>
              <a:gd name="connsiteX2" fmla="*/ 5766222 w 6106616"/>
              <a:gd name="connsiteY2" fmla="*/ 440703 h 3377392"/>
              <a:gd name="connsiteX3" fmla="*/ 6106611 w 6106616"/>
              <a:gd name="connsiteY3" fmla="*/ 2502888 h 3377392"/>
              <a:gd name="connsiteX4" fmla="*/ 2379063 w 6106616"/>
              <a:gd name="connsiteY4" fmla="*/ 3377277 h 3377392"/>
              <a:gd name="connsiteX5" fmla="*/ 54 w 6106616"/>
              <a:gd name="connsiteY5" fmla="*/ 1620527 h 3377392"/>
              <a:gd name="connsiteX6" fmla="*/ 353202 w 6106616"/>
              <a:gd name="connsiteY6" fmla="*/ 432489 h 3377392"/>
              <a:gd name="connsiteX0" fmla="*/ 353202 w 6106616"/>
              <a:gd name="connsiteY0" fmla="*/ 600917 h 3545820"/>
              <a:gd name="connsiteX1" fmla="*/ 2919417 w 6106616"/>
              <a:gd name="connsiteY1" fmla="*/ 0 h 3545820"/>
              <a:gd name="connsiteX2" fmla="*/ 5766222 w 6106616"/>
              <a:gd name="connsiteY2" fmla="*/ 609131 h 3545820"/>
              <a:gd name="connsiteX3" fmla="*/ 6106611 w 6106616"/>
              <a:gd name="connsiteY3" fmla="*/ 2671316 h 3545820"/>
              <a:gd name="connsiteX4" fmla="*/ 2379063 w 6106616"/>
              <a:gd name="connsiteY4" fmla="*/ 3545705 h 3545820"/>
              <a:gd name="connsiteX5" fmla="*/ 54 w 6106616"/>
              <a:gd name="connsiteY5" fmla="*/ 1788955 h 3545820"/>
              <a:gd name="connsiteX6" fmla="*/ 353202 w 6106616"/>
              <a:gd name="connsiteY6" fmla="*/ 600917 h 3545820"/>
              <a:gd name="connsiteX0" fmla="*/ 353202 w 6116436"/>
              <a:gd name="connsiteY0" fmla="*/ 600917 h 3545820"/>
              <a:gd name="connsiteX1" fmla="*/ 2919417 w 6116436"/>
              <a:gd name="connsiteY1" fmla="*/ 0 h 3545820"/>
              <a:gd name="connsiteX2" fmla="*/ 6116436 w 6116436"/>
              <a:gd name="connsiteY2" fmla="*/ 1143288 h 3545820"/>
              <a:gd name="connsiteX3" fmla="*/ 6106611 w 6116436"/>
              <a:gd name="connsiteY3" fmla="*/ 2671316 h 3545820"/>
              <a:gd name="connsiteX4" fmla="*/ 2379063 w 6116436"/>
              <a:gd name="connsiteY4" fmla="*/ 3545705 h 3545820"/>
              <a:gd name="connsiteX5" fmla="*/ 54 w 6116436"/>
              <a:gd name="connsiteY5" fmla="*/ 1788955 h 3545820"/>
              <a:gd name="connsiteX6" fmla="*/ 353202 w 6116436"/>
              <a:gd name="connsiteY6" fmla="*/ 600917 h 3545820"/>
              <a:gd name="connsiteX0" fmla="*/ 353202 w 6116436"/>
              <a:gd name="connsiteY0" fmla="*/ 600917 h 3545820"/>
              <a:gd name="connsiteX1" fmla="*/ 2919417 w 6116436"/>
              <a:gd name="connsiteY1" fmla="*/ 0 h 3545820"/>
              <a:gd name="connsiteX2" fmla="*/ 6116436 w 6116436"/>
              <a:gd name="connsiteY2" fmla="*/ 1143288 h 3545820"/>
              <a:gd name="connsiteX3" fmla="*/ 5774357 w 6116436"/>
              <a:gd name="connsiteY3" fmla="*/ 2714626 h 3545820"/>
              <a:gd name="connsiteX4" fmla="*/ 2379063 w 6116436"/>
              <a:gd name="connsiteY4" fmla="*/ 3545705 h 3545820"/>
              <a:gd name="connsiteX5" fmla="*/ 54 w 6116436"/>
              <a:gd name="connsiteY5" fmla="*/ 1788955 h 3545820"/>
              <a:gd name="connsiteX6" fmla="*/ 353202 w 6116436"/>
              <a:gd name="connsiteY6" fmla="*/ 600917 h 3545820"/>
              <a:gd name="connsiteX0" fmla="*/ 353202 w 6089496"/>
              <a:gd name="connsiteY0" fmla="*/ 600917 h 3545820"/>
              <a:gd name="connsiteX1" fmla="*/ 2919417 w 6089496"/>
              <a:gd name="connsiteY1" fmla="*/ 0 h 3545820"/>
              <a:gd name="connsiteX2" fmla="*/ 6089496 w 6089496"/>
              <a:gd name="connsiteY2" fmla="*/ 859366 h 3545820"/>
              <a:gd name="connsiteX3" fmla="*/ 5774357 w 6089496"/>
              <a:gd name="connsiteY3" fmla="*/ 2714626 h 3545820"/>
              <a:gd name="connsiteX4" fmla="*/ 2379063 w 6089496"/>
              <a:gd name="connsiteY4" fmla="*/ 3545705 h 3545820"/>
              <a:gd name="connsiteX5" fmla="*/ 54 w 6089496"/>
              <a:gd name="connsiteY5" fmla="*/ 1788955 h 3545820"/>
              <a:gd name="connsiteX6" fmla="*/ 353202 w 6089496"/>
              <a:gd name="connsiteY6" fmla="*/ 600917 h 3545820"/>
              <a:gd name="connsiteX0" fmla="*/ 371161 w 6107455"/>
              <a:gd name="connsiteY0" fmla="*/ 600917 h 3545868"/>
              <a:gd name="connsiteX1" fmla="*/ 2937376 w 6107455"/>
              <a:gd name="connsiteY1" fmla="*/ 0 h 3545868"/>
              <a:gd name="connsiteX2" fmla="*/ 6107455 w 6107455"/>
              <a:gd name="connsiteY2" fmla="*/ 859366 h 3545868"/>
              <a:gd name="connsiteX3" fmla="*/ 5792316 w 6107455"/>
              <a:gd name="connsiteY3" fmla="*/ 2714626 h 3545868"/>
              <a:gd name="connsiteX4" fmla="*/ 2397022 w 6107455"/>
              <a:gd name="connsiteY4" fmla="*/ 3545705 h 3545868"/>
              <a:gd name="connsiteX5" fmla="*/ 53 w 6107455"/>
              <a:gd name="connsiteY5" fmla="*/ 2318299 h 3545868"/>
              <a:gd name="connsiteX6" fmla="*/ 371161 w 6107455"/>
              <a:gd name="connsiteY6" fmla="*/ 600917 h 3545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07455" h="3545868">
                <a:moveTo>
                  <a:pt x="371161" y="600917"/>
                </a:moveTo>
                <a:lnTo>
                  <a:pt x="2937376" y="0"/>
                </a:lnTo>
                <a:lnTo>
                  <a:pt x="6107455" y="859366"/>
                </a:lnTo>
                <a:cubicBezTo>
                  <a:pt x="6099270" y="858586"/>
                  <a:pt x="5792536" y="2713081"/>
                  <a:pt x="5792316" y="2714626"/>
                </a:cubicBezTo>
                <a:cubicBezTo>
                  <a:pt x="5797695" y="2711140"/>
                  <a:pt x="2418019" y="3548398"/>
                  <a:pt x="2397022" y="3545705"/>
                </a:cubicBezTo>
                <a:cubicBezTo>
                  <a:pt x="2411945" y="3562261"/>
                  <a:pt x="-13142" y="2317762"/>
                  <a:pt x="53" y="2318299"/>
                </a:cubicBezTo>
                <a:cubicBezTo>
                  <a:pt x="11032" y="2318746"/>
                  <a:pt x="383164" y="598220"/>
                  <a:pt x="371161" y="600917"/>
                </a:cubicBezTo>
                <a:close/>
              </a:path>
            </a:pathLst>
          </a:custGeom>
          <a:ln w="50800">
            <a:noFill/>
          </a:ln>
        </p:spPr>
        <p:txBody>
          <a:bodyPr/>
          <a:lstStyle/>
          <a:p>
            <a:pPr marL="304778" marR="0" lvl="0" indent="-304778" algn="l" defTabSz="1219108" rtl="0" eaLnBrk="1" fontAlgn="auto" latinLnBrk="0" hangingPunct="1">
              <a:lnSpc>
                <a:spcPct val="90000"/>
              </a:lnSpc>
              <a:spcBef>
                <a:spcPts val="1333"/>
              </a:spcBef>
              <a:spcAft>
                <a:spcPts val="0"/>
              </a:spcAft>
              <a:buClrTx/>
              <a:buSzTx/>
              <a:buFont typeface="Arial" panose="020B0604020202020204" pitchFamily="34" charset="0"/>
              <a:buNone/>
              <a:tabLst/>
              <a:defRPr/>
            </a:pPr>
            <a:r>
              <a:rPr lang="en-US" noProof="0"/>
              <a:t>Picture</a:t>
            </a:r>
          </a:p>
        </p:txBody>
      </p:sp>
      <p:sp>
        <p:nvSpPr>
          <p:cNvPr id="4" name="Marcador de texto 6">
            <a:extLst>
              <a:ext uri="{FF2B5EF4-FFF2-40B4-BE49-F238E27FC236}">
                <a16:creationId xmlns:a16="http://schemas.microsoft.com/office/drawing/2014/main" id="{72967276-B46D-21BF-54C9-5CACE1E49440}"/>
              </a:ext>
            </a:extLst>
          </p:cNvPr>
          <p:cNvSpPr>
            <a:spLocks noGrp="1"/>
          </p:cNvSpPr>
          <p:nvPr>
            <p:ph type="body" sz="quarter" idx="19" hasCustomPrompt="1"/>
          </p:nvPr>
        </p:nvSpPr>
        <p:spPr>
          <a:xfrm>
            <a:off x="239184" y="6341105"/>
            <a:ext cx="960965" cy="310299"/>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3"/>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6" name="Marcador de texto 5">
            <a:extLst>
              <a:ext uri="{FF2B5EF4-FFF2-40B4-BE49-F238E27FC236}">
                <a16:creationId xmlns:a16="http://schemas.microsoft.com/office/drawing/2014/main" id="{FE3A7675-EDA7-E1A2-4922-A4BF03EEE4E2}"/>
              </a:ext>
            </a:extLst>
          </p:cNvPr>
          <p:cNvSpPr>
            <a:spLocks noGrp="1"/>
          </p:cNvSpPr>
          <p:nvPr>
            <p:ph type="body" sz="quarter" idx="26" hasCustomPrompt="1"/>
          </p:nvPr>
        </p:nvSpPr>
        <p:spPr>
          <a:xfrm>
            <a:off x="4039281" y="6417750"/>
            <a:ext cx="4113439" cy="195084"/>
          </a:xfrm>
          <a:prstGeom prst="rect">
            <a:avLst/>
          </a:prstGeom>
        </p:spPr>
        <p:txBody>
          <a:bodyPr/>
          <a:lstStyle>
            <a:lvl1pPr marL="0" indent="0" algn="ctr">
              <a:buNone/>
              <a:defRPr sz="933">
                <a:solidFill>
                  <a:schemeClr val="accent1"/>
                </a:solidFill>
              </a:defRPr>
            </a:lvl1pPr>
          </a:lstStyle>
          <a:p>
            <a:r>
              <a:rPr lang="es-ES" err="1"/>
              <a:t>Lorem</a:t>
            </a:r>
            <a:r>
              <a:rPr lang="es-ES"/>
              <a:t> </a:t>
            </a:r>
            <a:r>
              <a:rPr lang="es-ES" err="1"/>
              <a:t>ipsum</a:t>
            </a:r>
            <a:r>
              <a:rPr lang="es-ES"/>
              <a:t> dolor </a:t>
            </a:r>
            <a:r>
              <a:rPr lang="es-ES" err="1"/>
              <a:t>sit</a:t>
            </a:r>
            <a:r>
              <a:rPr lang="es-ES"/>
              <a:t> </a:t>
            </a:r>
            <a:r>
              <a:rPr lang="es-ES" err="1"/>
              <a:t>amet</a:t>
            </a:r>
            <a:r>
              <a:rPr lang="es-ES"/>
              <a:t>.</a:t>
            </a:r>
          </a:p>
        </p:txBody>
      </p:sp>
      <p:sp>
        <p:nvSpPr>
          <p:cNvPr id="8" name="Slide Number Placeholder 5">
            <a:extLst>
              <a:ext uri="{FF2B5EF4-FFF2-40B4-BE49-F238E27FC236}">
                <a16:creationId xmlns:a16="http://schemas.microsoft.com/office/drawing/2014/main" id="{A56BD51D-68A1-530A-5C90-BFFC2DB7EC89}"/>
              </a:ext>
            </a:extLst>
          </p:cNvPr>
          <p:cNvSpPr>
            <a:spLocks noGrp="1"/>
          </p:cNvSpPr>
          <p:nvPr>
            <p:ph type="sldNum" sz="quarter" idx="4"/>
          </p:nvPr>
        </p:nvSpPr>
        <p:spPr>
          <a:xfrm>
            <a:off x="10910403" y="6356351"/>
            <a:ext cx="1042415" cy="365125"/>
          </a:xfrm>
          <a:prstGeom prst="rect">
            <a:avLst/>
          </a:prstGeom>
        </p:spPr>
        <p:txBody>
          <a:bodyPr vert="horz" lIns="91440" tIns="45720" rIns="91440" bIns="45720" rtlCol="0" anchor="ctr"/>
          <a:lstStyle>
            <a:lvl1pPr algn="r">
              <a:defRPr sz="933">
                <a:solidFill>
                  <a:schemeClr val="accent1"/>
                </a:solidFill>
              </a:defRPr>
            </a:lvl1pPr>
          </a:lstStyle>
          <a:p>
            <a:fld id="{96F64DD7-E411-6141-89FE-121B5323FD5F}" type="slidenum">
              <a:rPr lang="en-US" smtClean="0"/>
              <a:pPr/>
              <a:t>‹Nº›</a:t>
            </a:fld>
            <a:endParaRPr lang="en-US"/>
          </a:p>
        </p:txBody>
      </p:sp>
    </p:spTree>
    <p:extLst>
      <p:ext uri="{BB962C8B-B14F-4D97-AF65-F5344CB8AC3E}">
        <p14:creationId xmlns:p14="http://schemas.microsoft.com/office/powerpoint/2010/main" val="771088770"/>
      </p:ext>
    </p:extLst>
  </p:cSld>
  <p:clrMapOvr>
    <a:masterClrMapping/>
  </p:clrMapOvr>
  <p:extLst>
    <p:ext uri="{DCECCB84-F9BA-43D5-87BE-67443E8EF086}">
      <p15:sldGuideLst xmlns:p15="http://schemas.microsoft.com/office/powerpoint/2012/main">
        <p15:guide id="1" orient="horz" pos="2867">
          <p15:clr>
            <a:srgbClr val="FBAE40"/>
          </p15:clr>
        </p15:guide>
        <p15:guide id="2" pos="2880">
          <p15:clr>
            <a:srgbClr val="FBAE40"/>
          </p15:clr>
        </p15:guide>
        <p15:guide id="3" orient="horz" pos="35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 Image 3">
    <p:bg>
      <p:bgPr>
        <a:solidFill>
          <a:schemeClr val="bg1"/>
        </a:solidFill>
        <a:effectLst/>
      </p:bgPr>
    </p:bg>
    <p:spTree>
      <p:nvGrpSpPr>
        <p:cNvPr id="1" name=""/>
        <p:cNvGrpSpPr/>
        <p:nvPr/>
      </p:nvGrpSpPr>
      <p:grpSpPr>
        <a:xfrm>
          <a:off x="0" y="0"/>
          <a:ext cx="0" cy="0"/>
          <a:chOff x="0" y="0"/>
          <a:chExt cx="0" cy="0"/>
        </a:xfrm>
      </p:grpSpPr>
      <p:sp>
        <p:nvSpPr>
          <p:cNvPr id="7" name="Marcador de imagen 7">
            <a:extLst>
              <a:ext uri="{FF2B5EF4-FFF2-40B4-BE49-F238E27FC236}">
                <a16:creationId xmlns:a16="http://schemas.microsoft.com/office/drawing/2014/main" id="{1CB64C5B-97F4-0D5F-B624-BC1B6A3C66FA}"/>
              </a:ext>
            </a:extLst>
          </p:cNvPr>
          <p:cNvSpPr>
            <a:spLocks noGrp="1"/>
          </p:cNvSpPr>
          <p:nvPr>
            <p:ph type="pic" sz="quarter" idx="20" hasCustomPrompt="1"/>
          </p:nvPr>
        </p:nvSpPr>
        <p:spPr>
          <a:xfrm>
            <a:off x="7167285" y="3180"/>
            <a:ext cx="5034089" cy="6871749"/>
          </a:xfrm>
          <a:custGeom>
            <a:avLst/>
            <a:gdLst>
              <a:gd name="connsiteX0" fmla="*/ 0 w 8411266"/>
              <a:gd name="connsiteY0" fmla="*/ 0 h 2915921"/>
              <a:gd name="connsiteX1" fmla="*/ 8411266 w 8411266"/>
              <a:gd name="connsiteY1" fmla="*/ 0 h 2915921"/>
              <a:gd name="connsiteX2" fmla="*/ 8411266 w 8411266"/>
              <a:gd name="connsiteY2" fmla="*/ 2915921 h 2915921"/>
              <a:gd name="connsiteX3" fmla="*/ 0 w 8411266"/>
              <a:gd name="connsiteY3" fmla="*/ 2915921 h 2915921"/>
              <a:gd name="connsiteX4" fmla="*/ 0 w 8411266"/>
              <a:gd name="connsiteY4" fmla="*/ 0 h 2915921"/>
              <a:gd name="connsiteX0" fmla="*/ 0 w 8411266"/>
              <a:gd name="connsiteY0" fmla="*/ 0 h 2915922"/>
              <a:gd name="connsiteX1" fmla="*/ 8411266 w 8411266"/>
              <a:gd name="connsiteY1" fmla="*/ 0 h 2915922"/>
              <a:gd name="connsiteX2" fmla="*/ 8411266 w 8411266"/>
              <a:gd name="connsiteY2" fmla="*/ 2915921 h 2915922"/>
              <a:gd name="connsiteX3" fmla="*/ 7668987 w 8411266"/>
              <a:gd name="connsiteY3" fmla="*/ 2915922 h 2915922"/>
              <a:gd name="connsiteX4" fmla="*/ 0 w 8411266"/>
              <a:gd name="connsiteY4" fmla="*/ 2915921 h 2915922"/>
              <a:gd name="connsiteX5" fmla="*/ 0 w 8411266"/>
              <a:gd name="connsiteY5" fmla="*/ 0 h 2915922"/>
              <a:gd name="connsiteX0" fmla="*/ 0 w 8411266"/>
              <a:gd name="connsiteY0" fmla="*/ 0 h 2915922"/>
              <a:gd name="connsiteX1" fmla="*/ 8411266 w 8411266"/>
              <a:gd name="connsiteY1" fmla="*/ 0 h 2915922"/>
              <a:gd name="connsiteX2" fmla="*/ 8405886 w 8411266"/>
              <a:gd name="connsiteY2" fmla="*/ 2238189 h 2915922"/>
              <a:gd name="connsiteX3" fmla="*/ 8411266 w 8411266"/>
              <a:gd name="connsiteY3" fmla="*/ 2915921 h 2915922"/>
              <a:gd name="connsiteX4" fmla="*/ 7668987 w 8411266"/>
              <a:gd name="connsiteY4" fmla="*/ 2915922 h 2915922"/>
              <a:gd name="connsiteX5" fmla="*/ 0 w 8411266"/>
              <a:gd name="connsiteY5" fmla="*/ 2915921 h 2915922"/>
              <a:gd name="connsiteX6" fmla="*/ 0 w 8411266"/>
              <a:gd name="connsiteY6" fmla="*/ 0 h 2915922"/>
              <a:gd name="connsiteX0" fmla="*/ 0 w 8411782"/>
              <a:gd name="connsiteY0" fmla="*/ 0 h 2915922"/>
              <a:gd name="connsiteX1" fmla="*/ 8411266 w 8411782"/>
              <a:gd name="connsiteY1" fmla="*/ 0 h 2915922"/>
              <a:gd name="connsiteX2" fmla="*/ 8411265 w 8411782"/>
              <a:gd name="connsiteY2" fmla="*/ 2211294 h 2915922"/>
              <a:gd name="connsiteX3" fmla="*/ 8411266 w 8411782"/>
              <a:gd name="connsiteY3" fmla="*/ 2915921 h 2915922"/>
              <a:gd name="connsiteX4" fmla="*/ 7668987 w 8411782"/>
              <a:gd name="connsiteY4" fmla="*/ 2915922 h 2915922"/>
              <a:gd name="connsiteX5" fmla="*/ 0 w 8411782"/>
              <a:gd name="connsiteY5" fmla="*/ 2915921 h 2915922"/>
              <a:gd name="connsiteX6" fmla="*/ 0 w 8411782"/>
              <a:gd name="connsiteY6" fmla="*/ 0 h 2915922"/>
              <a:gd name="connsiteX0" fmla="*/ 0 w 8519559"/>
              <a:gd name="connsiteY0" fmla="*/ 0 h 2915922"/>
              <a:gd name="connsiteX1" fmla="*/ 8411266 w 8519559"/>
              <a:gd name="connsiteY1" fmla="*/ 0 h 2915922"/>
              <a:gd name="connsiteX2" fmla="*/ 8411265 w 8519559"/>
              <a:gd name="connsiteY2" fmla="*/ 2211294 h 2915922"/>
              <a:gd name="connsiteX3" fmla="*/ 7668987 w 8519559"/>
              <a:gd name="connsiteY3" fmla="*/ 2915922 h 2915922"/>
              <a:gd name="connsiteX4" fmla="*/ 0 w 8519559"/>
              <a:gd name="connsiteY4" fmla="*/ 2915921 h 2915922"/>
              <a:gd name="connsiteX5" fmla="*/ 0 w 8519559"/>
              <a:gd name="connsiteY5" fmla="*/ 0 h 2915922"/>
              <a:gd name="connsiteX0" fmla="*/ 0 w 8568374"/>
              <a:gd name="connsiteY0" fmla="*/ 0 h 2915922"/>
              <a:gd name="connsiteX1" fmla="*/ 8411266 w 8568374"/>
              <a:gd name="connsiteY1" fmla="*/ 0 h 2915922"/>
              <a:gd name="connsiteX2" fmla="*/ 8411265 w 8568374"/>
              <a:gd name="connsiteY2" fmla="*/ 2211294 h 2915922"/>
              <a:gd name="connsiteX3" fmla="*/ 7668987 w 8568374"/>
              <a:gd name="connsiteY3" fmla="*/ 2915922 h 2915922"/>
              <a:gd name="connsiteX4" fmla="*/ 0 w 8568374"/>
              <a:gd name="connsiteY4" fmla="*/ 2915921 h 2915922"/>
              <a:gd name="connsiteX5" fmla="*/ 0 w 8568374"/>
              <a:gd name="connsiteY5" fmla="*/ 0 h 2915922"/>
              <a:gd name="connsiteX0" fmla="*/ 0 w 8411782"/>
              <a:gd name="connsiteY0" fmla="*/ 0 h 2915922"/>
              <a:gd name="connsiteX1" fmla="*/ 8411266 w 8411782"/>
              <a:gd name="connsiteY1" fmla="*/ 0 h 2915922"/>
              <a:gd name="connsiteX2" fmla="*/ 8411265 w 8411782"/>
              <a:gd name="connsiteY2" fmla="*/ 2211294 h 2915922"/>
              <a:gd name="connsiteX3" fmla="*/ 7668987 w 8411782"/>
              <a:gd name="connsiteY3" fmla="*/ 2915922 h 2915922"/>
              <a:gd name="connsiteX4" fmla="*/ 0 w 8411782"/>
              <a:gd name="connsiteY4" fmla="*/ 2915921 h 2915922"/>
              <a:gd name="connsiteX5" fmla="*/ 0 w 8411782"/>
              <a:gd name="connsiteY5" fmla="*/ 0 h 2915922"/>
              <a:gd name="connsiteX0" fmla="*/ 0 w 8418465"/>
              <a:gd name="connsiteY0" fmla="*/ 0 h 2915922"/>
              <a:gd name="connsiteX1" fmla="*/ 8411266 w 8418465"/>
              <a:gd name="connsiteY1" fmla="*/ 0 h 2915922"/>
              <a:gd name="connsiteX2" fmla="*/ 8418046 w 8418465"/>
              <a:gd name="connsiteY2" fmla="*/ 2519966 h 2915922"/>
              <a:gd name="connsiteX3" fmla="*/ 7668987 w 8418465"/>
              <a:gd name="connsiteY3" fmla="*/ 2915922 h 2915922"/>
              <a:gd name="connsiteX4" fmla="*/ 0 w 8418465"/>
              <a:gd name="connsiteY4" fmla="*/ 2915921 h 2915922"/>
              <a:gd name="connsiteX5" fmla="*/ 0 w 8418465"/>
              <a:gd name="connsiteY5" fmla="*/ 0 h 2915922"/>
              <a:gd name="connsiteX0" fmla="*/ 0 w 8425205"/>
              <a:gd name="connsiteY0" fmla="*/ 0 h 2915922"/>
              <a:gd name="connsiteX1" fmla="*/ 8411266 w 8425205"/>
              <a:gd name="connsiteY1" fmla="*/ 0 h 2915922"/>
              <a:gd name="connsiteX2" fmla="*/ 8424827 w 8425205"/>
              <a:gd name="connsiteY2" fmla="*/ 2522560 h 2915922"/>
              <a:gd name="connsiteX3" fmla="*/ 7668987 w 8425205"/>
              <a:gd name="connsiteY3" fmla="*/ 2915922 h 2915922"/>
              <a:gd name="connsiteX4" fmla="*/ 0 w 8425205"/>
              <a:gd name="connsiteY4" fmla="*/ 2915921 h 2915922"/>
              <a:gd name="connsiteX5" fmla="*/ 0 w 8425205"/>
              <a:gd name="connsiteY5" fmla="*/ 0 h 2915922"/>
              <a:gd name="connsiteX0" fmla="*/ 0 w 8411783"/>
              <a:gd name="connsiteY0" fmla="*/ 0 h 2915922"/>
              <a:gd name="connsiteX1" fmla="*/ 8411266 w 8411783"/>
              <a:gd name="connsiteY1" fmla="*/ 0 h 2915922"/>
              <a:gd name="connsiteX2" fmla="*/ 8411265 w 8411783"/>
              <a:gd name="connsiteY2" fmla="*/ 2506997 h 2915922"/>
              <a:gd name="connsiteX3" fmla="*/ 7668987 w 8411783"/>
              <a:gd name="connsiteY3" fmla="*/ 2915922 h 2915922"/>
              <a:gd name="connsiteX4" fmla="*/ 0 w 8411783"/>
              <a:gd name="connsiteY4" fmla="*/ 2915921 h 2915922"/>
              <a:gd name="connsiteX5" fmla="*/ 0 w 8411783"/>
              <a:gd name="connsiteY5" fmla="*/ 0 h 2915922"/>
              <a:gd name="connsiteX0" fmla="*/ 0 w 8411781"/>
              <a:gd name="connsiteY0" fmla="*/ 0 h 2918516"/>
              <a:gd name="connsiteX1" fmla="*/ 8411266 w 8411781"/>
              <a:gd name="connsiteY1" fmla="*/ 0 h 2918516"/>
              <a:gd name="connsiteX2" fmla="*/ 8411265 w 8411781"/>
              <a:gd name="connsiteY2" fmla="*/ 2506997 h 2918516"/>
              <a:gd name="connsiteX3" fmla="*/ 7431649 w 8411781"/>
              <a:gd name="connsiteY3" fmla="*/ 2918516 h 2918516"/>
              <a:gd name="connsiteX4" fmla="*/ 0 w 8411781"/>
              <a:gd name="connsiteY4" fmla="*/ 2915921 h 2918516"/>
              <a:gd name="connsiteX5" fmla="*/ 0 w 8411781"/>
              <a:gd name="connsiteY5" fmla="*/ 0 h 2918516"/>
              <a:gd name="connsiteX0" fmla="*/ 0 w 8411783"/>
              <a:gd name="connsiteY0" fmla="*/ 0 h 2921109"/>
              <a:gd name="connsiteX1" fmla="*/ 8411266 w 8411783"/>
              <a:gd name="connsiteY1" fmla="*/ 0 h 2921109"/>
              <a:gd name="connsiteX2" fmla="*/ 8411265 w 8411783"/>
              <a:gd name="connsiteY2" fmla="*/ 2506997 h 2921109"/>
              <a:gd name="connsiteX3" fmla="*/ 7431649 w 8411783"/>
              <a:gd name="connsiteY3" fmla="*/ 2918516 h 2921109"/>
              <a:gd name="connsiteX4" fmla="*/ 0 w 8411783"/>
              <a:gd name="connsiteY4" fmla="*/ 2921109 h 2921109"/>
              <a:gd name="connsiteX5" fmla="*/ 0 w 8411783"/>
              <a:gd name="connsiteY5" fmla="*/ 0 h 2921109"/>
              <a:gd name="connsiteX0" fmla="*/ 0 w 8412159"/>
              <a:gd name="connsiteY0" fmla="*/ 0 h 2921109"/>
              <a:gd name="connsiteX1" fmla="*/ 8411266 w 8412159"/>
              <a:gd name="connsiteY1" fmla="*/ 0 h 2921109"/>
              <a:gd name="connsiteX2" fmla="*/ 8411265 w 8412159"/>
              <a:gd name="connsiteY2" fmla="*/ 2506997 h 2921109"/>
              <a:gd name="connsiteX3" fmla="*/ 7431649 w 8412159"/>
              <a:gd name="connsiteY3" fmla="*/ 2918516 h 2921109"/>
              <a:gd name="connsiteX4" fmla="*/ 0 w 8412159"/>
              <a:gd name="connsiteY4" fmla="*/ 2921109 h 2921109"/>
              <a:gd name="connsiteX5" fmla="*/ 0 w 8412159"/>
              <a:gd name="connsiteY5" fmla="*/ 0 h 2921109"/>
              <a:gd name="connsiteX0" fmla="*/ 13562 w 8412159"/>
              <a:gd name="connsiteY0" fmla="*/ 0 h 2921109"/>
              <a:gd name="connsiteX1" fmla="*/ 8411266 w 8412159"/>
              <a:gd name="connsiteY1" fmla="*/ 0 h 2921109"/>
              <a:gd name="connsiteX2" fmla="*/ 8411265 w 8412159"/>
              <a:gd name="connsiteY2" fmla="*/ 2506997 h 2921109"/>
              <a:gd name="connsiteX3" fmla="*/ 7431649 w 8412159"/>
              <a:gd name="connsiteY3" fmla="*/ 2918516 h 2921109"/>
              <a:gd name="connsiteX4" fmla="*/ 0 w 8412159"/>
              <a:gd name="connsiteY4" fmla="*/ 2921109 h 2921109"/>
              <a:gd name="connsiteX5" fmla="*/ 13562 w 8412159"/>
              <a:gd name="connsiteY5" fmla="*/ 0 h 2921109"/>
              <a:gd name="connsiteX0" fmla="*/ 13562 w 8415929"/>
              <a:gd name="connsiteY0" fmla="*/ 0 h 2922720"/>
              <a:gd name="connsiteX1" fmla="*/ 8411266 w 8415929"/>
              <a:gd name="connsiteY1" fmla="*/ 0 h 2922720"/>
              <a:gd name="connsiteX2" fmla="*/ 8411265 w 8415929"/>
              <a:gd name="connsiteY2" fmla="*/ 2506997 h 2922720"/>
              <a:gd name="connsiteX3" fmla="*/ 7514079 w 8415929"/>
              <a:gd name="connsiteY3" fmla="*/ 2922720 h 2922720"/>
              <a:gd name="connsiteX4" fmla="*/ 0 w 8415929"/>
              <a:gd name="connsiteY4" fmla="*/ 2921109 h 2922720"/>
              <a:gd name="connsiteX5" fmla="*/ 13562 w 8415929"/>
              <a:gd name="connsiteY5" fmla="*/ 0 h 2922720"/>
              <a:gd name="connsiteX0" fmla="*/ 13562 w 8415929"/>
              <a:gd name="connsiteY0" fmla="*/ 0 h 2922720"/>
              <a:gd name="connsiteX1" fmla="*/ 8411266 w 8415929"/>
              <a:gd name="connsiteY1" fmla="*/ 0 h 2922720"/>
              <a:gd name="connsiteX2" fmla="*/ 8411265 w 8415929"/>
              <a:gd name="connsiteY2" fmla="*/ 2481772 h 2922720"/>
              <a:gd name="connsiteX3" fmla="*/ 7514079 w 8415929"/>
              <a:gd name="connsiteY3" fmla="*/ 2922720 h 2922720"/>
              <a:gd name="connsiteX4" fmla="*/ 0 w 8415929"/>
              <a:gd name="connsiteY4" fmla="*/ 2921109 h 2922720"/>
              <a:gd name="connsiteX5" fmla="*/ 13562 w 8415929"/>
              <a:gd name="connsiteY5" fmla="*/ 0 h 2922720"/>
              <a:gd name="connsiteX0" fmla="*/ 13562 w 8414282"/>
              <a:gd name="connsiteY0" fmla="*/ 0 h 2922720"/>
              <a:gd name="connsiteX1" fmla="*/ 8411266 w 8414282"/>
              <a:gd name="connsiteY1" fmla="*/ 0 h 2922720"/>
              <a:gd name="connsiteX2" fmla="*/ 8411265 w 8414282"/>
              <a:gd name="connsiteY2" fmla="*/ 2481772 h 2922720"/>
              <a:gd name="connsiteX3" fmla="*/ 7514079 w 8414282"/>
              <a:gd name="connsiteY3" fmla="*/ 2922720 h 2922720"/>
              <a:gd name="connsiteX4" fmla="*/ 0 w 8414282"/>
              <a:gd name="connsiteY4" fmla="*/ 2921109 h 2922720"/>
              <a:gd name="connsiteX5" fmla="*/ 13562 w 8414282"/>
              <a:gd name="connsiteY5" fmla="*/ 0 h 2922720"/>
              <a:gd name="connsiteX0" fmla="*/ 13562 w 8418988"/>
              <a:gd name="connsiteY0" fmla="*/ 0 h 2926924"/>
              <a:gd name="connsiteX1" fmla="*/ 8411266 w 8418988"/>
              <a:gd name="connsiteY1" fmla="*/ 0 h 2926924"/>
              <a:gd name="connsiteX2" fmla="*/ 8411265 w 8418988"/>
              <a:gd name="connsiteY2" fmla="*/ 2481772 h 2926924"/>
              <a:gd name="connsiteX3" fmla="*/ 7567541 w 8418988"/>
              <a:gd name="connsiteY3" fmla="*/ 2926924 h 2926924"/>
              <a:gd name="connsiteX4" fmla="*/ 0 w 8418988"/>
              <a:gd name="connsiteY4" fmla="*/ 2921109 h 2926924"/>
              <a:gd name="connsiteX5" fmla="*/ 13562 w 8418988"/>
              <a:gd name="connsiteY5" fmla="*/ 0 h 2926924"/>
              <a:gd name="connsiteX0" fmla="*/ 13562 w 8411933"/>
              <a:gd name="connsiteY0" fmla="*/ 0 h 2926924"/>
              <a:gd name="connsiteX1" fmla="*/ 8411266 w 8411933"/>
              <a:gd name="connsiteY1" fmla="*/ 0 h 2926924"/>
              <a:gd name="connsiteX2" fmla="*/ 8411265 w 8411933"/>
              <a:gd name="connsiteY2" fmla="*/ 2481772 h 2926924"/>
              <a:gd name="connsiteX3" fmla="*/ 7567541 w 8411933"/>
              <a:gd name="connsiteY3" fmla="*/ 2926924 h 2926924"/>
              <a:gd name="connsiteX4" fmla="*/ 0 w 8411933"/>
              <a:gd name="connsiteY4" fmla="*/ 2921109 h 2926924"/>
              <a:gd name="connsiteX5" fmla="*/ 13562 w 8411933"/>
              <a:gd name="connsiteY5" fmla="*/ 0 h 2926924"/>
              <a:gd name="connsiteX0" fmla="*/ 2313266 w 8411933"/>
              <a:gd name="connsiteY0" fmla="*/ 0 h 3278300"/>
              <a:gd name="connsiteX1" fmla="*/ 8411266 w 8411933"/>
              <a:gd name="connsiteY1" fmla="*/ 351376 h 3278300"/>
              <a:gd name="connsiteX2" fmla="*/ 8411265 w 8411933"/>
              <a:gd name="connsiteY2" fmla="*/ 2833148 h 3278300"/>
              <a:gd name="connsiteX3" fmla="*/ 7567541 w 8411933"/>
              <a:gd name="connsiteY3" fmla="*/ 3278300 h 3278300"/>
              <a:gd name="connsiteX4" fmla="*/ 0 w 8411933"/>
              <a:gd name="connsiteY4" fmla="*/ 3272485 h 3278300"/>
              <a:gd name="connsiteX5" fmla="*/ 2313266 w 8411933"/>
              <a:gd name="connsiteY5" fmla="*/ 0 h 3278300"/>
              <a:gd name="connsiteX0" fmla="*/ 1267 w 6099934"/>
              <a:gd name="connsiteY0" fmla="*/ 0 h 3278300"/>
              <a:gd name="connsiteX1" fmla="*/ 6099267 w 6099934"/>
              <a:gd name="connsiteY1" fmla="*/ 351376 h 3278300"/>
              <a:gd name="connsiteX2" fmla="*/ 6099266 w 6099934"/>
              <a:gd name="connsiteY2" fmla="*/ 2833148 h 3278300"/>
              <a:gd name="connsiteX3" fmla="*/ 5255542 w 6099934"/>
              <a:gd name="connsiteY3" fmla="*/ 3278300 h 3278300"/>
              <a:gd name="connsiteX4" fmla="*/ 1602 w 6099934"/>
              <a:gd name="connsiteY4" fmla="*/ 3276184 h 3278300"/>
              <a:gd name="connsiteX5" fmla="*/ 1267 w 6099934"/>
              <a:gd name="connsiteY5" fmla="*/ 0 h 3278300"/>
              <a:gd name="connsiteX0" fmla="*/ 1267 w 6099934"/>
              <a:gd name="connsiteY0" fmla="*/ 0 h 3278300"/>
              <a:gd name="connsiteX1" fmla="*/ 6099267 w 6099934"/>
              <a:gd name="connsiteY1" fmla="*/ 3698 h 3278300"/>
              <a:gd name="connsiteX2" fmla="*/ 6099266 w 6099934"/>
              <a:gd name="connsiteY2" fmla="*/ 2833148 h 3278300"/>
              <a:gd name="connsiteX3" fmla="*/ 5255542 w 6099934"/>
              <a:gd name="connsiteY3" fmla="*/ 3278300 h 3278300"/>
              <a:gd name="connsiteX4" fmla="*/ 1602 w 6099934"/>
              <a:gd name="connsiteY4" fmla="*/ 3276184 h 3278300"/>
              <a:gd name="connsiteX5" fmla="*/ 1267 w 6099934"/>
              <a:gd name="connsiteY5" fmla="*/ 0 h 3278300"/>
              <a:gd name="connsiteX0" fmla="*/ -1 w 6098666"/>
              <a:gd name="connsiteY0" fmla="*/ 0 h 3278300"/>
              <a:gd name="connsiteX1" fmla="*/ 6097999 w 6098666"/>
              <a:gd name="connsiteY1" fmla="*/ 3698 h 3278300"/>
              <a:gd name="connsiteX2" fmla="*/ 6097998 w 6098666"/>
              <a:gd name="connsiteY2" fmla="*/ 2833148 h 3278300"/>
              <a:gd name="connsiteX3" fmla="*/ 5254274 w 6098666"/>
              <a:gd name="connsiteY3" fmla="*/ 3278300 h 3278300"/>
              <a:gd name="connsiteX4" fmla="*/ 334 w 6098666"/>
              <a:gd name="connsiteY4" fmla="*/ 3276184 h 3278300"/>
              <a:gd name="connsiteX5" fmla="*/ -1 w 6098666"/>
              <a:gd name="connsiteY5" fmla="*/ 0 h 3278300"/>
              <a:gd name="connsiteX0" fmla="*/ 1 w 6098668"/>
              <a:gd name="connsiteY0" fmla="*/ 0 h 3278300"/>
              <a:gd name="connsiteX1" fmla="*/ 6098001 w 6098668"/>
              <a:gd name="connsiteY1" fmla="*/ 3698 h 3278300"/>
              <a:gd name="connsiteX2" fmla="*/ 6098000 w 6098668"/>
              <a:gd name="connsiteY2" fmla="*/ 2833148 h 3278300"/>
              <a:gd name="connsiteX3" fmla="*/ 5254276 w 6098668"/>
              <a:gd name="connsiteY3" fmla="*/ 3278300 h 3278300"/>
              <a:gd name="connsiteX4" fmla="*/ 336 w 6098668"/>
              <a:gd name="connsiteY4" fmla="*/ 3276184 h 3278300"/>
              <a:gd name="connsiteX5" fmla="*/ 1 w 6098668"/>
              <a:gd name="connsiteY5" fmla="*/ 0 h 3278300"/>
              <a:gd name="connsiteX0" fmla="*/ -1 w 6098666"/>
              <a:gd name="connsiteY0" fmla="*/ 0 h 3278300"/>
              <a:gd name="connsiteX1" fmla="*/ 6097999 w 6098666"/>
              <a:gd name="connsiteY1" fmla="*/ 3698 h 3278300"/>
              <a:gd name="connsiteX2" fmla="*/ 6097998 w 6098666"/>
              <a:gd name="connsiteY2" fmla="*/ 2833148 h 3278300"/>
              <a:gd name="connsiteX3" fmla="*/ 5254274 w 6098666"/>
              <a:gd name="connsiteY3" fmla="*/ 3278300 h 3278300"/>
              <a:gd name="connsiteX4" fmla="*/ 334 w 6098666"/>
              <a:gd name="connsiteY4" fmla="*/ 3276184 h 3278300"/>
              <a:gd name="connsiteX5" fmla="*/ -1 w 6098666"/>
              <a:gd name="connsiteY5" fmla="*/ 0 h 3278300"/>
              <a:gd name="connsiteX0" fmla="*/ 1 w 6098796"/>
              <a:gd name="connsiteY0" fmla="*/ 0 h 3278300"/>
              <a:gd name="connsiteX1" fmla="*/ 6098001 w 6098796"/>
              <a:gd name="connsiteY1" fmla="*/ 3698 h 3278300"/>
              <a:gd name="connsiteX2" fmla="*/ 6098000 w 6098796"/>
              <a:gd name="connsiteY2" fmla="*/ 2833148 h 3278300"/>
              <a:gd name="connsiteX3" fmla="*/ 5254276 w 6098796"/>
              <a:gd name="connsiteY3" fmla="*/ 3278300 h 3278300"/>
              <a:gd name="connsiteX4" fmla="*/ 336 w 6098796"/>
              <a:gd name="connsiteY4" fmla="*/ 3276184 h 3278300"/>
              <a:gd name="connsiteX5" fmla="*/ 1 w 6098796"/>
              <a:gd name="connsiteY5" fmla="*/ 0 h 3278300"/>
              <a:gd name="connsiteX0" fmla="*/ -1 w 6098794"/>
              <a:gd name="connsiteY0" fmla="*/ 0 h 3276184"/>
              <a:gd name="connsiteX1" fmla="*/ 6097999 w 6098794"/>
              <a:gd name="connsiteY1" fmla="*/ 3698 h 3276184"/>
              <a:gd name="connsiteX2" fmla="*/ 6097998 w 6098794"/>
              <a:gd name="connsiteY2" fmla="*/ 2833148 h 3276184"/>
              <a:gd name="connsiteX3" fmla="*/ 3259278 w 6098794"/>
              <a:gd name="connsiteY3" fmla="*/ 3273473 h 3276184"/>
              <a:gd name="connsiteX4" fmla="*/ 334 w 6098794"/>
              <a:gd name="connsiteY4" fmla="*/ 3276184 h 3276184"/>
              <a:gd name="connsiteX5" fmla="*/ -1 w 6098794"/>
              <a:gd name="connsiteY5" fmla="*/ 0 h 3276184"/>
              <a:gd name="connsiteX0" fmla="*/ 1 w 6098000"/>
              <a:gd name="connsiteY0" fmla="*/ 0 h 3276184"/>
              <a:gd name="connsiteX1" fmla="*/ 6098001 w 6098000"/>
              <a:gd name="connsiteY1" fmla="*/ 3698 h 3276184"/>
              <a:gd name="connsiteX2" fmla="*/ 6079864 w 6098000"/>
              <a:gd name="connsiteY2" fmla="*/ 2529014 h 3276184"/>
              <a:gd name="connsiteX3" fmla="*/ 3259280 w 6098000"/>
              <a:gd name="connsiteY3" fmla="*/ 3273473 h 3276184"/>
              <a:gd name="connsiteX4" fmla="*/ 336 w 6098000"/>
              <a:gd name="connsiteY4" fmla="*/ 3276184 h 3276184"/>
              <a:gd name="connsiteX5" fmla="*/ 1 w 6098000"/>
              <a:gd name="connsiteY5" fmla="*/ 0 h 3276184"/>
              <a:gd name="connsiteX0" fmla="*/ 8737 w 6106737"/>
              <a:gd name="connsiteY0" fmla="*/ 0 h 3273473"/>
              <a:gd name="connsiteX1" fmla="*/ 6106737 w 6106737"/>
              <a:gd name="connsiteY1" fmla="*/ 3698 h 3273473"/>
              <a:gd name="connsiteX2" fmla="*/ 6088600 w 6106737"/>
              <a:gd name="connsiteY2" fmla="*/ 2529014 h 3273473"/>
              <a:gd name="connsiteX3" fmla="*/ 3268016 w 6106737"/>
              <a:gd name="connsiteY3" fmla="*/ 3273473 h 3273473"/>
              <a:gd name="connsiteX4" fmla="*/ 3 w 6106737"/>
              <a:gd name="connsiteY4" fmla="*/ 2329989 h 3273473"/>
              <a:gd name="connsiteX5" fmla="*/ 8737 w 6106737"/>
              <a:gd name="connsiteY5" fmla="*/ 0 h 3273473"/>
              <a:gd name="connsiteX0" fmla="*/ 335189 w 6106735"/>
              <a:gd name="connsiteY0" fmla="*/ 454917 h 3269775"/>
              <a:gd name="connsiteX1" fmla="*/ 6106735 w 6106735"/>
              <a:gd name="connsiteY1" fmla="*/ 0 h 3269775"/>
              <a:gd name="connsiteX2" fmla="*/ 6088598 w 6106735"/>
              <a:gd name="connsiteY2" fmla="*/ 2525316 h 3269775"/>
              <a:gd name="connsiteX3" fmla="*/ 3268014 w 6106735"/>
              <a:gd name="connsiteY3" fmla="*/ 3269775 h 3269775"/>
              <a:gd name="connsiteX4" fmla="*/ 1 w 6106735"/>
              <a:gd name="connsiteY4" fmla="*/ 2326291 h 3269775"/>
              <a:gd name="connsiteX5" fmla="*/ 335189 w 6106735"/>
              <a:gd name="connsiteY5" fmla="*/ 454917 h 3269775"/>
              <a:gd name="connsiteX0" fmla="*/ 335189 w 6106735"/>
              <a:gd name="connsiteY0" fmla="*/ 454917 h 3269775"/>
              <a:gd name="connsiteX1" fmla="*/ 3432891 w 6106735"/>
              <a:gd name="connsiteY1" fmla="*/ 205873 h 3269775"/>
              <a:gd name="connsiteX2" fmla="*/ 6106735 w 6106735"/>
              <a:gd name="connsiteY2" fmla="*/ 0 h 3269775"/>
              <a:gd name="connsiteX3" fmla="*/ 6088598 w 6106735"/>
              <a:gd name="connsiteY3" fmla="*/ 2525316 h 3269775"/>
              <a:gd name="connsiteX4" fmla="*/ 3268014 w 6106735"/>
              <a:gd name="connsiteY4" fmla="*/ 3269775 h 3269775"/>
              <a:gd name="connsiteX5" fmla="*/ 1 w 6106735"/>
              <a:gd name="connsiteY5" fmla="*/ 2326291 h 3269775"/>
              <a:gd name="connsiteX6" fmla="*/ 335189 w 6106735"/>
              <a:gd name="connsiteY6" fmla="*/ 454917 h 3269775"/>
              <a:gd name="connsiteX0" fmla="*/ 335189 w 6106735"/>
              <a:gd name="connsiteY0" fmla="*/ 454917 h 3269775"/>
              <a:gd name="connsiteX1" fmla="*/ 3260597 w 6106735"/>
              <a:gd name="connsiteY1" fmla="*/ 22428 h 3269775"/>
              <a:gd name="connsiteX2" fmla="*/ 6106735 w 6106735"/>
              <a:gd name="connsiteY2" fmla="*/ 0 h 3269775"/>
              <a:gd name="connsiteX3" fmla="*/ 6088598 w 6106735"/>
              <a:gd name="connsiteY3" fmla="*/ 2525316 h 3269775"/>
              <a:gd name="connsiteX4" fmla="*/ 3268014 w 6106735"/>
              <a:gd name="connsiteY4" fmla="*/ 3269775 h 3269775"/>
              <a:gd name="connsiteX5" fmla="*/ 1 w 6106735"/>
              <a:gd name="connsiteY5" fmla="*/ 2326291 h 3269775"/>
              <a:gd name="connsiteX6" fmla="*/ 335189 w 6106735"/>
              <a:gd name="connsiteY6" fmla="*/ 454917 h 3269775"/>
              <a:gd name="connsiteX0" fmla="*/ 335189 w 6124871"/>
              <a:gd name="connsiteY0" fmla="*/ 432489 h 3247347"/>
              <a:gd name="connsiteX1" fmla="*/ 3260597 w 6124871"/>
              <a:gd name="connsiteY1" fmla="*/ 0 h 3247347"/>
              <a:gd name="connsiteX2" fmla="*/ 6124871 w 6124871"/>
              <a:gd name="connsiteY2" fmla="*/ 281705 h 3247347"/>
              <a:gd name="connsiteX3" fmla="*/ 6088598 w 6124871"/>
              <a:gd name="connsiteY3" fmla="*/ 2502888 h 3247347"/>
              <a:gd name="connsiteX4" fmla="*/ 3268014 w 6124871"/>
              <a:gd name="connsiteY4" fmla="*/ 3247347 h 3247347"/>
              <a:gd name="connsiteX5" fmla="*/ 1 w 6124871"/>
              <a:gd name="connsiteY5" fmla="*/ 2303863 h 3247347"/>
              <a:gd name="connsiteX6" fmla="*/ 335189 w 6124871"/>
              <a:gd name="connsiteY6" fmla="*/ 432489 h 3247347"/>
              <a:gd name="connsiteX0" fmla="*/ 618041 w 6407723"/>
              <a:gd name="connsiteY0" fmla="*/ 432489 h 3247347"/>
              <a:gd name="connsiteX1" fmla="*/ 3543449 w 6407723"/>
              <a:gd name="connsiteY1" fmla="*/ 0 h 3247347"/>
              <a:gd name="connsiteX2" fmla="*/ 6407723 w 6407723"/>
              <a:gd name="connsiteY2" fmla="*/ 281705 h 3247347"/>
              <a:gd name="connsiteX3" fmla="*/ 6371450 w 6407723"/>
              <a:gd name="connsiteY3" fmla="*/ 2502888 h 3247347"/>
              <a:gd name="connsiteX4" fmla="*/ 3550866 w 6407723"/>
              <a:gd name="connsiteY4" fmla="*/ 3247347 h 3247347"/>
              <a:gd name="connsiteX5" fmla="*/ 282853 w 6407723"/>
              <a:gd name="connsiteY5" fmla="*/ 2303863 h 3247347"/>
              <a:gd name="connsiteX6" fmla="*/ 618041 w 6407723"/>
              <a:gd name="connsiteY6" fmla="*/ 432489 h 3247347"/>
              <a:gd name="connsiteX0" fmla="*/ 512943 w 6302625"/>
              <a:gd name="connsiteY0" fmla="*/ 432489 h 3247347"/>
              <a:gd name="connsiteX1" fmla="*/ 3438351 w 6302625"/>
              <a:gd name="connsiteY1" fmla="*/ 0 h 3247347"/>
              <a:gd name="connsiteX2" fmla="*/ 6302625 w 6302625"/>
              <a:gd name="connsiteY2" fmla="*/ 281705 h 3247347"/>
              <a:gd name="connsiteX3" fmla="*/ 6266352 w 6302625"/>
              <a:gd name="connsiteY3" fmla="*/ 2502888 h 3247347"/>
              <a:gd name="connsiteX4" fmla="*/ 3445768 w 6302625"/>
              <a:gd name="connsiteY4" fmla="*/ 3247347 h 3247347"/>
              <a:gd name="connsiteX5" fmla="*/ 177755 w 6302625"/>
              <a:gd name="connsiteY5" fmla="*/ 2303863 h 3247347"/>
              <a:gd name="connsiteX6" fmla="*/ 512943 w 6302625"/>
              <a:gd name="connsiteY6" fmla="*/ 432489 h 3247347"/>
              <a:gd name="connsiteX0" fmla="*/ 512943 w 6302625"/>
              <a:gd name="connsiteY0" fmla="*/ 432489 h 3283326"/>
              <a:gd name="connsiteX1" fmla="*/ 3438351 w 6302625"/>
              <a:gd name="connsiteY1" fmla="*/ 0 h 3283326"/>
              <a:gd name="connsiteX2" fmla="*/ 6302625 w 6302625"/>
              <a:gd name="connsiteY2" fmla="*/ 281705 h 3283326"/>
              <a:gd name="connsiteX3" fmla="*/ 6266352 w 6302625"/>
              <a:gd name="connsiteY3" fmla="*/ 2502888 h 3283326"/>
              <a:gd name="connsiteX4" fmla="*/ 3445768 w 6302625"/>
              <a:gd name="connsiteY4" fmla="*/ 3247347 h 3283326"/>
              <a:gd name="connsiteX5" fmla="*/ 177755 w 6302625"/>
              <a:gd name="connsiteY5" fmla="*/ 2303863 h 3283326"/>
              <a:gd name="connsiteX6" fmla="*/ 512943 w 6302625"/>
              <a:gd name="connsiteY6" fmla="*/ 432489 h 3283326"/>
              <a:gd name="connsiteX0" fmla="*/ 512943 w 6302625"/>
              <a:gd name="connsiteY0" fmla="*/ 432489 h 3283326"/>
              <a:gd name="connsiteX1" fmla="*/ 3438351 w 6302625"/>
              <a:gd name="connsiteY1" fmla="*/ 0 h 3283326"/>
              <a:gd name="connsiteX2" fmla="*/ 6302625 w 6302625"/>
              <a:gd name="connsiteY2" fmla="*/ 281705 h 3283326"/>
              <a:gd name="connsiteX3" fmla="*/ 6266352 w 6302625"/>
              <a:gd name="connsiteY3" fmla="*/ 2502888 h 3283326"/>
              <a:gd name="connsiteX4" fmla="*/ 3445768 w 6302625"/>
              <a:gd name="connsiteY4" fmla="*/ 3247347 h 3283326"/>
              <a:gd name="connsiteX5" fmla="*/ 177755 w 6302625"/>
              <a:gd name="connsiteY5" fmla="*/ 2303863 h 3283326"/>
              <a:gd name="connsiteX6" fmla="*/ 512943 w 6302625"/>
              <a:gd name="connsiteY6" fmla="*/ 432489 h 3283326"/>
              <a:gd name="connsiteX0" fmla="*/ 512943 w 6424948"/>
              <a:gd name="connsiteY0" fmla="*/ 432489 h 3283326"/>
              <a:gd name="connsiteX1" fmla="*/ 3438351 w 6424948"/>
              <a:gd name="connsiteY1" fmla="*/ 0 h 3283326"/>
              <a:gd name="connsiteX2" fmla="*/ 6302625 w 6424948"/>
              <a:gd name="connsiteY2" fmla="*/ 281705 h 3283326"/>
              <a:gd name="connsiteX3" fmla="*/ 6266352 w 6424948"/>
              <a:gd name="connsiteY3" fmla="*/ 2502888 h 3283326"/>
              <a:gd name="connsiteX4" fmla="*/ 3445768 w 6424948"/>
              <a:gd name="connsiteY4" fmla="*/ 3247347 h 3283326"/>
              <a:gd name="connsiteX5" fmla="*/ 177755 w 6424948"/>
              <a:gd name="connsiteY5" fmla="*/ 2303863 h 3283326"/>
              <a:gd name="connsiteX6" fmla="*/ 512943 w 642494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47782"/>
              <a:gd name="connsiteX1" fmla="*/ 3438351 w 6506888"/>
              <a:gd name="connsiteY1" fmla="*/ 0 h 3247782"/>
              <a:gd name="connsiteX2" fmla="*/ 6302625 w 6506888"/>
              <a:gd name="connsiteY2" fmla="*/ 281705 h 3247782"/>
              <a:gd name="connsiteX3" fmla="*/ 6266352 w 6506888"/>
              <a:gd name="connsiteY3" fmla="*/ 2502888 h 3247782"/>
              <a:gd name="connsiteX4" fmla="*/ 3445768 w 6506888"/>
              <a:gd name="connsiteY4" fmla="*/ 3247347 h 3247782"/>
              <a:gd name="connsiteX5" fmla="*/ 177755 w 6506888"/>
              <a:gd name="connsiteY5" fmla="*/ 2303863 h 3247782"/>
              <a:gd name="connsiteX6" fmla="*/ 512943 w 6506888"/>
              <a:gd name="connsiteY6" fmla="*/ 432489 h 3247782"/>
              <a:gd name="connsiteX0" fmla="*/ 512943 w 6640245"/>
              <a:gd name="connsiteY0" fmla="*/ 464431 h 3279724"/>
              <a:gd name="connsiteX1" fmla="*/ 3438351 w 6640245"/>
              <a:gd name="connsiteY1" fmla="*/ 31942 h 3279724"/>
              <a:gd name="connsiteX2" fmla="*/ 6302625 w 6640245"/>
              <a:gd name="connsiteY2" fmla="*/ 313647 h 3279724"/>
              <a:gd name="connsiteX3" fmla="*/ 6266352 w 6640245"/>
              <a:gd name="connsiteY3" fmla="*/ 2534830 h 3279724"/>
              <a:gd name="connsiteX4" fmla="*/ 3445768 w 6640245"/>
              <a:gd name="connsiteY4" fmla="*/ 3279289 h 3279724"/>
              <a:gd name="connsiteX5" fmla="*/ 177755 w 6640245"/>
              <a:gd name="connsiteY5" fmla="*/ 2335805 h 3279724"/>
              <a:gd name="connsiteX6" fmla="*/ 512943 w 6640245"/>
              <a:gd name="connsiteY6" fmla="*/ 464431 h 3279724"/>
              <a:gd name="connsiteX0" fmla="*/ 512943 w 6640245"/>
              <a:gd name="connsiteY0" fmla="*/ 435033 h 3250326"/>
              <a:gd name="connsiteX1" fmla="*/ 3438351 w 6640245"/>
              <a:gd name="connsiteY1" fmla="*/ 2544 h 3250326"/>
              <a:gd name="connsiteX2" fmla="*/ 6302625 w 6640245"/>
              <a:gd name="connsiteY2" fmla="*/ 284249 h 3250326"/>
              <a:gd name="connsiteX3" fmla="*/ 6266352 w 6640245"/>
              <a:gd name="connsiteY3" fmla="*/ 2505432 h 3250326"/>
              <a:gd name="connsiteX4" fmla="*/ 3445768 w 6640245"/>
              <a:gd name="connsiteY4" fmla="*/ 3249891 h 3250326"/>
              <a:gd name="connsiteX5" fmla="*/ 177755 w 6640245"/>
              <a:gd name="connsiteY5" fmla="*/ 2306407 h 3250326"/>
              <a:gd name="connsiteX6" fmla="*/ 512943 w 6640245"/>
              <a:gd name="connsiteY6" fmla="*/ 435033 h 3250326"/>
              <a:gd name="connsiteX0" fmla="*/ 512943 w 6481361"/>
              <a:gd name="connsiteY0" fmla="*/ 435033 h 3250326"/>
              <a:gd name="connsiteX1" fmla="*/ 3438351 w 6481361"/>
              <a:gd name="connsiteY1" fmla="*/ 2544 h 3250326"/>
              <a:gd name="connsiteX2" fmla="*/ 6302625 w 6481361"/>
              <a:gd name="connsiteY2" fmla="*/ 284249 h 3250326"/>
              <a:gd name="connsiteX3" fmla="*/ 6266352 w 6481361"/>
              <a:gd name="connsiteY3" fmla="*/ 2505432 h 3250326"/>
              <a:gd name="connsiteX4" fmla="*/ 3445768 w 6481361"/>
              <a:gd name="connsiteY4" fmla="*/ 3249891 h 3250326"/>
              <a:gd name="connsiteX5" fmla="*/ 177755 w 6481361"/>
              <a:gd name="connsiteY5" fmla="*/ 2306407 h 3250326"/>
              <a:gd name="connsiteX6" fmla="*/ 512943 w 6481361"/>
              <a:gd name="connsiteY6" fmla="*/ 435033 h 3250326"/>
              <a:gd name="connsiteX0" fmla="*/ 512943 w 6481363"/>
              <a:gd name="connsiteY0" fmla="*/ 435033 h 3250326"/>
              <a:gd name="connsiteX1" fmla="*/ 3438351 w 6481363"/>
              <a:gd name="connsiteY1" fmla="*/ 2544 h 3250326"/>
              <a:gd name="connsiteX2" fmla="*/ 6302625 w 6481363"/>
              <a:gd name="connsiteY2" fmla="*/ 284249 h 3250326"/>
              <a:gd name="connsiteX3" fmla="*/ 6266352 w 6481363"/>
              <a:gd name="connsiteY3" fmla="*/ 2505432 h 3250326"/>
              <a:gd name="connsiteX4" fmla="*/ 3445768 w 6481363"/>
              <a:gd name="connsiteY4" fmla="*/ 3249891 h 3250326"/>
              <a:gd name="connsiteX5" fmla="*/ 177755 w 6481363"/>
              <a:gd name="connsiteY5" fmla="*/ 2306407 h 3250326"/>
              <a:gd name="connsiteX6" fmla="*/ 512943 w 6481363"/>
              <a:gd name="connsiteY6" fmla="*/ 435033 h 3250326"/>
              <a:gd name="connsiteX0" fmla="*/ 512943 w 6481361"/>
              <a:gd name="connsiteY0" fmla="*/ 434187 h 3249480"/>
              <a:gd name="connsiteX1" fmla="*/ 3438351 w 6481361"/>
              <a:gd name="connsiteY1" fmla="*/ 1698 h 3249480"/>
              <a:gd name="connsiteX2" fmla="*/ 6302625 w 6481361"/>
              <a:gd name="connsiteY2" fmla="*/ 283403 h 3249480"/>
              <a:gd name="connsiteX3" fmla="*/ 6266352 w 6481361"/>
              <a:gd name="connsiteY3" fmla="*/ 2504586 h 3249480"/>
              <a:gd name="connsiteX4" fmla="*/ 3445768 w 6481361"/>
              <a:gd name="connsiteY4" fmla="*/ 3249045 h 3249480"/>
              <a:gd name="connsiteX5" fmla="*/ 177755 w 6481361"/>
              <a:gd name="connsiteY5" fmla="*/ 2305561 h 3249480"/>
              <a:gd name="connsiteX6" fmla="*/ 512943 w 6481361"/>
              <a:gd name="connsiteY6" fmla="*/ 434187 h 3249480"/>
              <a:gd name="connsiteX0" fmla="*/ 512943 w 6481363"/>
              <a:gd name="connsiteY0" fmla="*/ 435032 h 3250325"/>
              <a:gd name="connsiteX1" fmla="*/ 3438351 w 6481363"/>
              <a:gd name="connsiteY1" fmla="*/ 2543 h 3250325"/>
              <a:gd name="connsiteX2" fmla="*/ 6302625 w 6481363"/>
              <a:gd name="connsiteY2" fmla="*/ 284248 h 3250325"/>
              <a:gd name="connsiteX3" fmla="*/ 6266352 w 6481363"/>
              <a:gd name="connsiteY3" fmla="*/ 2505431 h 3250325"/>
              <a:gd name="connsiteX4" fmla="*/ 3445768 w 6481363"/>
              <a:gd name="connsiteY4" fmla="*/ 3249890 h 3250325"/>
              <a:gd name="connsiteX5" fmla="*/ 177755 w 6481363"/>
              <a:gd name="connsiteY5" fmla="*/ 2306406 h 3250325"/>
              <a:gd name="connsiteX6" fmla="*/ 512943 w 6481363"/>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356750 w 6146432"/>
              <a:gd name="connsiteY0" fmla="*/ 435032 h 3250325"/>
              <a:gd name="connsiteX1" fmla="*/ 3282158 w 6146432"/>
              <a:gd name="connsiteY1" fmla="*/ 2543 h 3250325"/>
              <a:gd name="connsiteX2" fmla="*/ 6146432 w 6146432"/>
              <a:gd name="connsiteY2" fmla="*/ 284248 h 3250325"/>
              <a:gd name="connsiteX3" fmla="*/ 6110159 w 6146432"/>
              <a:gd name="connsiteY3" fmla="*/ 2505431 h 3250325"/>
              <a:gd name="connsiteX4" fmla="*/ 3289575 w 6146432"/>
              <a:gd name="connsiteY4" fmla="*/ 3249890 h 3250325"/>
              <a:gd name="connsiteX5" fmla="*/ 21562 w 6146432"/>
              <a:gd name="connsiteY5" fmla="*/ 2306406 h 3250325"/>
              <a:gd name="connsiteX6" fmla="*/ 356750 w 6146432"/>
              <a:gd name="connsiteY6" fmla="*/ 435032 h 3250325"/>
              <a:gd name="connsiteX0" fmla="*/ 335225 w 6124907"/>
              <a:gd name="connsiteY0" fmla="*/ 435032 h 3250325"/>
              <a:gd name="connsiteX1" fmla="*/ 3260633 w 6124907"/>
              <a:gd name="connsiteY1" fmla="*/ 2543 h 3250325"/>
              <a:gd name="connsiteX2" fmla="*/ 6124907 w 6124907"/>
              <a:gd name="connsiteY2" fmla="*/ 284248 h 3250325"/>
              <a:gd name="connsiteX3" fmla="*/ 6088634 w 6124907"/>
              <a:gd name="connsiteY3" fmla="*/ 2505431 h 3250325"/>
              <a:gd name="connsiteX4" fmla="*/ 3268050 w 6124907"/>
              <a:gd name="connsiteY4" fmla="*/ 3249890 h 3250325"/>
              <a:gd name="connsiteX5" fmla="*/ 37 w 6124907"/>
              <a:gd name="connsiteY5" fmla="*/ 2306406 h 3250325"/>
              <a:gd name="connsiteX6" fmla="*/ 335225 w 6124907"/>
              <a:gd name="connsiteY6" fmla="*/ 435032 h 3250325"/>
              <a:gd name="connsiteX0" fmla="*/ 335225 w 6124907"/>
              <a:gd name="connsiteY0" fmla="*/ 515501 h 3330794"/>
              <a:gd name="connsiteX1" fmla="*/ 3260633 w 6124907"/>
              <a:gd name="connsiteY1" fmla="*/ 83012 h 3330794"/>
              <a:gd name="connsiteX2" fmla="*/ 6124907 w 6124907"/>
              <a:gd name="connsiteY2" fmla="*/ 364717 h 3330794"/>
              <a:gd name="connsiteX3" fmla="*/ 6088634 w 6124907"/>
              <a:gd name="connsiteY3" fmla="*/ 2585900 h 3330794"/>
              <a:gd name="connsiteX4" fmla="*/ 3268050 w 6124907"/>
              <a:gd name="connsiteY4" fmla="*/ 3330359 h 3330794"/>
              <a:gd name="connsiteX5" fmla="*/ 37 w 6124907"/>
              <a:gd name="connsiteY5" fmla="*/ 2386875 h 3330794"/>
              <a:gd name="connsiteX6" fmla="*/ 335225 w 6124907"/>
              <a:gd name="connsiteY6" fmla="*/ 515501 h 3330794"/>
              <a:gd name="connsiteX0" fmla="*/ 335225 w 6124907"/>
              <a:gd name="connsiteY0" fmla="*/ 432489 h 3247782"/>
              <a:gd name="connsiteX1" fmla="*/ 3260633 w 6124907"/>
              <a:gd name="connsiteY1" fmla="*/ 0 h 3247782"/>
              <a:gd name="connsiteX2" fmla="*/ 6124907 w 6124907"/>
              <a:gd name="connsiteY2" fmla="*/ 281705 h 3247782"/>
              <a:gd name="connsiteX3" fmla="*/ 6088634 w 6124907"/>
              <a:gd name="connsiteY3" fmla="*/ 2502888 h 3247782"/>
              <a:gd name="connsiteX4" fmla="*/ 3268050 w 6124907"/>
              <a:gd name="connsiteY4" fmla="*/ 3247347 h 3247782"/>
              <a:gd name="connsiteX5" fmla="*/ 37 w 6124907"/>
              <a:gd name="connsiteY5" fmla="*/ 2303863 h 3247782"/>
              <a:gd name="connsiteX6" fmla="*/ 335225 w 6124907"/>
              <a:gd name="connsiteY6" fmla="*/ 432489 h 3247782"/>
              <a:gd name="connsiteX0" fmla="*/ 335225 w 6223855"/>
              <a:gd name="connsiteY0" fmla="*/ 434186 h 3249479"/>
              <a:gd name="connsiteX1" fmla="*/ 3260633 w 6223855"/>
              <a:gd name="connsiteY1" fmla="*/ 1697 h 3249479"/>
              <a:gd name="connsiteX2" fmla="*/ 6124907 w 6223855"/>
              <a:gd name="connsiteY2" fmla="*/ 283402 h 3249479"/>
              <a:gd name="connsiteX3" fmla="*/ 6088634 w 6223855"/>
              <a:gd name="connsiteY3" fmla="*/ 2504585 h 3249479"/>
              <a:gd name="connsiteX4" fmla="*/ 3268050 w 6223855"/>
              <a:gd name="connsiteY4" fmla="*/ 3249044 h 3249479"/>
              <a:gd name="connsiteX5" fmla="*/ 37 w 6223855"/>
              <a:gd name="connsiteY5" fmla="*/ 2305560 h 3249479"/>
              <a:gd name="connsiteX6" fmla="*/ 335225 w 6223855"/>
              <a:gd name="connsiteY6" fmla="*/ 434186 h 3249479"/>
              <a:gd name="connsiteX0" fmla="*/ 335225 w 6124907"/>
              <a:gd name="connsiteY0" fmla="*/ 435032 h 3250325"/>
              <a:gd name="connsiteX1" fmla="*/ 3260633 w 6124907"/>
              <a:gd name="connsiteY1" fmla="*/ 2543 h 3250325"/>
              <a:gd name="connsiteX2" fmla="*/ 6124907 w 6124907"/>
              <a:gd name="connsiteY2" fmla="*/ 284248 h 3250325"/>
              <a:gd name="connsiteX3" fmla="*/ 6088634 w 6124907"/>
              <a:gd name="connsiteY3" fmla="*/ 2505431 h 3250325"/>
              <a:gd name="connsiteX4" fmla="*/ 3268050 w 6124907"/>
              <a:gd name="connsiteY4" fmla="*/ 3249890 h 3250325"/>
              <a:gd name="connsiteX5" fmla="*/ 37 w 6124907"/>
              <a:gd name="connsiteY5" fmla="*/ 2306406 h 3250325"/>
              <a:gd name="connsiteX6" fmla="*/ 335225 w 6124907"/>
              <a:gd name="connsiteY6" fmla="*/ 435032 h 3250325"/>
              <a:gd name="connsiteX0" fmla="*/ 335225 w 6124907"/>
              <a:gd name="connsiteY0" fmla="*/ 515501 h 3330794"/>
              <a:gd name="connsiteX1" fmla="*/ 3260633 w 6124907"/>
              <a:gd name="connsiteY1" fmla="*/ 83012 h 3330794"/>
              <a:gd name="connsiteX2" fmla="*/ 6124907 w 6124907"/>
              <a:gd name="connsiteY2" fmla="*/ 364717 h 3330794"/>
              <a:gd name="connsiteX3" fmla="*/ 6088634 w 6124907"/>
              <a:gd name="connsiteY3" fmla="*/ 2585900 h 3330794"/>
              <a:gd name="connsiteX4" fmla="*/ 3268050 w 6124907"/>
              <a:gd name="connsiteY4" fmla="*/ 3330359 h 3330794"/>
              <a:gd name="connsiteX5" fmla="*/ 37 w 6124907"/>
              <a:gd name="connsiteY5" fmla="*/ 2386875 h 3330794"/>
              <a:gd name="connsiteX6" fmla="*/ 335225 w 6124907"/>
              <a:gd name="connsiteY6" fmla="*/ 515501 h 3330794"/>
              <a:gd name="connsiteX0" fmla="*/ 335225 w 6124907"/>
              <a:gd name="connsiteY0" fmla="*/ 432489 h 3247782"/>
              <a:gd name="connsiteX1" fmla="*/ 3260633 w 6124907"/>
              <a:gd name="connsiteY1" fmla="*/ 0 h 3247782"/>
              <a:gd name="connsiteX2" fmla="*/ 6124907 w 6124907"/>
              <a:gd name="connsiteY2" fmla="*/ 281705 h 3247782"/>
              <a:gd name="connsiteX3" fmla="*/ 6088634 w 6124907"/>
              <a:gd name="connsiteY3" fmla="*/ 2502888 h 3247782"/>
              <a:gd name="connsiteX4" fmla="*/ 3268050 w 6124907"/>
              <a:gd name="connsiteY4" fmla="*/ 3247347 h 3247782"/>
              <a:gd name="connsiteX5" fmla="*/ 37 w 6124907"/>
              <a:gd name="connsiteY5" fmla="*/ 2303863 h 3247782"/>
              <a:gd name="connsiteX6" fmla="*/ 335225 w 6124907"/>
              <a:gd name="connsiteY6" fmla="*/ 432489 h 3247782"/>
              <a:gd name="connsiteX0" fmla="*/ 335225 w 6223855"/>
              <a:gd name="connsiteY0" fmla="*/ 434186 h 3249479"/>
              <a:gd name="connsiteX1" fmla="*/ 3260633 w 6223855"/>
              <a:gd name="connsiteY1" fmla="*/ 1697 h 3249479"/>
              <a:gd name="connsiteX2" fmla="*/ 6124907 w 6223855"/>
              <a:gd name="connsiteY2" fmla="*/ 283402 h 3249479"/>
              <a:gd name="connsiteX3" fmla="*/ 6088634 w 6223855"/>
              <a:gd name="connsiteY3" fmla="*/ 2504585 h 3249479"/>
              <a:gd name="connsiteX4" fmla="*/ 3268050 w 6223855"/>
              <a:gd name="connsiteY4" fmla="*/ 3249044 h 3249479"/>
              <a:gd name="connsiteX5" fmla="*/ 37 w 6223855"/>
              <a:gd name="connsiteY5" fmla="*/ 2305560 h 3249479"/>
              <a:gd name="connsiteX6" fmla="*/ 335225 w 6223855"/>
              <a:gd name="connsiteY6" fmla="*/ 434186 h 3249479"/>
              <a:gd name="connsiteX0" fmla="*/ 335225 w 6124907"/>
              <a:gd name="connsiteY0" fmla="*/ 435032 h 3250325"/>
              <a:gd name="connsiteX1" fmla="*/ 3260633 w 6124907"/>
              <a:gd name="connsiteY1" fmla="*/ 2543 h 3250325"/>
              <a:gd name="connsiteX2" fmla="*/ 6124907 w 6124907"/>
              <a:gd name="connsiteY2" fmla="*/ 284248 h 3250325"/>
              <a:gd name="connsiteX3" fmla="*/ 6088634 w 6124907"/>
              <a:gd name="connsiteY3" fmla="*/ 2505431 h 3250325"/>
              <a:gd name="connsiteX4" fmla="*/ 3268050 w 6124907"/>
              <a:gd name="connsiteY4" fmla="*/ 3249890 h 3250325"/>
              <a:gd name="connsiteX5" fmla="*/ 37 w 6124907"/>
              <a:gd name="connsiteY5" fmla="*/ 2306406 h 3250325"/>
              <a:gd name="connsiteX6" fmla="*/ 335225 w 6124907"/>
              <a:gd name="connsiteY6" fmla="*/ 435032 h 3250325"/>
              <a:gd name="connsiteX0" fmla="*/ 335225 w 6124907"/>
              <a:gd name="connsiteY0" fmla="*/ 434001 h 3249294"/>
              <a:gd name="connsiteX1" fmla="*/ 3260633 w 6124907"/>
              <a:gd name="connsiteY1" fmla="*/ 1512 h 3249294"/>
              <a:gd name="connsiteX2" fmla="*/ 6124907 w 6124907"/>
              <a:gd name="connsiteY2" fmla="*/ 283217 h 3249294"/>
              <a:gd name="connsiteX3" fmla="*/ 6088634 w 6124907"/>
              <a:gd name="connsiteY3" fmla="*/ 2504400 h 3249294"/>
              <a:gd name="connsiteX4" fmla="*/ 3268050 w 6124907"/>
              <a:gd name="connsiteY4" fmla="*/ 3248859 h 3249294"/>
              <a:gd name="connsiteX5" fmla="*/ 37 w 6124907"/>
              <a:gd name="connsiteY5" fmla="*/ 2305375 h 3249294"/>
              <a:gd name="connsiteX6" fmla="*/ 335225 w 6124907"/>
              <a:gd name="connsiteY6" fmla="*/ 434001 h 3249294"/>
              <a:gd name="connsiteX0" fmla="*/ 335225 w 6124907"/>
              <a:gd name="connsiteY0" fmla="*/ 432489 h 3247782"/>
              <a:gd name="connsiteX1" fmla="*/ 3260633 w 6124907"/>
              <a:gd name="connsiteY1" fmla="*/ 0 h 3247782"/>
              <a:gd name="connsiteX2" fmla="*/ 6124907 w 6124907"/>
              <a:gd name="connsiteY2" fmla="*/ 281705 h 3247782"/>
              <a:gd name="connsiteX3" fmla="*/ 6088634 w 6124907"/>
              <a:gd name="connsiteY3" fmla="*/ 2502888 h 3247782"/>
              <a:gd name="connsiteX4" fmla="*/ 3268050 w 6124907"/>
              <a:gd name="connsiteY4" fmla="*/ 3247347 h 3247782"/>
              <a:gd name="connsiteX5" fmla="*/ 37 w 6124907"/>
              <a:gd name="connsiteY5" fmla="*/ 2303863 h 3247782"/>
              <a:gd name="connsiteX6" fmla="*/ 335225 w 6124907"/>
              <a:gd name="connsiteY6" fmla="*/ 432489 h 3247782"/>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512181 h 3327474"/>
              <a:gd name="connsiteX1" fmla="*/ 3260633 w 6088641"/>
              <a:gd name="connsiteY1" fmla="*/ 79692 h 3327474"/>
              <a:gd name="connsiteX2" fmla="*/ 5816589 w 6088641"/>
              <a:gd name="connsiteY2" fmla="*/ 361397 h 3327474"/>
              <a:gd name="connsiteX3" fmla="*/ 6088634 w 6088641"/>
              <a:gd name="connsiteY3" fmla="*/ 2582580 h 3327474"/>
              <a:gd name="connsiteX4" fmla="*/ 3268050 w 6088641"/>
              <a:gd name="connsiteY4" fmla="*/ 3327039 h 3327474"/>
              <a:gd name="connsiteX5" fmla="*/ 37 w 6088641"/>
              <a:gd name="connsiteY5" fmla="*/ 2383555 h 3327474"/>
              <a:gd name="connsiteX6" fmla="*/ 335225 w 6088641"/>
              <a:gd name="connsiteY6" fmla="*/ 512181 h 3327474"/>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434186 h 3249479"/>
              <a:gd name="connsiteX1" fmla="*/ 3260633 w 6088641"/>
              <a:gd name="connsiteY1" fmla="*/ 1697 h 3249479"/>
              <a:gd name="connsiteX2" fmla="*/ 5816589 w 6088641"/>
              <a:gd name="connsiteY2" fmla="*/ 283402 h 3249479"/>
              <a:gd name="connsiteX3" fmla="*/ 6088634 w 6088641"/>
              <a:gd name="connsiteY3" fmla="*/ 2504585 h 3249479"/>
              <a:gd name="connsiteX4" fmla="*/ 3268050 w 6088641"/>
              <a:gd name="connsiteY4" fmla="*/ 3249044 h 3249479"/>
              <a:gd name="connsiteX5" fmla="*/ 37 w 6088641"/>
              <a:gd name="connsiteY5" fmla="*/ 2305560 h 3249479"/>
              <a:gd name="connsiteX6" fmla="*/ 335225 w 6088641"/>
              <a:gd name="connsiteY6" fmla="*/ 434186 h 3249479"/>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434692 h 3249985"/>
              <a:gd name="connsiteX1" fmla="*/ 3260633 w 6088641"/>
              <a:gd name="connsiteY1" fmla="*/ 2203 h 3249985"/>
              <a:gd name="connsiteX2" fmla="*/ 5816589 w 6088641"/>
              <a:gd name="connsiteY2" fmla="*/ 283908 h 3249985"/>
              <a:gd name="connsiteX3" fmla="*/ 6088634 w 6088641"/>
              <a:gd name="connsiteY3" fmla="*/ 2505091 h 3249985"/>
              <a:gd name="connsiteX4" fmla="*/ 3268050 w 6088641"/>
              <a:gd name="connsiteY4" fmla="*/ 3249550 h 3249985"/>
              <a:gd name="connsiteX5" fmla="*/ 37 w 6088641"/>
              <a:gd name="connsiteY5" fmla="*/ 2306066 h 3249985"/>
              <a:gd name="connsiteX6" fmla="*/ 335225 w 6088641"/>
              <a:gd name="connsiteY6" fmla="*/ 434692 h 3249985"/>
              <a:gd name="connsiteX0" fmla="*/ 335225 w 6088641"/>
              <a:gd name="connsiteY0" fmla="*/ 434455 h 3249748"/>
              <a:gd name="connsiteX1" fmla="*/ 3260633 w 6088641"/>
              <a:gd name="connsiteY1" fmla="*/ 1966 h 3249748"/>
              <a:gd name="connsiteX2" fmla="*/ 5816589 w 6088641"/>
              <a:gd name="connsiteY2" fmla="*/ 283671 h 3249748"/>
              <a:gd name="connsiteX3" fmla="*/ 6088634 w 6088641"/>
              <a:gd name="connsiteY3" fmla="*/ 2504854 h 3249748"/>
              <a:gd name="connsiteX4" fmla="*/ 3268050 w 6088641"/>
              <a:gd name="connsiteY4" fmla="*/ 3249313 h 3249748"/>
              <a:gd name="connsiteX5" fmla="*/ 37 w 6088641"/>
              <a:gd name="connsiteY5" fmla="*/ 2305829 h 3249748"/>
              <a:gd name="connsiteX6" fmla="*/ 335225 w 6088641"/>
              <a:gd name="connsiteY6" fmla="*/ 434455 h 3249748"/>
              <a:gd name="connsiteX0" fmla="*/ 335225 w 6088641"/>
              <a:gd name="connsiteY0" fmla="*/ 478129 h 3293422"/>
              <a:gd name="connsiteX1" fmla="*/ 3260633 w 6088641"/>
              <a:gd name="connsiteY1" fmla="*/ 45640 h 3293422"/>
              <a:gd name="connsiteX2" fmla="*/ 4969580 w 6088641"/>
              <a:gd name="connsiteY2" fmla="*/ 22169 h 3293422"/>
              <a:gd name="connsiteX3" fmla="*/ 5816589 w 6088641"/>
              <a:gd name="connsiteY3" fmla="*/ 327345 h 3293422"/>
              <a:gd name="connsiteX4" fmla="*/ 6088634 w 6088641"/>
              <a:gd name="connsiteY4" fmla="*/ 2548528 h 3293422"/>
              <a:gd name="connsiteX5" fmla="*/ 3268050 w 6088641"/>
              <a:gd name="connsiteY5" fmla="*/ 3292987 h 3293422"/>
              <a:gd name="connsiteX6" fmla="*/ 37 w 6088641"/>
              <a:gd name="connsiteY6" fmla="*/ 2349503 h 3293422"/>
              <a:gd name="connsiteX7" fmla="*/ 335225 w 6088641"/>
              <a:gd name="connsiteY7" fmla="*/ 478129 h 3293422"/>
              <a:gd name="connsiteX0" fmla="*/ 335225 w 6088641"/>
              <a:gd name="connsiteY0" fmla="*/ 464432 h 3279725"/>
              <a:gd name="connsiteX1" fmla="*/ 3260633 w 6088641"/>
              <a:gd name="connsiteY1" fmla="*/ 31943 h 3279725"/>
              <a:gd name="connsiteX2" fmla="*/ 5816589 w 6088641"/>
              <a:gd name="connsiteY2" fmla="*/ 313648 h 3279725"/>
              <a:gd name="connsiteX3" fmla="*/ 6088634 w 6088641"/>
              <a:gd name="connsiteY3" fmla="*/ 2534831 h 3279725"/>
              <a:gd name="connsiteX4" fmla="*/ 3268050 w 6088641"/>
              <a:gd name="connsiteY4" fmla="*/ 3279290 h 3279725"/>
              <a:gd name="connsiteX5" fmla="*/ 37 w 6088641"/>
              <a:gd name="connsiteY5" fmla="*/ 2335806 h 3279725"/>
              <a:gd name="connsiteX6" fmla="*/ 335225 w 6088641"/>
              <a:gd name="connsiteY6" fmla="*/ 464432 h 3279725"/>
              <a:gd name="connsiteX0" fmla="*/ 335225 w 6088641"/>
              <a:gd name="connsiteY0" fmla="*/ 434187 h 3249480"/>
              <a:gd name="connsiteX1" fmla="*/ 3260633 w 6088641"/>
              <a:gd name="connsiteY1" fmla="*/ 1698 h 3249480"/>
              <a:gd name="connsiteX2" fmla="*/ 5816589 w 6088641"/>
              <a:gd name="connsiteY2" fmla="*/ 283403 h 3249480"/>
              <a:gd name="connsiteX3" fmla="*/ 6088634 w 6088641"/>
              <a:gd name="connsiteY3" fmla="*/ 2504586 h 3249480"/>
              <a:gd name="connsiteX4" fmla="*/ 3268050 w 6088641"/>
              <a:gd name="connsiteY4" fmla="*/ 3249045 h 3249480"/>
              <a:gd name="connsiteX5" fmla="*/ 37 w 6088641"/>
              <a:gd name="connsiteY5" fmla="*/ 2305561 h 3249480"/>
              <a:gd name="connsiteX6" fmla="*/ 335225 w 6088641"/>
              <a:gd name="connsiteY6" fmla="*/ 434187 h 3249480"/>
              <a:gd name="connsiteX0" fmla="*/ 335225 w 6088641"/>
              <a:gd name="connsiteY0" fmla="*/ 434187 h 3249480"/>
              <a:gd name="connsiteX1" fmla="*/ 3260633 w 6088641"/>
              <a:gd name="connsiteY1" fmla="*/ 1698 h 3249480"/>
              <a:gd name="connsiteX2" fmla="*/ 5816589 w 6088641"/>
              <a:gd name="connsiteY2" fmla="*/ 283403 h 3249480"/>
              <a:gd name="connsiteX3" fmla="*/ 6088634 w 6088641"/>
              <a:gd name="connsiteY3" fmla="*/ 2504586 h 3249480"/>
              <a:gd name="connsiteX4" fmla="*/ 3268050 w 6088641"/>
              <a:gd name="connsiteY4" fmla="*/ 3249045 h 3249480"/>
              <a:gd name="connsiteX5" fmla="*/ 37 w 6088641"/>
              <a:gd name="connsiteY5" fmla="*/ 2305561 h 3249480"/>
              <a:gd name="connsiteX6" fmla="*/ 335225 w 6088641"/>
              <a:gd name="connsiteY6" fmla="*/ 434187 h 3249480"/>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512181 h 3327474"/>
              <a:gd name="connsiteX1" fmla="*/ 3260633 w 6088641"/>
              <a:gd name="connsiteY1" fmla="*/ 79692 h 3327474"/>
              <a:gd name="connsiteX2" fmla="*/ 5816589 w 6088641"/>
              <a:gd name="connsiteY2" fmla="*/ 361397 h 3327474"/>
              <a:gd name="connsiteX3" fmla="*/ 6088634 w 6088641"/>
              <a:gd name="connsiteY3" fmla="*/ 2582580 h 3327474"/>
              <a:gd name="connsiteX4" fmla="*/ 3268050 w 6088641"/>
              <a:gd name="connsiteY4" fmla="*/ 3327039 h 3327474"/>
              <a:gd name="connsiteX5" fmla="*/ 37 w 6088641"/>
              <a:gd name="connsiteY5" fmla="*/ 2383555 h 3327474"/>
              <a:gd name="connsiteX6" fmla="*/ 335225 w 6088641"/>
              <a:gd name="connsiteY6" fmla="*/ 512181 h 3327474"/>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434186 h 3249479"/>
              <a:gd name="connsiteX1" fmla="*/ 3260633 w 6088641"/>
              <a:gd name="connsiteY1" fmla="*/ 1697 h 3249479"/>
              <a:gd name="connsiteX2" fmla="*/ 5816589 w 6088641"/>
              <a:gd name="connsiteY2" fmla="*/ 283402 h 3249479"/>
              <a:gd name="connsiteX3" fmla="*/ 6088634 w 6088641"/>
              <a:gd name="connsiteY3" fmla="*/ 2504585 h 3249479"/>
              <a:gd name="connsiteX4" fmla="*/ 3268050 w 6088641"/>
              <a:gd name="connsiteY4" fmla="*/ 3249044 h 3249479"/>
              <a:gd name="connsiteX5" fmla="*/ 37 w 6088641"/>
              <a:gd name="connsiteY5" fmla="*/ 2305560 h 3249479"/>
              <a:gd name="connsiteX6" fmla="*/ 335225 w 6088641"/>
              <a:gd name="connsiteY6" fmla="*/ 434186 h 3249479"/>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433957 h 3249250"/>
              <a:gd name="connsiteX1" fmla="*/ 3260633 w 6088641"/>
              <a:gd name="connsiteY1" fmla="*/ 1468 h 3249250"/>
              <a:gd name="connsiteX2" fmla="*/ 5816589 w 6088641"/>
              <a:gd name="connsiteY2" fmla="*/ 283173 h 3249250"/>
              <a:gd name="connsiteX3" fmla="*/ 6088634 w 6088641"/>
              <a:gd name="connsiteY3" fmla="*/ 2504356 h 3249250"/>
              <a:gd name="connsiteX4" fmla="*/ 3268050 w 6088641"/>
              <a:gd name="connsiteY4" fmla="*/ 3248815 h 3249250"/>
              <a:gd name="connsiteX5" fmla="*/ 37 w 6088641"/>
              <a:gd name="connsiteY5" fmla="*/ 2305331 h 3249250"/>
              <a:gd name="connsiteX6" fmla="*/ 335225 w 6088641"/>
              <a:gd name="connsiteY6" fmla="*/ 433957 h 3249250"/>
              <a:gd name="connsiteX0" fmla="*/ 335225 w 6088641"/>
              <a:gd name="connsiteY0" fmla="*/ 433944 h 3249237"/>
              <a:gd name="connsiteX1" fmla="*/ 3260633 w 6088641"/>
              <a:gd name="connsiteY1" fmla="*/ 1455 h 3249237"/>
              <a:gd name="connsiteX2" fmla="*/ 5816589 w 6088641"/>
              <a:gd name="connsiteY2" fmla="*/ 283160 h 3249237"/>
              <a:gd name="connsiteX3" fmla="*/ 6088634 w 6088641"/>
              <a:gd name="connsiteY3" fmla="*/ 2504343 h 3249237"/>
              <a:gd name="connsiteX4" fmla="*/ 3268050 w 6088641"/>
              <a:gd name="connsiteY4" fmla="*/ 3248802 h 3249237"/>
              <a:gd name="connsiteX5" fmla="*/ 37 w 6088641"/>
              <a:gd name="connsiteY5" fmla="*/ 2305318 h 3249237"/>
              <a:gd name="connsiteX6" fmla="*/ 335225 w 6088641"/>
              <a:gd name="connsiteY6" fmla="*/ 433944 h 3249237"/>
              <a:gd name="connsiteX0" fmla="*/ 335225 w 6088641"/>
              <a:gd name="connsiteY0" fmla="*/ 433390 h 3248683"/>
              <a:gd name="connsiteX1" fmla="*/ 3260633 w 6088641"/>
              <a:gd name="connsiteY1" fmla="*/ 901 h 3248683"/>
              <a:gd name="connsiteX2" fmla="*/ 5816589 w 6088641"/>
              <a:gd name="connsiteY2" fmla="*/ 282606 h 3248683"/>
              <a:gd name="connsiteX3" fmla="*/ 6088634 w 6088641"/>
              <a:gd name="connsiteY3" fmla="*/ 2503789 h 3248683"/>
              <a:gd name="connsiteX4" fmla="*/ 3268050 w 6088641"/>
              <a:gd name="connsiteY4" fmla="*/ 3248248 h 3248683"/>
              <a:gd name="connsiteX5" fmla="*/ 37 w 6088641"/>
              <a:gd name="connsiteY5" fmla="*/ 2304764 h 3248683"/>
              <a:gd name="connsiteX6" fmla="*/ 335225 w 6088641"/>
              <a:gd name="connsiteY6" fmla="*/ 433390 h 3248683"/>
              <a:gd name="connsiteX0" fmla="*/ 335225 w 6088641"/>
              <a:gd name="connsiteY0" fmla="*/ 512181 h 3327474"/>
              <a:gd name="connsiteX1" fmla="*/ 3260633 w 6088641"/>
              <a:gd name="connsiteY1" fmla="*/ 79692 h 3327474"/>
              <a:gd name="connsiteX2" fmla="*/ 5816589 w 6088641"/>
              <a:gd name="connsiteY2" fmla="*/ 361397 h 3327474"/>
              <a:gd name="connsiteX3" fmla="*/ 6088634 w 6088641"/>
              <a:gd name="connsiteY3" fmla="*/ 2582580 h 3327474"/>
              <a:gd name="connsiteX4" fmla="*/ 3268050 w 6088641"/>
              <a:gd name="connsiteY4" fmla="*/ 3327039 h 3327474"/>
              <a:gd name="connsiteX5" fmla="*/ 37 w 6088641"/>
              <a:gd name="connsiteY5" fmla="*/ 2383555 h 3327474"/>
              <a:gd name="connsiteX6" fmla="*/ 335225 w 6088641"/>
              <a:gd name="connsiteY6" fmla="*/ 512181 h 3327474"/>
              <a:gd name="connsiteX0" fmla="*/ 335225 w 6088641"/>
              <a:gd name="connsiteY0" fmla="*/ 516824 h 3332117"/>
              <a:gd name="connsiteX1" fmla="*/ 3260633 w 6088641"/>
              <a:gd name="connsiteY1" fmla="*/ 84335 h 3332117"/>
              <a:gd name="connsiteX2" fmla="*/ 5816589 w 6088641"/>
              <a:gd name="connsiteY2" fmla="*/ 366040 h 3332117"/>
              <a:gd name="connsiteX3" fmla="*/ 6088634 w 6088641"/>
              <a:gd name="connsiteY3" fmla="*/ 2587223 h 3332117"/>
              <a:gd name="connsiteX4" fmla="*/ 3268050 w 6088641"/>
              <a:gd name="connsiteY4" fmla="*/ 3331682 h 3332117"/>
              <a:gd name="connsiteX5" fmla="*/ 37 w 6088641"/>
              <a:gd name="connsiteY5" fmla="*/ 2388198 h 3332117"/>
              <a:gd name="connsiteX6" fmla="*/ 335225 w 6088641"/>
              <a:gd name="connsiteY6" fmla="*/ 516824 h 3332117"/>
              <a:gd name="connsiteX0" fmla="*/ 335225 w 6088641"/>
              <a:gd name="connsiteY0" fmla="*/ 512182 h 3327475"/>
              <a:gd name="connsiteX1" fmla="*/ 3260633 w 6088641"/>
              <a:gd name="connsiteY1" fmla="*/ 79693 h 3327475"/>
              <a:gd name="connsiteX2" fmla="*/ 5816589 w 6088641"/>
              <a:gd name="connsiteY2" fmla="*/ 361398 h 3327475"/>
              <a:gd name="connsiteX3" fmla="*/ 6088634 w 6088641"/>
              <a:gd name="connsiteY3" fmla="*/ 2582581 h 3327475"/>
              <a:gd name="connsiteX4" fmla="*/ 3268050 w 6088641"/>
              <a:gd name="connsiteY4" fmla="*/ 3327040 h 3327475"/>
              <a:gd name="connsiteX5" fmla="*/ 37 w 6088641"/>
              <a:gd name="connsiteY5" fmla="*/ 2383556 h 3327475"/>
              <a:gd name="connsiteX6" fmla="*/ 335225 w 6088641"/>
              <a:gd name="connsiteY6" fmla="*/ 512182 h 3327475"/>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433961 h 3249254"/>
              <a:gd name="connsiteX1" fmla="*/ 3260633 w 6088641"/>
              <a:gd name="connsiteY1" fmla="*/ 1472 h 3249254"/>
              <a:gd name="connsiteX2" fmla="*/ 5816589 w 6088641"/>
              <a:gd name="connsiteY2" fmla="*/ 283177 h 3249254"/>
              <a:gd name="connsiteX3" fmla="*/ 6088634 w 6088641"/>
              <a:gd name="connsiteY3" fmla="*/ 2504360 h 3249254"/>
              <a:gd name="connsiteX4" fmla="*/ 3268050 w 6088641"/>
              <a:gd name="connsiteY4" fmla="*/ 3248819 h 3249254"/>
              <a:gd name="connsiteX5" fmla="*/ 37 w 6088641"/>
              <a:gd name="connsiteY5" fmla="*/ 2305335 h 3249254"/>
              <a:gd name="connsiteX6" fmla="*/ 335225 w 6088641"/>
              <a:gd name="connsiteY6" fmla="*/ 433961 h 3249254"/>
              <a:gd name="connsiteX0" fmla="*/ 335225 w 6088641"/>
              <a:gd name="connsiteY0" fmla="*/ 434186 h 3249479"/>
              <a:gd name="connsiteX1" fmla="*/ 3260633 w 6088641"/>
              <a:gd name="connsiteY1" fmla="*/ 1697 h 3249479"/>
              <a:gd name="connsiteX2" fmla="*/ 5816589 w 6088641"/>
              <a:gd name="connsiteY2" fmla="*/ 283402 h 3249479"/>
              <a:gd name="connsiteX3" fmla="*/ 6088634 w 6088641"/>
              <a:gd name="connsiteY3" fmla="*/ 2504585 h 3249479"/>
              <a:gd name="connsiteX4" fmla="*/ 3268050 w 6088641"/>
              <a:gd name="connsiteY4" fmla="*/ 3249044 h 3249479"/>
              <a:gd name="connsiteX5" fmla="*/ 37 w 6088641"/>
              <a:gd name="connsiteY5" fmla="*/ 2305560 h 3249479"/>
              <a:gd name="connsiteX6" fmla="*/ 335225 w 6088641"/>
              <a:gd name="connsiteY6" fmla="*/ 434186 h 3249479"/>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509718 h 3325011"/>
              <a:gd name="connsiteX1" fmla="*/ 3260633 w 6088641"/>
              <a:gd name="connsiteY1" fmla="*/ 77229 h 3325011"/>
              <a:gd name="connsiteX2" fmla="*/ 5816589 w 6088641"/>
              <a:gd name="connsiteY2" fmla="*/ 358934 h 3325011"/>
              <a:gd name="connsiteX3" fmla="*/ 6088634 w 6088641"/>
              <a:gd name="connsiteY3" fmla="*/ 2580117 h 3325011"/>
              <a:gd name="connsiteX4" fmla="*/ 3268050 w 6088641"/>
              <a:gd name="connsiteY4" fmla="*/ 3324576 h 3325011"/>
              <a:gd name="connsiteX5" fmla="*/ 37 w 6088641"/>
              <a:gd name="connsiteY5" fmla="*/ 2381092 h 3325011"/>
              <a:gd name="connsiteX6" fmla="*/ 335225 w 6088641"/>
              <a:gd name="connsiteY6" fmla="*/ 509718 h 3325011"/>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088641"/>
              <a:gd name="connsiteY0" fmla="*/ 440004 h 3255297"/>
              <a:gd name="connsiteX1" fmla="*/ 3260633 w 6088641"/>
              <a:gd name="connsiteY1" fmla="*/ 7515 h 3255297"/>
              <a:gd name="connsiteX2" fmla="*/ 6088634 w 6088641"/>
              <a:gd name="connsiteY2" fmla="*/ 2510403 h 3255297"/>
              <a:gd name="connsiteX3" fmla="*/ 3268050 w 6088641"/>
              <a:gd name="connsiteY3" fmla="*/ 3254862 h 3255297"/>
              <a:gd name="connsiteX4" fmla="*/ 37 w 6088641"/>
              <a:gd name="connsiteY4" fmla="*/ 2311378 h 3255297"/>
              <a:gd name="connsiteX5" fmla="*/ 335225 w 6088641"/>
              <a:gd name="connsiteY5" fmla="*/ 440004 h 3255297"/>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123026"/>
              <a:gd name="connsiteY0" fmla="*/ 432489 h 3247782"/>
              <a:gd name="connsiteX1" fmla="*/ 3260633 w 6123026"/>
              <a:gd name="connsiteY1" fmla="*/ 0 h 3247782"/>
              <a:gd name="connsiteX2" fmla="*/ 4736515 w 6123026"/>
              <a:gd name="connsiteY2" fmla="*/ 1160782 h 3247782"/>
              <a:gd name="connsiteX3" fmla="*/ 6088634 w 6123026"/>
              <a:gd name="connsiteY3" fmla="*/ 2502888 h 3247782"/>
              <a:gd name="connsiteX4" fmla="*/ 3268050 w 6123026"/>
              <a:gd name="connsiteY4" fmla="*/ 3247347 h 3247782"/>
              <a:gd name="connsiteX5" fmla="*/ 37 w 6123026"/>
              <a:gd name="connsiteY5" fmla="*/ 2303863 h 3247782"/>
              <a:gd name="connsiteX6" fmla="*/ 335225 w 6123026"/>
              <a:gd name="connsiteY6" fmla="*/ 432489 h 3247782"/>
              <a:gd name="connsiteX0" fmla="*/ 335225 w 6213970"/>
              <a:gd name="connsiteY0" fmla="*/ 432489 h 3247782"/>
              <a:gd name="connsiteX1" fmla="*/ 3260633 w 6213970"/>
              <a:gd name="connsiteY1" fmla="*/ 0 h 3247782"/>
              <a:gd name="connsiteX2" fmla="*/ 5748245 w 6213970"/>
              <a:gd name="connsiteY2" fmla="*/ 440703 h 3247782"/>
              <a:gd name="connsiteX3" fmla="*/ 6088634 w 6213970"/>
              <a:gd name="connsiteY3" fmla="*/ 2502888 h 3247782"/>
              <a:gd name="connsiteX4" fmla="*/ 3268050 w 6213970"/>
              <a:gd name="connsiteY4" fmla="*/ 3247347 h 3247782"/>
              <a:gd name="connsiteX5" fmla="*/ 37 w 6213970"/>
              <a:gd name="connsiteY5" fmla="*/ 2303863 h 3247782"/>
              <a:gd name="connsiteX6" fmla="*/ 335225 w 6213970"/>
              <a:gd name="connsiteY6" fmla="*/ 432489 h 3247782"/>
              <a:gd name="connsiteX0" fmla="*/ 335225 w 6213972"/>
              <a:gd name="connsiteY0" fmla="*/ 432489 h 3247782"/>
              <a:gd name="connsiteX1" fmla="*/ 3260633 w 6213972"/>
              <a:gd name="connsiteY1" fmla="*/ 0 h 3247782"/>
              <a:gd name="connsiteX2" fmla="*/ 5748245 w 6213972"/>
              <a:gd name="connsiteY2" fmla="*/ 440703 h 3247782"/>
              <a:gd name="connsiteX3" fmla="*/ 6088634 w 6213972"/>
              <a:gd name="connsiteY3" fmla="*/ 2502888 h 3247782"/>
              <a:gd name="connsiteX4" fmla="*/ 3268050 w 6213972"/>
              <a:gd name="connsiteY4" fmla="*/ 3247347 h 3247782"/>
              <a:gd name="connsiteX5" fmla="*/ 37 w 6213972"/>
              <a:gd name="connsiteY5" fmla="*/ 2303863 h 3247782"/>
              <a:gd name="connsiteX6" fmla="*/ 335225 w 6213972"/>
              <a:gd name="connsiteY6" fmla="*/ 432489 h 3247782"/>
              <a:gd name="connsiteX0" fmla="*/ 335225 w 6213970"/>
              <a:gd name="connsiteY0" fmla="*/ 432489 h 3247782"/>
              <a:gd name="connsiteX1" fmla="*/ 3260633 w 6213970"/>
              <a:gd name="connsiteY1" fmla="*/ 0 h 3247782"/>
              <a:gd name="connsiteX2" fmla="*/ 5748245 w 6213970"/>
              <a:gd name="connsiteY2" fmla="*/ 440703 h 3247782"/>
              <a:gd name="connsiteX3" fmla="*/ 6088634 w 6213970"/>
              <a:gd name="connsiteY3" fmla="*/ 2502888 h 3247782"/>
              <a:gd name="connsiteX4" fmla="*/ 3268050 w 6213970"/>
              <a:gd name="connsiteY4" fmla="*/ 3247347 h 3247782"/>
              <a:gd name="connsiteX5" fmla="*/ 37 w 6213970"/>
              <a:gd name="connsiteY5" fmla="*/ 2303863 h 3247782"/>
              <a:gd name="connsiteX6" fmla="*/ 335225 w 6213970"/>
              <a:gd name="connsiteY6" fmla="*/ 432489 h 3247782"/>
              <a:gd name="connsiteX0" fmla="*/ 335225 w 6147867"/>
              <a:gd name="connsiteY0" fmla="*/ 432489 h 3247782"/>
              <a:gd name="connsiteX1" fmla="*/ 3260633 w 6147867"/>
              <a:gd name="connsiteY1" fmla="*/ 0 h 3247782"/>
              <a:gd name="connsiteX2" fmla="*/ 5748245 w 6147867"/>
              <a:gd name="connsiteY2" fmla="*/ 440703 h 3247782"/>
              <a:gd name="connsiteX3" fmla="*/ 6088634 w 6147867"/>
              <a:gd name="connsiteY3" fmla="*/ 2502888 h 3247782"/>
              <a:gd name="connsiteX4" fmla="*/ 3268050 w 6147867"/>
              <a:gd name="connsiteY4" fmla="*/ 3247347 h 3247782"/>
              <a:gd name="connsiteX5" fmla="*/ 37 w 6147867"/>
              <a:gd name="connsiteY5" fmla="*/ 2303863 h 3247782"/>
              <a:gd name="connsiteX6" fmla="*/ 335225 w 6147867"/>
              <a:gd name="connsiteY6" fmla="*/ 432489 h 3247782"/>
              <a:gd name="connsiteX0" fmla="*/ 335225 w 6088640"/>
              <a:gd name="connsiteY0" fmla="*/ 432489 h 3247782"/>
              <a:gd name="connsiteX1" fmla="*/ 3260633 w 6088640"/>
              <a:gd name="connsiteY1" fmla="*/ 0 h 3247782"/>
              <a:gd name="connsiteX2" fmla="*/ 5748245 w 6088640"/>
              <a:gd name="connsiteY2" fmla="*/ 440703 h 3247782"/>
              <a:gd name="connsiteX3" fmla="*/ 6088634 w 6088640"/>
              <a:gd name="connsiteY3" fmla="*/ 2502888 h 3247782"/>
              <a:gd name="connsiteX4" fmla="*/ 3268050 w 6088640"/>
              <a:gd name="connsiteY4" fmla="*/ 3247347 h 3247782"/>
              <a:gd name="connsiteX5" fmla="*/ 37 w 6088640"/>
              <a:gd name="connsiteY5" fmla="*/ 2303863 h 3247782"/>
              <a:gd name="connsiteX6" fmla="*/ 335225 w 6088640"/>
              <a:gd name="connsiteY6" fmla="*/ 432489 h 3247782"/>
              <a:gd name="connsiteX0" fmla="*/ 335225 w 6088642"/>
              <a:gd name="connsiteY0" fmla="*/ 432489 h 3247782"/>
              <a:gd name="connsiteX1" fmla="*/ 3260633 w 6088642"/>
              <a:gd name="connsiteY1" fmla="*/ 0 h 3247782"/>
              <a:gd name="connsiteX2" fmla="*/ 5748245 w 6088642"/>
              <a:gd name="connsiteY2" fmla="*/ 440703 h 3247782"/>
              <a:gd name="connsiteX3" fmla="*/ 6088634 w 6088642"/>
              <a:gd name="connsiteY3" fmla="*/ 2502888 h 3247782"/>
              <a:gd name="connsiteX4" fmla="*/ 3268050 w 6088642"/>
              <a:gd name="connsiteY4" fmla="*/ 3247347 h 3247782"/>
              <a:gd name="connsiteX5" fmla="*/ 37 w 6088642"/>
              <a:gd name="connsiteY5" fmla="*/ 2303863 h 3247782"/>
              <a:gd name="connsiteX6" fmla="*/ 335225 w 6088642"/>
              <a:gd name="connsiteY6" fmla="*/ 432489 h 3247782"/>
              <a:gd name="connsiteX0" fmla="*/ 335225 w 6088640"/>
              <a:gd name="connsiteY0" fmla="*/ 432489 h 3247782"/>
              <a:gd name="connsiteX1" fmla="*/ 3260633 w 6088640"/>
              <a:gd name="connsiteY1" fmla="*/ 0 h 3247782"/>
              <a:gd name="connsiteX2" fmla="*/ 5748245 w 6088640"/>
              <a:gd name="connsiteY2" fmla="*/ 440703 h 3247782"/>
              <a:gd name="connsiteX3" fmla="*/ 6088634 w 6088640"/>
              <a:gd name="connsiteY3" fmla="*/ 2502888 h 3247782"/>
              <a:gd name="connsiteX4" fmla="*/ 3268050 w 6088640"/>
              <a:gd name="connsiteY4" fmla="*/ 3247347 h 3247782"/>
              <a:gd name="connsiteX5" fmla="*/ 37 w 6088640"/>
              <a:gd name="connsiteY5" fmla="*/ 2303863 h 3247782"/>
              <a:gd name="connsiteX6" fmla="*/ 335225 w 6088640"/>
              <a:gd name="connsiteY6" fmla="*/ 432489 h 3247782"/>
              <a:gd name="connsiteX0" fmla="*/ 335225 w 6088642"/>
              <a:gd name="connsiteY0" fmla="*/ 432489 h 3247782"/>
              <a:gd name="connsiteX1" fmla="*/ 3260633 w 6088642"/>
              <a:gd name="connsiteY1" fmla="*/ 0 h 3247782"/>
              <a:gd name="connsiteX2" fmla="*/ 5748245 w 6088642"/>
              <a:gd name="connsiteY2" fmla="*/ 440703 h 3247782"/>
              <a:gd name="connsiteX3" fmla="*/ 6088634 w 6088642"/>
              <a:gd name="connsiteY3" fmla="*/ 2502888 h 3247782"/>
              <a:gd name="connsiteX4" fmla="*/ 3268050 w 6088642"/>
              <a:gd name="connsiteY4" fmla="*/ 3247347 h 3247782"/>
              <a:gd name="connsiteX5" fmla="*/ 37 w 6088642"/>
              <a:gd name="connsiteY5" fmla="*/ 2303863 h 3247782"/>
              <a:gd name="connsiteX6" fmla="*/ 335225 w 6088642"/>
              <a:gd name="connsiteY6" fmla="*/ 432489 h 3247782"/>
              <a:gd name="connsiteX0" fmla="*/ 353201 w 6106621"/>
              <a:gd name="connsiteY0" fmla="*/ 432489 h 3263671"/>
              <a:gd name="connsiteX1" fmla="*/ 3278609 w 6106621"/>
              <a:gd name="connsiteY1" fmla="*/ 0 h 3263671"/>
              <a:gd name="connsiteX2" fmla="*/ 5766221 w 6106621"/>
              <a:gd name="connsiteY2" fmla="*/ 440703 h 3263671"/>
              <a:gd name="connsiteX3" fmla="*/ 6106610 w 6106621"/>
              <a:gd name="connsiteY3" fmla="*/ 2502888 h 3263671"/>
              <a:gd name="connsiteX4" fmla="*/ 3286026 w 6106621"/>
              <a:gd name="connsiteY4" fmla="*/ 3247347 h 3263671"/>
              <a:gd name="connsiteX5" fmla="*/ 53 w 6106621"/>
              <a:gd name="connsiteY5" fmla="*/ 1620527 h 3263671"/>
              <a:gd name="connsiteX6" fmla="*/ 353201 w 6106621"/>
              <a:gd name="connsiteY6" fmla="*/ 432489 h 3263671"/>
              <a:gd name="connsiteX0" fmla="*/ 353201 w 6106621"/>
              <a:gd name="connsiteY0" fmla="*/ 432489 h 3263671"/>
              <a:gd name="connsiteX1" fmla="*/ 3278609 w 6106621"/>
              <a:gd name="connsiteY1" fmla="*/ 0 h 3263671"/>
              <a:gd name="connsiteX2" fmla="*/ 5766221 w 6106621"/>
              <a:gd name="connsiteY2" fmla="*/ 440703 h 3263671"/>
              <a:gd name="connsiteX3" fmla="*/ 6106610 w 6106621"/>
              <a:gd name="connsiteY3" fmla="*/ 2502888 h 3263671"/>
              <a:gd name="connsiteX4" fmla="*/ 3286026 w 6106621"/>
              <a:gd name="connsiteY4" fmla="*/ 3247347 h 3263671"/>
              <a:gd name="connsiteX5" fmla="*/ 53 w 6106621"/>
              <a:gd name="connsiteY5" fmla="*/ 1620527 h 3263671"/>
              <a:gd name="connsiteX6" fmla="*/ 353201 w 6106621"/>
              <a:gd name="connsiteY6" fmla="*/ 432489 h 3263671"/>
              <a:gd name="connsiteX0" fmla="*/ 353201 w 6106621"/>
              <a:gd name="connsiteY0" fmla="*/ 432489 h 3263671"/>
              <a:gd name="connsiteX1" fmla="*/ 3278609 w 6106621"/>
              <a:gd name="connsiteY1" fmla="*/ 0 h 3263671"/>
              <a:gd name="connsiteX2" fmla="*/ 5766221 w 6106621"/>
              <a:gd name="connsiteY2" fmla="*/ 440703 h 3263671"/>
              <a:gd name="connsiteX3" fmla="*/ 6106610 w 6106621"/>
              <a:gd name="connsiteY3" fmla="*/ 2502888 h 3263671"/>
              <a:gd name="connsiteX4" fmla="*/ 3286026 w 6106621"/>
              <a:gd name="connsiteY4" fmla="*/ 3247347 h 3263671"/>
              <a:gd name="connsiteX5" fmla="*/ 53 w 6106621"/>
              <a:gd name="connsiteY5" fmla="*/ 1620527 h 3263671"/>
              <a:gd name="connsiteX6" fmla="*/ 353201 w 6106621"/>
              <a:gd name="connsiteY6" fmla="*/ 432489 h 3263671"/>
              <a:gd name="connsiteX0" fmla="*/ 464353 w 6217770"/>
              <a:gd name="connsiteY0" fmla="*/ 432489 h 3391714"/>
              <a:gd name="connsiteX1" fmla="*/ 3389761 w 6217770"/>
              <a:gd name="connsiteY1" fmla="*/ 0 h 3391714"/>
              <a:gd name="connsiteX2" fmla="*/ 5877373 w 6217770"/>
              <a:gd name="connsiteY2" fmla="*/ 440703 h 3391714"/>
              <a:gd name="connsiteX3" fmla="*/ 6217762 w 6217770"/>
              <a:gd name="connsiteY3" fmla="*/ 2502888 h 3391714"/>
              <a:gd name="connsiteX4" fmla="*/ 2490214 w 6217770"/>
              <a:gd name="connsiteY4" fmla="*/ 3377277 h 3391714"/>
              <a:gd name="connsiteX5" fmla="*/ 111205 w 6217770"/>
              <a:gd name="connsiteY5" fmla="*/ 1620527 h 3391714"/>
              <a:gd name="connsiteX6" fmla="*/ 464353 w 6217770"/>
              <a:gd name="connsiteY6" fmla="*/ 432489 h 3391714"/>
              <a:gd name="connsiteX0" fmla="*/ 464353 w 6217767"/>
              <a:gd name="connsiteY0" fmla="*/ 432489 h 3377283"/>
              <a:gd name="connsiteX1" fmla="*/ 3389761 w 6217767"/>
              <a:gd name="connsiteY1" fmla="*/ 0 h 3377283"/>
              <a:gd name="connsiteX2" fmla="*/ 5877373 w 6217767"/>
              <a:gd name="connsiteY2" fmla="*/ 440703 h 3377283"/>
              <a:gd name="connsiteX3" fmla="*/ 6217762 w 6217767"/>
              <a:gd name="connsiteY3" fmla="*/ 2502888 h 3377283"/>
              <a:gd name="connsiteX4" fmla="*/ 2490214 w 6217767"/>
              <a:gd name="connsiteY4" fmla="*/ 3377277 h 3377283"/>
              <a:gd name="connsiteX5" fmla="*/ 111205 w 6217767"/>
              <a:gd name="connsiteY5" fmla="*/ 1620527 h 3377283"/>
              <a:gd name="connsiteX6" fmla="*/ 464353 w 6217767"/>
              <a:gd name="connsiteY6" fmla="*/ 432489 h 3377283"/>
              <a:gd name="connsiteX0" fmla="*/ 464353 w 6217767"/>
              <a:gd name="connsiteY0" fmla="*/ 432489 h 3377435"/>
              <a:gd name="connsiteX1" fmla="*/ 3389761 w 6217767"/>
              <a:gd name="connsiteY1" fmla="*/ 0 h 3377435"/>
              <a:gd name="connsiteX2" fmla="*/ 5877373 w 6217767"/>
              <a:gd name="connsiteY2" fmla="*/ 440703 h 3377435"/>
              <a:gd name="connsiteX3" fmla="*/ 6217762 w 6217767"/>
              <a:gd name="connsiteY3" fmla="*/ 2502888 h 3377435"/>
              <a:gd name="connsiteX4" fmla="*/ 2490214 w 6217767"/>
              <a:gd name="connsiteY4" fmla="*/ 3377277 h 3377435"/>
              <a:gd name="connsiteX5" fmla="*/ 111205 w 6217767"/>
              <a:gd name="connsiteY5" fmla="*/ 1620527 h 3377435"/>
              <a:gd name="connsiteX6" fmla="*/ 464353 w 6217767"/>
              <a:gd name="connsiteY6" fmla="*/ 432489 h 3377435"/>
              <a:gd name="connsiteX0" fmla="*/ 464353 w 6217767"/>
              <a:gd name="connsiteY0" fmla="*/ 432489 h 3377435"/>
              <a:gd name="connsiteX1" fmla="*/ 3389761 w 6217767"/>
              <a:gd name="connsiteY1" fmla="*/ 0 h 3377435"/>
              <a:gd name="connsiteX2" fmla="*/ 5877373 w 6217767"/>
              <a:gd name="connsiteY2" fmla="*/ 440703 h 3377435"/>
              <a:gd name="connsiteX3" fmla="*/ 6217762 w 6217767"/>
              <a:gd name="connsiteY3" fmla="*/ 2502888 h 3377435"/>
              <a:gd name="connsiteX4" fmla="*/ 2490214 w 6217767"/>
              <a:gd name="connsiteY4" fmla="*/ 3377277 h 3377435"/>
              <a:gd name="connsiteX5" fmla="*/ 111205 w 6217767"/>
              <a:gd name="connsiteY5" fmla="*/ 1620527 h 3377435"/>
              <a:gd name="connsiteX6" fmla="*/ 464353 w 6217767"/>
              <a:gd name="connsiteY6" fmla="*/ 432489 h 3377435"/>
              <a:gd name="connsiteX0" fmla="*/ 464353 w 6217767"/>
              <a:gd name="connsiteY0" fmla="*/ 432489 h 3377435"/>
              <a:gd name="connsiteX1" fmla="*/ 3389761 w 6217767"/>
              <a:gd name="connsiteY1" fmla="*/ 0 h 3377435"/>
              <a:gd name="connsiteX2" fmla="*/ 5877373 w 6217767"/>
              <a:gd name="connsiteY2" fmla="*/ 440703 h 3377435"/>
              <a:gd name="connsiteX3" fmla="*/ 6217762 w 6217767"/>
              <a:gd name="connsiteY3" fmla="*/ 2502888 h 3377435"/>
              <a:gd name="connsiteX4" fmla="*/ 2490214 w 6217767"/>
              <a:gd name="connsiteY4" fmla="*/ 3377277 h 3377435"/>
              <a:gd name="connsiteX5" fmla="*/ 111205 w 6217767"/>
              <a:gd name="connsiteY5" fmla="*/ 1620527 h 3377435"/>
              <a:gd name="connsiteX6" fmla="*/ 464353 w 6217767"/>
              <a:gd name="connsiteY6" fmla="*/ 432489 h 3377435"/>
              <a:gd name="connsiteX0" fmla="*/ 464353 w 6217767"/>
              <a:gd name="connsiteY0" fmla="*/ 432489 h 3377435"/>
              <a:gd name="connsiteX1" fmla="*/ 3389761 w 6217767"/>
              <a:gd name="connsiteY1" fmla="*/ 0 h 3377435"/>
              <a:gd name="connsiteX2" fmla="*/ 5877373 w 6217767"/>
              <a:gd name="connsiteY2" fmla="*/ 440703 h 3377435"/>
              <a:gd name="connsiteX3" fmla="*/ 6217762 w 6217767"/>
              <a:gd name="connsiteY3" fmla="*/ 2502888 h 3377435"/>
              <a:gd name="connsiteX4" fmla="*/ 2490214 w 6217767"/>
              <a:gd name="connsiteY4" fmla="*/ 3377277 h 3377435"/>
              <a:gd name="connsiteX5" fmla="*/ 111205 w 6217767"/>
              <a:gd name="connsiteY5" fmla="*/ 1620527 h 3377435"/>
              <a:gd name="connsiteX6" fmla="*/ 464353 w 6217767"/>
              <a:gd name="connsiteY6" fmla="*/ 432489 h 3377435"/>
              <a:gd name="connsiteX0" fmla="*/ 353260 w 6106674"/>
              <a:gd name="connsiteY0" fmla="*/ 432489 h 3377439"/>
              <a:gd name="connsiteX1" fmla="*/ 3278668 w 6106674"/>
              <a:gd name="connsiteY1" fmla="*/ 0 h 3377439"/>
              <a:gd name="connsiteX2" fmla="*/ 5766280 w 6106674"/>
              <a:gd name="connsiteY2" fmla="*/ 440703 h 3377439"/>
              <a:gd name="connsiteX3" fmla="*/ 6106669 w 6106674"/>
              <a:gd name="connsiteY3" fmla="*/ 2502888 h 3377439"/>
              <a:gd name="connsiteX4" fmla="*/ 2379121 w 6106674"/>
              <a:gd name="connsiteY4" fmla="*/ 3377277 h 3377439"/>
              <a:gd name="connsiteX5" fmla="*/ 112 w 6106674"/>
              <a:gd name="connsiteY5" fmla="*/ 1620527 h 3377439"/>
              <a:gd name="connsiteX6" fmla="*/ 353260 w 6106674"/>
              <a:gd name="connsiteY6" fmla="*/ 432489 h 3377439"/>
              <a:gd name="connsiteX0" fmla="*/ 353204 w 6106618"/>
              <a:gd name="connsiteY0" fmla="*/ 432489 h 3377392"/>
              <a:gd name="connsiteX1" fmla="*/ 3278612 w 6106618"/>
              <a:gd name="connsiteY1" fmla="*/ 0 h 3377392"/>
              <a:gd name="connsiteX2" fmla="*/ 5766224 w 6106618"/>
              <a:gd name="connsiteY2" fmla="*/ 440703 h 3377392"/>
              <a:gd name="connsiteX3" fmla="*/ 6106613 w 6106618"/>
              <a:gd name="connsiteY3" fmla="*/ 2502888 h 3377392"/>
              <a:gd name="connsiteX4" fmla="*/ 2379065 w 6106618"/>
              <a:gd name="connsiteY4" fmla="*/ 3377277 h 3377392"/>
              <a:gd name="connsiteX5" fmla="*/ 56 w 6106618"/>
              <a:gd name="connsiteY5" fmla="*/ 1620527 h 3377392"/>
              <a:gd name="connsiteX6" fmla="*/ 353204 w 6106618"/>
              <a:gd name="connsiteY6" fmla="*/ 432489 h 3377392"/>
              <a:gd name="connsiteX0" fmla="*/ 353202 w 6106616"/>
              <a:gd name="connsiteY0" fmla="*/ 432489 h 3377392"/>
              <a:gd name="connsiteX1" fmla="*/ 3278610 w 6106616"/>
              <a:gd name="connsiteY1" fmla="*/ 0 h 3377392"/>
              <a:gd name="connsiteX2" fmla="*/ 5766222 w 6106616"/>
              <a:gd name="connsiteY2" fmla="*/ 440703 h 3377392"/>
              <a:gd name="connsiteX3" fmla="*/ 6106611 w 6106616"/>
              <a:gd name="connsiteY3" fmla="*/ 2502888 h 3377392"/>
              <a:gd name="connsiteX4" fmla="*/ 2379063 w 6106616"/>
              <a:gd name="connsiteY4" fmla="*/ 3377277 h 3377392"/>
              <a:gd name="connsiteX5" fmla="*/ 54 w 6106616"/>
              <a:gd name="connsiteY5" fmla="*/ 1620527 h 3377392"/>
              <a:gd name="connsiteX6" fmla="*/ 353202 w 6106616"/>
              <a:gd name="connsiteY6" fmla="*/ 432489 h 3377392"/>
              <a:gd name="connsiteX0" fmla="*/ 353202 w 6106616"/>
              <a:gd name="connsiteY0" fmla="*/ 600917 h 3545820"/>
              <a:gd name="connsiteX1" fmla="*/ 2919417 w 6106616"/>
              <a:gd name="connsiteY1" fmla="*/ 0 h 3545820"/>
              <a:gd name="connsiteX2" fmla="*/ 5766222 w 6106616"/>
              <a:gd name="connsiteY2" fmla="*/ 609131 h 3545820"/>
              <a:gd name="connsiteX3" fmla="*/ 6106611 w 6106616"/>
              <a:gd name="connsiteY3" fmla="*/ 2671316 h 3545820"/>
              <a:gd name="connsiteX4" fmla="*/ 2379063 w 6106616"/>
              <a:gd name="connsiteY4" fmla="*/ 3545705 h 3545820"/>
              <a:gd name="connsiteX5" fmla="*/ 54 w 6106616"/>
              <a:gd name="connsiteY5" fmla="*/ 1788955 h 3545820"/>
              <a:gd name="connsiteX6" fmla="*/ 353202 w 6106616"/>
              <a:gd name="connsiteY6" fmla="*/ 600917 h 3545820"/>
              <a:gd name="connsiteX0" fmla="*/ 353202 w 6116436"/>
              <a:gd name="connsiteY0" fmla="*/ 600917 h 3545820"/>
              <a:gd name="connsiteX1" fmla="*/ 2919417 w 6116436"/>
              <a:gd name="connsiteY1" fmla="*/ 0 h 3545820"/>
              <a:gd name="connsiteX2" fmla="*/ 6116436 w 6116436"/>
              <a:gd name="connsiteY2" fmla="*/ 1143288 h 3545820"/>
              <a:gd name="connsiteX3" fmla="*/ 6106611 w 6116436"/>
              <a:gd name="connsiteY3" fmla="*/ 2671316 h 3545820"/>
              <a:gd name="connsiteX4" fmla="*/ 2379063 w 6116436"/>
              <a:gd name="connsiteY4" fmla="*/ 3545705 h 3545820"/>
              <a:gd name="connsiteX5" fmla="*/ 54 w 6116436"/>
              <a:gd name="connsiteY5" fmla="*/ 1788955 h 3545820"/>
              <a:gd name="connsiteX6" fmla="*/ 353202 w 6116436"/>
              <a:gd name="connsiteY6" fmla="*/ 600917 h 3545820"/>
              <a:gd name="connsiteX0" fmla="*/ 353202 w 7085417"/>
              <a:gd name="connsiteY0" fmla="*/ 600917 h 4090923"/>
              <a:gd name="connsiteX1" fmla="*/ 2919417 w 7085417"/>
              <a:gd name="connsiteY1" fmla="*/ 0 h 4090923"/>
              <a:gd name="connsiteX2" fmla="*/ 6116436 w 7085417"/>
              <a:gd name="connsiteY2" fmla="*/ 1143288 h 4090923"/>
              <a:gd name="connsiteX3" fmla="*/ 7085414 w 7085417"/>
              <a:gd name="connsiteY3" fmla="*/ 4090923 h 4090923"/>
              <a:gd name="connsiteX4" fmla="*/ 2379063 w 7085417"/>
              <a:gd name="connsiteY4" fmla="*/ 3545705 h 4090923"/>
              <a:gd name="connsiteX5" fmla="*/ 54 w 7085417"/>
              <a:gd name="connsiteY5" fmla="*/ 1788955 h 4090923"/>
              <a:gd name="connsiteX6" fmla="*/ 353202 w 7085417"/>
              <a:gd name="connsiteY6" fmla="*/ 600917 h 4090923"/>
              <a:gd name="connsiteX0" fmla="*/ 479202 w 7211418"/>
              <a:gd name="connsiteY0" fmla="*/ 600917 h 4090923"/>
              <a:gd name="connsiteX1" fmla="*/ 3045417 w 7211418"/>
              <a:gd name="connsiteY1" fmla="*/ 0 h 4090923"/>
              <a:gd name="connsiteX2" fmla="*/ 6242436 w 7211418"/>
              <a:gd name="connsiteY2" fmla="*/ 1143288 h 4090923"/>
              <a:gd name="connsiteX3" fmla="*/ 7211414 w 7211418"/>
              <a:gd name="connsiteY3" fmla="*/ 4090923 h 4090923"/>
              <a:gd name="connsiteX4" fmla="*/ 3034876 w 7211418"/>
              <a:gd name="connsiteY4" fmla="*/ 4084674 h 4090923"/>
              <a:gd name="connsiteX5" fmla="*/ 126054 w 7211418"/>
              <a:gd name="connsiteY5" fmla="*/ 1788955 h 4090923"/>
              <a:gd name="connsiteX6" fmla="*/ 479202 w 7211418"/>
              <a:gd name="connsiteY6" fmla="*/ 600917 h 4090923"/>
              <a:gd name="connsiteX0" fmla="*/ 479202 w 7221240"/>
              <a:gd name="connsiteY0" fmla="*/ 1093785 h 4583791"/>
              <a:gd name="connsiteX1" fmla="*/ 3045417 w 7221240"/>
              <a:gd name="connsiteY1" fmla="*/ 492868 h 4583791"/>
              <a:gd name="connsiteX2" fmla="*/ 7221240 w 7221240"/>
              <a:gd name="connsiteY2" fmla="*/ 0 h 4583791"/>
              <a:gd name="connsiteX3" fmla="*/ 7211414 w 7221240"/>
              <a:gd name="connsiteY3" fmla="*/ 4583791 h 4583791"/>
              <a:gd name="connsiteX4" fmla="*/ 3034876 w 7221240"/>
              <a:gd name="connsiteY4" fmla="*/ 4577542 h 4583791"/>
              <a:gd name="connsiteX5" fmla="*/ 126054 w 7221240"/>
              <a:gd name="connsiteY5" fmla="*/ 2281823 h 4583791"/>
              <a:gd name="connsiteX6" fmla="*/ 479202 w 7221240"/>
              <a:gd name="connsiteY6" fmla="*/ 1093785 h 4583791"/>
              <a:gd name="connsiteX0" fmla="*/ 479202 w 7221240"/>
              <a:gd name="connsiteY0" fmla="*/ 1096576 h 4586582"/>
              <a:gd name="connsiteX1" fmla="*/ 3656047 w 7221240"/>
              <a:gd name="connsiteY1" fmla="*/ 0 h 4586582"/>
              <a:gd name="connsiteX2" fmla="*/ 7221240 w 7221240"/>
              <a:gd name="connsiteY2" fmla="*/ 2791 h 4586582"/>
              <a:gd name="connsiteX3" fmla="*/ 7211414 w 7221240"/>
              <a:gd name="connsiteY3" fmla="*/ 4586582 h 4586582"/>
              <a:gd name="connsiteX4" fmla="*/ 3034876 w 7221240"/>
              <a:gd name="connsiteY4" fmla="*/ 4580333 h 4586582"/>
              <a:gd name="connsiteX5" fmla="*/ 126054 w 7221240"/>
              <a:gd name="connsiteY5" fmla="*/ 2284614 h 4586582"/>
              <a:gd name="connsiteX6" fmla="*/ 479202 w 7221240"/>
              <a:gd name="connsiteY6" fmla="*/ 1096576 h 4586582"/>
              <a:gd name="connsiteX0" fmla="*/ 4967 w 6747005"/>
              <a:gd name="connsiteY0" fmla="*/ 1096576 h 4586582"/>
              <a:gd name="connsiteX1" fmla="*/ 3181812 w 6747005"/>
              <a:gd name="connsiteY1" fmla="*/ 0 h 4586582"/>
              <a:gd name="connsiteX2" fmla="*/ 6747005 w 6747005"/>
              <a:gd name="connsiteY2" fmla="*/ 2791 h 4586582"/>
              <a:gd name="connsiteX3" fmla="*/ 6737179 w 6747005"/>
              <a:gd name="connsiteY3" fmla="*/ 4586582 h 4586582"/>
              <a:gd name="connsiteX4" fmla="*/ 2560641 w 6747005"/>
              <a:gd name="connsiteY4" fmla="*/ 4580333 h 4586582"/>
              <a:gd name="connsiteX5" fmla="*/ 4967 w 6747005"/>
              <a:gd name="connsiteY5" fmla="*/ 1096576 h 4586582"/>
              <a:gd name="connsiteX0" fmla="*/ 146702 w 6888740"/>
              <a:gd name="connsiteY0" fmla="*/ 1096576 h 4586582"/>
              <a:gd name="connsiteX1" fmla="*/ 3323547 w 6888740"/>
              <a:gd name="connsiteY1" fmla="*/ 0 h 4586582"/>
              <a:gd name="connsiteX2" fmla="*/ 6888740 w 6888740"/>
              <a:gd name="connsiteY2" fmla="*/ 2791 h 4586582"/>
              <a:gd name="connsiteX3" fmla="*/ 6878914 w 6888740"/>
              <a:gd name="connsiteY3" fmla="*/ 4586582 h 4586582"/>
              <a:gd name="connsiteX4" fmla="*/ 2702376 w 6888740"/>
              <a:gd name="connsiteY4" fmla="*/ 4580333 h 4586582"/>
              <a:gd name="connsiteX5" fmla="*/ 146702 w 6888740"/>
              <a:gd name="connsiteY5" fmla="*/ 1096576 h 4586582"/>
              <a:gd name="connsiteX0" fmla="*/ 146702 w 6888740"/>
              <a:gd name="connsiteY0" fmla="*/ 1096576 h 4586582"/>
              <a:gd name="connsiteX1" fmla="*/ 3323547 w 6888740"/>
              <a:gd name="connsiteY1" fmla="*/ 0 h 4586582"/>
              <a:gd name="connsiteX2" fmla="*/ 6888740 w 6888740"/>
              <a:gd name="connsiteY2" fmla="*/ 2791 h 4586582"/>
              <a:gd name="connsiteX3" fmla="*/ 6878914 w 6888740"/>
              <a:gd name="connsiteY3" fmla="*/ 4586582 h 4586582"/>
              <a:gd name="connsiteX4" fmla="*/ 2702376 w 6888740"/>
              <a:gd name="connsiteY4" fmla="*/ 4580333 h 4586582"/>
              <a:gd name="connsiteX5" fmla="*/ 146702 w 6888740"/>
              <a:gd name="connsiteY5" fmla="*/ 1096576 h 4586582"/>
              <a:gd name="connsiteX0" fmla="*/ 49 w 6742087"/>
              <a:gd name="connsiteY0" fmla="*/ 1096576 h 4586582"/>
              <a:gd name="connsiteX1" fmla="*/ 3176894 w 6742087"/>
              <a:gd name="connsiteY1" fmla="*/ 0 h 4586582"/>
              <a:gd name="connsiteX2" fmla="*/ 6742087 w 6742087"/>
              <a:gd name="connsiteY2" fmla="*/ 2791 h 4586582"/>
              <a:gd name="connsiteX3" fmla="*/ 6732261 w 6742087"/>
              <a:gd name="connsiteY3" fmla="*/ 4586582 h 4586582"/>
              <a:gd name="connsiteX4" fmla="*/ 2555723 w 6742087"/>
              <a:gd name="connsiteY4" fmla="*/ 4580333 h 4586582"/>
              <a:gd name="connsiteX5" fmla="*/ 49 w 6742087"/>
              <a:gd name="connsiteY5" fmla="*/ 1096576 h 4586582"/>
              <a:gd name="connsiteX0" fmla="*/ 29 w 6742067"/>
              <a:gd name="connsiteY0" fmla="*/ 1096576 h 4586582"/>
              <a:gd name="connsiteX1" fmla="*/ 3176874 w 6742067"/>
              <a:gd name="connsiteY1" fmla="*/ 0 h 4586582"/>
              <a:gd name="connsiteX2" fmla="*/ 6742067 w 6742067"/>
              <a:gd name="connsiteY2" fmla="*/ 2791 h 4586582"/>
              <a:gd name="connsiteX3" fmla="*/ 6732241 w 6742067"/>
              <a:gd name="connsiteY3" fmla="*/ 4586582 h 4586582"/>
              <a:gd name="connsiteX4" fmla="*/ 2555703 w 6742067"/>
              <a:gd name="connsiteY4" fmla="*/ 4580333 h 4586582"/>
              <a:gd name="connsiteX5" fmla="*/ 29 w 6742067"/>
              <a:gd name="connsiteY5" fmla="*/ 1096576 h 4586582"/>
              <a:gd name="connsiteX0" fmla="*/ 35 w 6266141"/>
              <a:gd name="connsiteY0" fmla="*/ 1693292 h 4586582"/>
              <a:gd name="connsiteX1" fmla="*/ 2700948 w 6266141"/>
              <a:gd name="connsiteY1" fmla="*/ 0 h 4586582"/>
              <a:gd name="connsiteX2" fmla="*/ 6266141 w 6266141"/>
              <a:gd name="connsiteY2" fmla="*/ 2791 h 4586582"/>
              <a:gd name="connsiteX3" fmla="*/ 6256315 w 6266141"/>
              <a:gd name="connsiteY3" fmla="*/ 4586582 h 4586582"/>
              <a:gd name="connsiteX4" fmla="*/ 2079777 w 6266141"/>
              <a:gd name="connsiteY4" fmla="*/ 4580333 h 4586582"/>
              <a:gd name="connsiteX5" fmla="*/ 35 w 6266141"/>
              <a:gd name="connsiteY5" fmla="*/ 1693292 h 4586582"/>
              <a:gd name="connsiteX0" fmla="*/ 35 w 6266141"/>
              <a:gd name="connsiteY0" fmla="*/ 1690502 h 4583792"/>
              <a:gd name="connsiteX1" fmla="*/ 1892761 w 6266141"/>
              <a:gd name="connsiteY1" fmla="*/ 2022 h 4583792"/>
              <a:gd name="connsiteX2" fmla="*/ 6266141 w 6266141"/>
              <a:gd name="connsiteY2" fmla="*/ 1 h 4583792"/>
              <a:gd name="connsiteX3" fmla="*/ 6256315 w 6266141"/>
              <a:gd name="connsiteY3" fmla="*/ 4583792 h 4583792"/>
              <a:gd name="connsiteX4" fmla="*/ 2079777 w 6266141"/>
              <a:gd name="connsiteY4" fmla="*/ 4577543 h 4583792"/>
              <a:gd name="connsiteX5" fmla="*/ 35 w 6266141"/>
              <a:gd name="connsiteY5" fmla="*/ 1690502 h 4583792"/>
              <a:gd name="connsiteX0" fmla="*/ 53 w 6266159"/>
              <a:gd name="connsiteY0" fmla="*/ 1690502 h 4583792"/>
              <a:gd name="connsiteX1" fmla="*/ 1892779 w 6266159"/>
              <a:gd name="connsiteY1" fmla="*/ 2022 h 4583792"/>
              <a:gd name="connsiteX2" fmla="*/ 6266159 w 6266159"/>
              <a:gd name="connsiteY2" fmla="*/ 1 h 4583792"/>
              <a:gd name="connsiteX3" fmla="*/ 6256333 w 6266159"/>
              <a:gd name="connsiteY3" fmla="*/ 4583792 h 4583792"/>
              <a:gd name="connsiteX4" fmla="*/ 1316507 w 6266159"/>
              <a:gd name="connsiteY4" fmla="*/ 4577543 h 4583792"/>
              <a:gd name="connsiteX5" fmla="*/ 53 w 6266159"/>
              <a:gd name="connsiteY5" fmla="*/ 1690502 h 458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66159" h="4583792">
                <a:moveTo>
                  <a:pt x="53" y="1690502"/>
                </a:moveTo>
                <a:lnTo>
                  <a:pt x="1892779" y="2022"/>
                </a:lnTo>
                <a:lnTo>
                  <a:pt x="6266159" y="1"/>
                </a:lnTo>
                <a:cubicBezTo>
                  <a:pt x="6257974" y="-779"/>
                  <a:pt x="6256553" y="4582247"/>
                  <a:pt x="6256333" y="4583792"/>
                </a:cubicBezTo>
                <a:cubicBezTo>
                  <a:pt x="6261712" y="4580306"/>
                  <a:pt x="1337504" y="4580236"/>
                  <a:pt x="1316507" y="4577543"/>
                </a:cubicBezTo>
                <a:cubicBezTo>
                  <a:pt x="1316952" y="4587778"/>
                  <a:pt x="-9775" y="1686817"/>
                  <a:pt x="53" y="1690502"/>
                </a:cubicBezTo>
                <a:close/>
              </a:path>
            </a:pathLst>
          </a:custGeom>
          <a:ln w="50800">
            <a:noFill/>
          </a:ln>
        </p:spPr>
        <p:txBody>
          <a:bodyPr/>
          <a:lstStyle/>
          <a:p>
            <a:pPr marL="304778" marR="0" lvl="0" indent="-304778" algn="l" defTabSz="1219108" rtl="0" eaLnBrk="1" fontAlgn="auto" latinLnBrk="0" hangingPunct="1">
              <a:lnSpc>
                <a:spcPct val="90000"/>
              </a:lnSpc>
              <a:spcBef>
                <a:spcPts val="1333"/>
              </a:spcBef>
              <a:spcAft>
                <a:spcPts val="0"/>
              </a:spcAft>
              <a:buClrTx/>
              <a:buSzTx/>
              <a:buFont typeface="Arial" panose="020B0604020202020204" pitchFamily="34" charset="0"/>
              <a:buNone/>
              <a:tabLst/>
              <a:defRPr/>
            </a:pPr>
            <a:r>
              <a:rPr lang="en-US" noProof="0"/>
              <a:t>Picture</a:t>
            </a:r>
          </a:p>
        </p:txBody>
      </p:sp>
      <p:sp>
        <p:nvSpPr>
          <p:cNvPr id="4" name="Marcador de texto 6">
            <a:extLst>
              <a:ext uri="{FF2B5EF4-FFF2-40B4-BE49-F238E27FC236}">
                <a16:creationId xmlns:a16="http://schemas.microsoft.com/office/drawing/2014/main" id="{0BCE6A4B-D244-F0AD-6255-C467761EBA7E}"/>
              </a:ext>
            </a:extLst>
          </p:cNvPr>
          <p:cNvSpPr>
            <a:spLocks noGrp="1"/>
          </p:cNvSpPr>
          <p:nvPr>
            <p:ph type="body" sz="quarter" idx="24" hasCustomPrompt="1"/>
          </p:nvPr>
        </p:nvSpPr>
        <p:spPr>
          <a:xfrm>
            <a:off x="0" y="4563"/>
            <a:ext cx="716605" cy="6858000"/>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2"/>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5" name="Título 1">
            <a:extLst>
              <a:ext uri="{FF2B5EF4-FFF2-40B4-BE49-F238E27FC236}">
                <a16:creationId xmlns:a16="http://schemas.microsoft.com/office/drawing/2014/main" id="{48423B44-A59B-CDA3-C538-9BAC0AEDF2E2}"/>
              </a:ext>
            </a:extLst>
          </p:cNvPr>
          <p:cNvSpPr>
            <a:spLocks noGrp="1"/>
          </p:cNvSpPr>
          <p:nvPr>
            <p:ph type="title" hasCustomPrompt="1"/>
          </p:nvPr>
        </p:nvSpPr>
        <p:spPr>
          <a:xfrm>
            <a:off x="1200152" y="740834"/>
            <a:ext cx="4412497" cy="2599343"/>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4800" baseline="0">
                <a:solidFill>
                  <a:schemeClr val="accent2"/>
                </a:solidFill>
              </a:defRPr>
            </a:lvl1pPr>
          </a:lstStyle>
          <a:p>
            <a:r>
              <a:rPr lang="en-US" noProof="0"/>
              <a:t>Headline is Arial Reg.36pt.</a:t>
            </a:r>
            <a:br>
              <a:rPr lang="en-US" noProof="0"/>
            </a:br>
            <a:r>
              <a:rPr lang="en-US" noProof="0"/>
              <a:t>Lorem ipsum </a:t>
            </a:r>
            <a:br>
              <a:rPr lang="en-US" noProof="0"/>
            </a:br>
            <a:r>
              <a:rPr lang="en-US" noProof="0"/>
              <a:t>dolor sit </a:t>
            </a:r>
            <a:r>
              <a:rPr lang="en-US" noProof="0" err="1"/>
              <a:t>amet</a:t>
            </a:r>
            <a:r>
              <a:rPr lang="en-US" noProof="0"/>
              <a:t>.</a:t>
            </a:r>
          </a:p>
        </p:txBody>
      </p:sp>
      <p:sp>
        <p:nvSpPr>
          <p:cNvPr id="6" name="Marcador de texto 5">
            <a:extLst>
              <a:ext uri="{FF2B5EF4-FFF2-40B4-BE49-F238E27FC236}">
                <a16:creationId xmlns:a16="http://schemas.microsoft.com/office/drawing/2014/main" id="{D7A2021B-890C-611F-A034-4FD4A0AAF370}"/>
              </a:ext>
            </a:extLst>
          </p:cNvPr>
          <p:cNvSpPr>
            <a:spLocks noGrp="1"/>
          </p:cNvSpPr>
          <p:nvPr>
            <p:ph type="body" sz="quarter" idx="12" hasCustomPrompt="1"/>
          </p:nvPr>
        </p:nvSpPr>
        <p:spPr>
          <a:xfrm>
            <a:off x="1216715" y="3468670"/>
            <a:ext cx="4193935" cy="405357"/>
          </a:xfrm>
          <a:prstGeom prst="rect">
            <a:avLst/>
          </a:prstGeom>
        </p:spPr>
        <p:txBody>
          <a:bodyPr lIns="0" tIns="0" rIns="0" bIns="0">
            <a:noAutofit/>
          </a:bodyPr>
          <a:lstStyle>
            <a:lvl1pPr marL="0" indent="0">
              <a:lnSpc>
                <a:spcPct val="100000"/>
              </a:lnSpc>
              <a:spcBef>
                <a:spcPts val="0"/>
              </a:spcBef>
              <a:buNone/>
              <a:defRPr sz="1733" baseline="0">
                <a:solidFill>
                  <a:schemeClr val="accent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Subhead is Arial Regular 13/Simple pt.</a:t>
            </a:r>
          </a:p>
        </p:txBody>
      </p:sp>
      <p:sp>
        <p:nvSpPr>
          <p:cNvPr id="8" name="Marcador de texto 5">
            <a:extLst>
              <a:ext uri="{FF2B5EF4-FFF2-40B4-BE49-F238E27FC236}">
                <a16:creationId xmlns:a16="http://schemas.microsoft.com/office/drawing/2014/main" id="{FDE14C11-F38E-6F1F-9FE1-1E06A36AAC50}"/>
              </a:ext>
            </a:extLst>
          </p:cNvPr>
          <p:cNvSpPr>
            <a:spLocks noGrp="1"/>
          </p:cNvSpPr>
          <p:nvPr>
            <p:ph type="body" sz="quarter" idx="16" hasCustomPrompt="1"/>
          </p:nvPr>
        </p:nvSpPr>
        <p:spPr>
          <a:xfrm>
            <a:off x="1200151" y="4269921"/>
            <a:ext cx="4434140" cy="1798564"/>
          </a:xfrm>
          <a:prstGeom prst="rect">
            <a:avLst/>
          </a:prstGeom>
        </p:spPr>
        <p:txBody>
          <a:bodyPr lIns="0" tIns="0" rIns="0" bIns="0">
            <a:noAutofit/>
          </a:bodyPr>
          <a:lstStyle>
            <a:lvl1pPr marL="0" indent="0">
              <a:lnSpc>
                <a:spcPct val="100000"/>
              </a:lnSpc>
              <a:spcBef>
                <a:spcPts val="0"/>
              </a:spcBef>
              <a:buNone/>
              <a:defRPr sz="1200" baseline="0">
                <a:solidFill>
                  <a:schemeClr val="accent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err="1"/>
              <a:t>Bodycopy</a:t>
            </a:r>
            <a:r>
              <a:rPr lang="en-US" noProof="0"/>
              <a:t> is Arial Regular 9/Simple p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noProof="0"/>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err="1"/>
              <a:t>Bodycopy</a:t>
            </a:r>
            <a:r>
              <a:rPr lang="en-US" noProof="0"/>
              <a:t> is Arial Regular 9/Simple pt. Lorem ipsum dolor si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a:t>
            </a:r>
          </a:p>
          <a:p>
            <a:pPr lvl="0"/>
            <a:endParaRPr lang="en-US" noProof="0"/>
          </a:p>
        </p:txBody>
      </p:sp>
      <p:sp>
        <p:nvSpPr>
          <p:cNvPr id="11" name="Marcador de texto 5">
            <a:extLst>
              <a:ext uri="{FF2B5EF4-FFF2-40B4-BE49-F238E27FC236}">
                <a16:creationId xmlns:a16="http://schemas.microsoft.com/office/drawing/2014/main" id="{019DAA36-1A05-3757-07DD-D4CA91C275E4}"/>
              </a:ext>
            </a:extLst>
          </p:cNvPr>
          <p:cNvSpPr>
            <a:spLocks noGrp="1"/>
          </p:cNvSpPr>
          <p:nvPr>
            <p:ph type="body" sz="quarter" idx="25" hasCustomPrompt="1"/>
          </p:nvPr>
        </p:nvSpPr>
        <p:spPr>
          <a:xfrm>
            <a:off x="4039281" y="6417750"/>
            <a:ext cx="4113439" cy="195084"/>
          </a:xfrm>
          <a:prstGeom prst="rect">
            <a:avLst/>
          </a:prstGeom>
        </p:spPr>
        <p:txBody>
          <a:bodyPr/>
          <a:lstStyle>
            <a:lvl1pPr marL="0" indent="0" algn="ctr">
              <a:buNone/>
              <a:defRPr sz="933">
                <a:solidFill>
                  <a:schemeClr val="accent1"/>
                </a:solidFill>
              </a:defRPr>
            </a:lvl1pPr>
          </a:lstStyle>
          <a:p>
            <a:r>
              <a:rPr lang="es-ES" err="1"/>
              <a:t>Lorem</a:t>
            </a:r>
            <a:r>
              <a:rPr lang="es-ES"/>
              <a:t> </a:t>
            </a:r>
            <a:r>
              <a:rPr lang="es-ES" err="1"/>
              <a:t>ipsum</a:t>
            </a:r>
            <a:r>
              <a:rPr lang="es-ES"/>
              <a:t> dolor </a:t>
            </a:r>
            <a:r>
              <a:rPr lang="es-ES" err="1"/>
              <a:t>sit</a:t>
            </a:r>
            <a:r>
              <a:rPr lang="es-ES"/>
              <a:t> </a:t>
            </a:r>
            <a:r>
              <a:rPr lang="es-ES" err="1"/>
              <a:t>amet</a:t>
            </a:r>
            <a:r>
              <a:rPr lang="es-ES"/>
              <a:t>.</a:t>
            </a:r>
          </a:p>
        </p:txBody>
      </p:sp>
      <p:sp>
        <p:nvSpPr>
          <p:cNvPr id="12" name="Slide Number Placeholder 5">
            <a:extLst>
              <a:ext uri="{FF2B5EF4-FFF2-40B4-BE49-F238E27FC236}">
                <a16:creationId xmlns:a16="http://schemas.microsoft.com/office/drawing/2014/main" id="{940B26A7-785D-F330-4B5D-4E8DB55D527A}"/>
              </a:ext>
            </a:extLst>
          </p:cNvPr>
          <p:cNvSpPr>
            <a:spLocks noGrp="1"/>
          </p:cNvSpPr>
          <p:nvPr>
            <p:ph type="sldNum" sz="quarter" idx="4"/>
          </p:nvPr>
        </p:nvSpPr>
        <p:spPr>
          <a:xfrm>
            <a:off x="10910403" y="6356351"/>
            <a:ext cx="1042415" cy="365125"/>
          </a:xfrm>
          <a:prstGeom prst="rect">
            <a:avLst/>
          </a:prstGeom>
        </p:spPr>
        <p:txBody>
          <a:bodyPr vert="horz" lIns="91440" tIns="45720" rIns="91440" bIns="45720" rtlCol="0" anchor="ctr"/>
          <a:lstStyle>
            <a:lvl1pPr algn="r">
              <a:defRPr sz="933">
                <a:solidFill>
                  <a:schemeClr val="accent1"/>
                </a:solidFill>
              </a:defRPr>
            </a:lvl1pPr>
          </a:lstStyle>
          <a:p>
            <a:fld id="{96F64DD7-E411-6141-89FE-121B5323FD5F}" type="slidenum">
              <a:rPr lang="en-US" smtClean="0"/>
              <a:pPr/>
              <a:t>‹Nº›</a:t>
            </a:fld>
            <a:endParaRPr lang="en-US"/>
          </a:p>
        </p:txBody>
      </p:sp>
    </p:spTree>
    <p:extLst>
      <p:ext uri="{BB962C8B-B14F-4D97-AF65-F5344CB8AC3E}">
        <p14:creationId xmlns:p14="http://schemas.microsoft.com/office/powerpoint/2010/main" val="87113241"/>
      </p:ext>
    </p:extLst>
  </p:cSld>
  <p:clrMapOvr>
    <a:masterClrMapping/>
  </p:clrMapOvr>
  <p:extLst>
    <p:ext uri="{DCECCB84-F9BA-43D5-87BE-67443E8EF086}">
      <p15:sldGuideLst xmlns:p15="http://schemas.microsoft.com/office/powerpoint/2012/main">
        <p15:guide id="1" orient="horz" pos="2867">
          <p15:clr>
            <a:srgbClr val="FBAE40"/>
          </p15:clr>
        </p15:guide>
        <p15:guide id="2" pos="2880">
          <p15:clr>
            <a:srgbClr val="FBAE40"/>
          </p15:clr>
        </p15:guide>
        <p15:guide id="3" orient="horz" pos="35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 Image 4">
    <p:bg>
      <p:bgPr>
        <a:solidFill>
          <a:schemeClr val="bg1"/>
        </a:solidFill>
        <a:effectLst/>
      </p:bgPr>
    </p:bg>
    <p:spTree>
      <p:nvGrpSpPr>
        <p:cNvPr id="1" name=""/>
        <p:cNvGrpSpPr/>
        <p:nvPr/>
      </p:nvGrpSpPr>
      <p:grpSpPr>
        <a:xfrm>
          <a:off x="0" y="0"/>
          <a:ext cx="0" cy="0"/>
          <a:chOff x="0" y="0"/>
          <a:chExt cx="0" cy="0"/>
        </a:xfrm>
      </p:grpSpPr>
      <p:sp>
        <p:nvSpPr>
          <p:cNvPr id="7" name="Marcador de imagen 7">
            <a:extLst>
              <a:ext uri="{FF2B5EF4-FFF2-40B4-BE49-F238E27FC236}">
                <a16:creationId xmlns:a16="http://schemas.microsoft.com/office/drawing/2014/main" id="{1CB64C5B-97F4-0D5F-B624-BC1B6A3C66FA}"/>
              </a:ext>
            </a:extLst>
          </p:cNvPr>
          <p:cNvSpPr>
            <a:spLocks noGrp="1"/>
          </p:cNvSpPr>
          <p:nvPr>
            <p:ph type="pic" sz="quarter" idx="20" hasCustomPrompt="1"/>
          </p:nvPr>
        </p:nvSpPr>
        <p:spPr>
          <a:xfrm>
            <a:off x="-16245" y="-23566"/>
            <a:ext cx="5057549" cy="6898495"/>
          </a:xfrm>
          <a:custGeom>
            <a:avLst/>
            <a:gdLst>
              <a:gd name="connsiteX0" fmla="*/ 0 w 8411266"/>
              <a:gd name="connsiteY0" fmla="*/ 0 h 2915921"/>
              <a:gd name="connsiteX1" fmla="*/ 8411266 w 8411266"/>
              <a:gd name="connsiteY1" fmla="*/ 0 h 2915921"/>
              <a:gd name="connsiteX2" fmla="*/ 8411266 w 8411266"/>
              <a:gd name="connsiteY2" fmla="*/ 2915921 h 2915921"/>
              <a:gd name="connsiteX3" fmla="*/ 0 w 8411266"/>
              <a:gd name="connsiteY3" fmla="*/ 2915921 h 2915921"/>
              <a:gd name="connsiteX4" fmla="*/ 0 w 8411266"/>
              <a:gd name="connsiteY4" fmla="*/ 0 h 2915921"/>
              <a:gd name="connsiteX0" fmla="*/ 0 w 8411266"/>
              <a:gd name="connsiteY0" fmla="*/ 0 h 2915922"/>
              <a:gd name="connsiteX1" fmla="*/ 8411266 w 8411266"/>
              <a:gd name="connsiteY1" fmla="*/ 0 h 2915922"/>
              <a:gd name="connsiteX2" fmla="*/ 8411266 w 8411266"/>
              <a:gd name="connsiteY2" fmla="*/ 2915921 h 2915922"/>
              <a:gd name="connsiteX3" fmla="*/ 7668987 w 8411266"/>
              <a:gd name="connsiteY3" fmla="*/ 2915922 h 2915922"/>
              <a:gd name="connsiteX4" fmla="*/ 0 w 8411266"/>
              <a:gd name="connsiteY4" fmla="*/ 2915921 h 2915922"/>
              <a:gd name="connsiteX5" fmla="*/ 0 w 8411266"/>
              <a:gd name="connsiteY5" fmla="*/ 0 h 2915922"/>
              <a:gd name="connsiteX0" fmla="*/ 0 w 8411266"/>
              <a:gd name="connsiteY0" fmla="*/ 0 h 2915922"/>
              <a:gd name="connsiteX1" fmla="*/ 8411266 w 8411266"/>
              <a:gd name="connsiteY1" fmla="*/ 0 h 2915922"/>
              <a:gd name="connsiteX2" fmla="*/ 8405886 w 8411266"/>
              <a:gd name="connsiteY2" fmla="*/ 2238189 h 2915922"/>
              <a:gd name="connsiteX3" fmla="*/ 8411266 w 8411266"/>
              <a:gd name="connsiteY3" fmla="*/ 2915921 h 2915922"/>
              <a:gd name="connsiteX4" fmla="*/ 7668987 w 8411266"/>
              <a:gd name="connsiteY4" fmla="*/ 2915922 h 2915922"/>
              <a:gd name="connsiteX5" fmla="*/ 0 w 8411266"/>
              <a:gd name="connsiteY5" fmla="*/ 2915921 h 2915922"/>
              <a:gd name="connsiteX6" fmla="*/ 0 w 8411266"/>
              <a:gd name="connsiteY6" fmla="*/ 0 h 2915922"/>
              <a:gd name="connsiteX0" fmla="*/ 0 w 8411782"/>
              <a:gd name="connsiteY0" fmla="*/ 0 h 2915922"/>
              <a:gd name="connsiteX1" fmla="*/ 8411266 w 8411782"/>
              <a:gd name="connsiteY1" fmla="*/ 0 h 2915922"/>
              <a:gd name="connsiteX2" fmla="*/ 8411265 w 8411782"/>
              <a:gd name="connsiteY2" fmla="*/ 2211294 h 2915922"/>
              <a:gd name="connsiteX3" fmla="*/ 8411266 w 8411782"/>
              <a:gd name="connsiteY3" fmla="*/ 2915921 h 2915922"/>
              <a:gd name="connsiteX4" fmla="*/ 7668987 w 8411782"/>
              <a:gd name="connsiteY4" fmla="*/ 2915922 h 2915922"/>
              <a:gd name="connsiteX5" fmla="*/ 0 w 8411782"/>
              <a:gd name="connsiteY5" fmla="*/ 2915921 h 2915922"/>
              <a:gd name="connsiteX6" fmla="*/ 0 w 8411782"/>
              <a:gd name="connsiteY6" fmla="*/ 0 h 2915922"/>
              <a:gd name="connsiteX0" fmla="*/ 0 w 8519559"/>
              <a:gd name="connsiteY0" fmla="*/ 0 h 2915922"/>
              <a:gd name="connsiteX1" fmla="*/ 8411266 w 8519559"/>
              <a:gd name="connsiteY1" fmla="*/ 0 h 2915922"/>
              <a:gd name="connsiteX2" fmla="*/ 8411265 w 8519559"/>
              <a:gd name="connsiteY2" fmla="*/ 2211294 h 2915922"/>
              <a:gd name="connsiteX3" fmla="*/ 7668987 w 8519559"/>
              <a:gd name="connsiteY3" fmla="*/ 2915922 h 2915922"/>
              <a:gd name="connsiteX4" fmla="*/ 0 w 8519559"/>
              <a:gd name="connsiteY4" fmla="*/ 2915921 h 2915922"/>
              <a:gd name="connsiteX5" fmla="*/ 0 w 8519559"/>
              <a:gd name="connsiteY5" fmla="*/ 0 h 2915922"/>
              <a:gd name="connsiteX0" fmla="*/ 0 w 8568374"/>
              <a:gd name="connsiteY0" fmla="*/ 0 h 2915922"/>
              <a:gd name="connsiteX1" fmla="*/ 8411266 w 8568374"/>
              <a:gd name="connsiteY1" fmla="*/ 0 h 2915922"/>
              <a:gd name="connsiteX2" fmla="*/ 8411265 w 8568374"/>
              <a:gd name="connsiteY2" fmla="*/ 2211294 h 2915922"/>
              <a:gd name="connsiteX3" fmla="*/ 7668987 w 8568374"/>
              <a:gd name="connsiteY3" fmla="*/ 2915922 h 2915922"/>
              <a:gd name="connsiteX4" fmla="*/ 0 w 8568374"/>
              <a:gd name="connsiteY4" fmla="*/ 2915921 h 2915922"/>
              <a:gd name="connsiteX5" fmla="*/ 0 w 8568374"/>
              <a:gd name="connsiteY5" fmla="*/ 0 h 2915922"/>
              <a:gd name="connsiteX0" fmla="*/ 0 w 8411782"/>
              <a:gd name="connsiteY0" fmla="*/ 0 h 2915922"/>
              <a:gd name="connsiteX1" fmla="*/ 8411266 w 8411782"/>
              <a:gd name="connsiteY1" fmla="*/ 0 h 2915922"/>
              <a:gd name="connsiteX2" fmla="*/ 8411265 w 8411782"/>
              <a:gd name="connsiteY2" fmla="*/ 2211294 h 2915922"/>
              <a:gd name="connsiteX3" fmla="*/ 7668987 w 8411782"/>
              <a:gd name="connsiteY3" fmla="*/ 2915922 h 2915922"/>
              <a:gd name="connsiteX4" fmla="*/ 0 w 8411782"/>
              <a:gd name="connsiteY4" fmla="*/ 2915921 h 2915922"/>
              <a:gd name="connsiteX5" fmla="*/ 0 w 8411782"/>
              <a:gd name="connsiteY5" fmla="*/ 0 h 2915922"/>
              <a:gd name="connsiteX0" fmla="*/ 0 w 8418465"/>
              <a:gd name="connsiteY0" fmla="*/ 0 h 2915922"/>
              <a:gd name="connsiteX1" fmla="*/ 8411266 w 8418465"/>
              <a:gd name="connsiteY1" fmla="*/ 0 h 2915922"/>
              <a:gd name="connsiteX2" fmla="*/ 8418046 w 8418465"/>
              <a:gd name="connsiteY2" fmla="*/ 2519966 h 2915922"/>
              <a:gd name="connsiteX3" fmla="*/ 7668987 w 8418465"/>
              <a:gd name="connsiteY3" fmla="*/ 2915922 h 2915922"/>
              <a:gd name="connsiteX4" fmla="*/ 0 w 8418465"/>
              <a:gd name="connsiteY4" fmla="*/ 2915921 h 2915922"/>
              <a:gd name="connsiteX5" fmla="*/ 0 w 8418465"/>
              <a:gd name="connsiteY5" fmla="*/ 0 h 2915922"/>
              <a:gd name="connsiteX0" fmla="*/ 0 w 8425205"/>
              <a:gd name="connsiteY0" fmla="*/ 0 h 2915922"/>
              <a:gd name="connsiteX1" fmla="*/ 8411266 w 8425205"/>
              <a:gd name="connsiteY1" fmla="*/ 0 h 2915922"/>
              <a:gd name="connsiteX2" fmla="*/ 8424827 w 8425205"/>
              <a:gd name="connsiteY2" fmla="*/ 2522560 h 2915922"/>
              <a:gd name="connsiteX3" fmla="*/ 7668987 w 8425205"/>
              <a:gd name="connsiteY3" fmla="*/ 2915922 h 2915922"/>
              <a:gd name="connsiteX4" fmla="*/ 0 w 8425205"/>
              <a:gd name="connsiteY4" fmla="*/ 2915921 h 2915922"/>
              <a:gd name="connsiteX5" fmla="*/ 0 w 8425205"/>
              <a:gd name="connsiteY5" fmla="*/ 0 h 2915922"/>
              <a:gd name="connsiteX0" fmla="*/ 0 w 8411783"/>
              <a:gd name="connsiteY0" fmla="*/ 0 h 2915922"/>
              <a:gd name="connsiteX1" fmla="*/ 8411266 w 8411783"/>
              <a:gd name="connsiteY1" fmla="*/ 0 h 2915922"/>
              <a:gd name="connsiteX2" fmla="*/ 8411265 w 8411783"/>
              <a:gd name="connsiteY2" fmla="*/ 2506997 h 2915922"/>
              <a:gd name="connsiteX3" fmla="*/ 7668987 w 8411783"/>
              <a:gd name="connsiteY3" fmla="*/ 2915922 h 2915922"/>
              <a:gd name="connsiteX4" fmla="*/ 0 w 8411783"/>
              <a:gd name="connsiteY4" fmla="*/ 2915921 h 2915922"/>
              <a:gd name="connsiteX5" fmla="*/ 0 w 8411783"/>
              <a:gd name="connsiteY5" fmla="*/ 0 h 2915922"/>
              <a:gd name="connsiteX0" fmla="*/ 0 w 8411781"/>
              <a:gd name="connsiteY0" fmla="*/ 0 h 2918516"/>
              <a:gd name="connsiteX1" fmla="*/ 8411266 w 8411781"/>
              <a:gd name="connsiteY1" fmla="*/ 0 h 2918516"/>
              <a:gd name="connsiteX2" fmla="*/ 8411265 w 8411781"/>
              <a:gd name="connsiteY2" fmla="*/ 2506997 h 2918516"/>
              <a:gd name="connsiteX3" fmla="*/ 7431649 w 8411781"/>
              <a:gd name="connsiteY3" fmla="*/ 2918516 h 2918516"/>
              <a:gd name="connsiteX4" fmla="*/ 0 w 8411781"/>
              <a:gd name="connsiteY4" fmla="*/ 2915921 h 2918516"/>
              <a:gd name="connsiteX5" fmla="*/ 0 w 8411781"/>
              <a:gd name="connsiteY5" fmla="*/ 0 h 2918516"/>
              <a:gd name="connsiteX0" fmla="*/ 0 w 8411783"/>
              <a:gd name="connsiteY0" fmla="*/ 0 h 2921109"/>
              <a:gd name="connsiteX1" fmla="*/ 8411266 w 8411783"/>
              <a:gd name="connsiteY1" fmla="*/ 0 h 2921109"/>
              <a:gd name="connsiteX2" fmla="*/ 8411265 w 8411783"/>
              <a:gd name="connsiteY2" fmla="*/ 2506997 h 2921109"/>
              <a:gd name="connsiteX3" fmla="*/ 7431649 w 8411783"/>
              <a:gd name="connsiteY3" fmla="*/ 2918516 h 2921109"/>
              <a:gd name="connsiteX4" fmla="*/ 0 w 8411783"/>
              <a:gd name="connsiteY4" fmla="*/ 2921109 h 2921109"/>
              <a:gd name="connsiteX5" fmla="*/ 0 w 8411783"/>
              <a:gd name="connsiteY5" fmla="*/ 0 h 2921109"/>
              <a:gd name="connsiteX0" fmla="*/ 0 w 8412159"/>
              <a:gd name="connsiteY0" fmla="*/ 0 h 2921109"/>
              <a:gd name="connsiteX1" fmla="*/ 8411266 w 8412159"/>
              <a:gd name="connsiteY1" fmla="*/ 0 h 2921109"/>
              <a:gd name="connsiteX2" fmla="*/ 8411265 w 8412159"/>
              <a:gd name="connsiteY2" fmla="*/ 2506997 h 2921109"/>
              <a:gd name="connsiteX3" fmla="*/ 7431649 w 8412159"/>
              <a:gd name="connsiteY3" fmla="*/ 2918516 h 2921109"/>
              <a:gd name="connsiteX4" fmla="*/ 0 w 8412159"/>
              <a:gd name="connsiteY4" fmla="*/ 2921109 h 2921109"/>
              <a:gd name="connsiteX5" fmla="*/ 0 w 8412159"/>
              <a:gd name="connsiteY5" fmla="*/ 0 h 2921109"/>
              <a:gd name="connsiteX0" fmla="*/ 13562 w 8412159"/>
              <a:gd name="connsiteY0" fmla="*/ 0 h 2921109"/>
              <a:gd name="connsiteX1" fmla="*/ 8411266 w 8412159"/>
              <a:gd name="connsiteY1" fmla="*/ 0 h 2921109"/>
              <a:gd name="connsiteX2" fmla="*/ 8411265 w 8412159"/>
              <a:gd name="connsiteY2" fmla="*/ 2506997 h 2921109"/>
              <a:gd name="connsiteX3" fmla="*/ 7431649 w 8412159"/>
              <a:gd name="connsiteY3" fmla="*/ 2918516 h 2921109"/>
              <a:gd name="connsiteX4" fmla="*/ 0 w 8412159"/>
              <a:gd name="connsiteY4" fmla="*/ 2921109 h 2921109"/>
              <a:gd name="connsiteX5" fmla="*/ 13562 w 8412159"/>
              <a:gd name="connsiteY5" fmla="*/ 0 h 2921109"/>
              <a:gd name="connsiteX0" fmla="*/ 13562 w 8415929"/>
              <a:gd name="connsiteY0" fmla="*/ 0 h 2922720"/>
              <a:gd name="connsiteX1" fmla="*/ 8411266 w 8415929"/>
              <a:gd name="connsiteY1" fmla="*/ 0 h 2922720"/>
              <a:gd name="connsiteX2" fmla="*/ 8411265 w 8415929"/>
              <a:gd name="connsiteY2" fmla="*/ 2506997 h 2922720"/>
              <a:gd name="connsiteX3" fmla="*/ 7514079 w 8415929"/>
              <a:gd name="connsiteY3" fmla="*/ 2922720 h 2922720"/>
              <a:gd name="connsiteX4" fmla="*/ 0 w 8415929"/>
              <a:gd name="connsiteY4" fmla="*/ 2921109 h 2922720"/>
              <a:gd name="connsiteX5" fmla="*/ 13562 w 8415929"/>
              <a:gd name="connsiteY5" fmla="*/ 0 h 2922720"/>
              <a:gd name="connsiteX0" fmla="*/ 13562 w 8415929"/>
              <a:gd name="connsiteY0" fmla="*/ 0 h 2922720"/>
              <a:gd name="connsiteX1" fmla="*/ 8411266 w 8415929"/>
              <a:gd name="connsiteY1" fmla="*/ 0 h 2922720"/>
              <a:gd name="connsiteX2" fmla="*/ 8411265 w 8415929"/>
              <a:gd name="connsiteY2" fmla="*/ 2481772 h 2922720"/>
              <a:gd name="connsiteX3" fmla="*/ 7514079 w 8415929"/>
              <a:gd name="connsiteY3" fmla="*/ 2922720 h 2922720"/>
              <a:gd name="connsiteX4" fmla="*/ 0 w 8415929"/>
              <a:gd name="connsiteY4" fmla="*/ 2921109 h 2922720"/>
              <a:gd name="connsiteX5" fmla="*/ 13562 w 8415929"/>
              <a:gd name="connsiteY5" fmla="*/ 0 h 2922720"/>
              <a:gd name="connsiteX0" fmla="*/ 13562 w 8414282"/>
              <a:gd name="connsiteY0" fmla="*/ 0 h 2922720"/>
              <a:gd name="connsiteX1" fmla="*/ 8411266 w 8414282"/>
              <a:gd name="connsiteY1" fmla="*/ 0 h 2922720"/>
              <a:gd name="connsiteX2" fmla="*/ 8411265 w 8414282"/>
              <a:gd name="connsiteY2" fmla="*/ 2481772 h 2922720"/>
              <a:gd name="connsiteX3" fmla="*/ 7514079 w 8414282"/>
              <a:gd name="connsiteY3" fmla="*/ 2922720 h 2922720"/>
              <a:gd name="connsiteX4" fmla="*/ 0 w 8414282"/>
              <a:gd name="connsiteY4" fmla="*/ 2921109 h 2922720"/>
              <a:gd name="connsiteX5" fmla="*/ 13562 w 8414282"/>
              <a:gd name="connsiteY5" fmla="*/ 0 h 2922720"/>
              <a:gd name="connsiteX0" fmla="*/ 13562 w 8418988"/>
              <a:gd name="connsiteY0" fmla="*/ 0 h 2926924"/>
              <a:gd name="connsiteX1" fmla="*/ 8411266 w 8418988"/>
              <a:gd name="connsiteY1" fmla="*/ 0 h 2926924"/>
              <a:gd name="connsiteX2" fmla="*/ 8411265 w 8418988"/>
              <a:gd name="connsiteY2" fmla="*/ 2481772 h 2926924"/>
              <a:gd name="connsiteX3" fmla="*/ 7567541 w 8418988"/>
              <a:gd name="connsiteY3" fmla="*/ 2926924 h 2926924"/>
              <a:gd name="connsiteX4" fmla="*/ 0 w 8418988"/>
              <a:gd name="connsiteY4" fmla="*/ 2921109 h 2926924"/>
              <a:gd name="connsiteX5" fmla="*/ 13562 w 8418988"/>
              <a:gd name="connsiteY5" fmla="*/ 0 h 2926924"/>
              <a:gd name="connsiteX0" fmla="*/ 13562 w 8411933"/>
              <a:gd name="connsiteY0" fmla="*/ 0 h 2926924"/>
              <a:gd name="connsiteX1" fmla="*/ 8411266 w 8411933"/>
              <a:gd name="connsiteY1" fmla="*/ 0 h 2926924"/>
              <a:gd name="connsiteX2" fmla="*/ 8411265 w 8411933"/>
              <a:gd name="connsiteY2" fmla="*/ 2481772 h 2926924"/>
              <a:gd name="connsiteX3" fmla="*/ 7567541 w 8411933"/>
              <a:gd name="connsiteY3" fmla="*/ 2926924 h 2926924"/>
              <a:gd name="connsiteX4" fmla="*/ 0 w 8411933"/>
              <a:gd name="connsiteY4" fmla="*/ 2921109 h 2926924"/>
              <a:gd name="connsiteX5" fmla="*/ 13562 w 8411933"/>
              <a:gd name="connsiteY5" fmla="*/ 0 h 2926924"/>
              <a:gd name="connsiteX0" fmla="*/ 2313266 w 8411933"/>
              <a:gd name="connsiteY0" fmla="*/ 0 h 3278300"/>
              <a:gd name="connsiteX1" fmla="*/ 8411266 w 8411933"/>
              <a:gd name="connsiteY1" fmla="*/ 351376 h 3278300"/>
              <a:gd name="connsiteX2" fmla="*/ 8411265 w 8411933"/>
              <a:gd name="connsiteY2" fmla="*/ 2833148 h 3278300"/>
              <a:gd name="connsiteX3" fmla="*/ 7567541 w 8411933"/>
              <a:gd name="connsiteY3" fmla="*/ 3278300 h 3278300"/>
              <a:gd name="connsiteX4" fmla="*/ 0 w 8411933"/>
              <a:gd name="connsiteY4" fmla="*/ 3272485 h 3278300"/>
              <a:gd name="connsiteX5" fmla="*/ 2313266 w 8411933"/>
              <a:gd name="connsiteY5" fmla="*/ 0 h 3278300"/>
              <a:gd name="connsiteX0" fmla="*/ 1267 w 6099934"/>
              <a:gd name="connsiteY0" fmla="*/ 0 h 3278300"/>
              <a:gd name="connsiteX1" fmla="*/ 6099267 w 6099934"/>
              <a:gd name="connsiteY1" fmla="*/ 351376 h 3278300"/>
              <a:gd name="connsiteX2" fmla="*/ 6099266 w 6099934"/>
              <a:gd name="connsiteY2" fmla="*/ 2833148 h 3278300"/>
              <a:gd name="connsiteX3" fmla="*/ 5255542 w 6099934"/>
              <a:gd name="connsiteY3" fmla="*/ 3278300 h 3278300"/>
              <a:gd name="connsiteX4" fmla="*/ 1602 w 6099934"/>
              <a:gd name="connsiteY4" fmla="*/ 3276184 h 3278300"/>
              <a:gd name="connsiteX5" fmla="*/ 1267 w 6099934"/>
              <a:gd name="connsiteY5" fmla="*/ 0 h 3278300"/>
              <a:gd name="connsiteX0" fmla="*/ 1267 w 6099934"/>
              <a:gd name="connsiteY0" fmla="*/ 0 h 3278300"/>
              <a:gd name="connsiteX1" fmla="*/ 6099267 w 6099934"/>
              <a:gd name="connsiteY1" fmla="*/ 3698 h 3278300"/>
              <a:gd name="connsiteX2" fmla="*/ 6099266 w 6099934"/>
              <a:gd name="connsiteY2" fmla="*/ 2833148 h 3278300"/>
              <a:gd name="connsiteX3" fmla="*/ 5255542 w 6099934"/>
              <a:gd name="connsiteY3" fmla="*/ 3278300 h 3278300"/>
              <a:gd name="connsiteX4" fmla="*/ 1602 w 6099934"/>
              <a:gd name="connsiteY4" fmla="*/ 3276184 h 3278300"/>
              <a:gd name="connsiteX5" fmla="*/ 1267 w 6099934"/>
              <a:gd name="connsiteY5" fmla="*/ 0 h 3278300"/>
              <a:gd name="connsiteX0" fmla="*/ -1 w 6098666"/>
              <a:gd name="connsiteY0" fmla="*/ 0 h 3278300"/>
              <a:gd name="connsiteX1" fmla="*/ 6097999 w 6098666"/>
              <a:gd name="connsiteY1" fmla="*/ 3698 h 3278300"/>
              <a:gd name="connsiteX2" fmla="*/ 6097998 w 6098666"/>
              <a:gd name="connsiteY2" fmla="*/ 2833148 h 3278300"/>
              <a:gd name="connsiteX3" fmla="*/ 5254274 w 6098666"/>
              <a:gd name="connsiteY3" fmla="*/ 3278300 h 3278300"/>
              <a:gd name="connsiteX4" fmla="*/ 334 w 6098666"/>
              <a:gd name="connsiteY4" fmla="*/ 3276184 h 3278300"/>
              <a:gd name="connsiteX5" fmla="*/ -1 w 6098666"/>
              <a:gd name="connsiteY5" fmla="*/ 0 h 3278300"/>
              <a:gd name="connsiteX0" fmla="*/ 1 w 6098668"/>
              <a:gd name="connsiteY0" fmla="*/ 0 h 3278300"/>
              <a:gd name="connsiteX1" fmla="*/ 6098001 w 6098668"/>
              <a:gd name="connsiteY1" fmla="*/ 3698 h 3278300"/>
              <a:gd name="connsiteX2" fmla="*/ 6098000 w 6098668"/>
              <a:gd name="connsiteY2" fmla="*/ 2833148 h 3278300"/>
              <a:gd name="connsiteX3" fmla="*/ 5254276 w 6098668"/>
              <a:gd name="connsiteY3" fmla="*/ 3278300 h 3278300"/>
              <a:gd name="connsiteX4" fmla="*/ 336 w 6098668"/>
              <a:gd name="connsiteY4" fmla="*/ 3276184 h 3278300"/>
              <a:gd name="connsiteX5" fmla="*/ 1 w 6098668"/>
              <a:gd name="connsiteY5" fmla="*/ 0 h 3278300"/>
              <a:gd name="connsiteX0" fmla="*/ -1 w 6098666"/>
              <a:gd name="connsiteY0" fmla="*/ 0 h 3278300"/>
              <a:gd name="connsiteX1" fmla="*/ 6097999 w 6098666"/>
              <a:gd name="connsiteY1" fmla="*/ 3698 h 3278300"/>
              <a:gd name="connsiteX2" fmla="*/ 6097998 w 6098666"/>
              <a:gd name="connsiteY2" fmla="*/ 2833148 h 3278300"/>
              <a:gd name="connsiteX3" fmla="*/ 5254274 w 6098666"/>
              <a:gd name="connsiteY3" fmla="*/ 3278300 h 3278300"/>
              <a:gd name="connsiteX4" fmla="*/ 334 w 6098666"/>
              <a:gd name="connsiteY4" fmla="*/ 3276184 h 3278300"/>
              <a:gd name="connsiteX5" fmla="*/ -1 w 6098666"/>
              <a:gd name="connsiteY5" fmla="*/ 0 h 3278300"/>
              <a:gd name="connsiteX0" fmla="*/ 1 w 6098796"/>
              <a:gd name="connsiteY0" fmla="*/ 0 h 3278300"/>
              <a:gd name="connsiteX1" fmla="*/ 6098001 w 6098796"/>
              <a:gd name="connsiteY1" fmla="*/ 3698 h 3278300"/>
              <a:gd name="connsiteX2" fmla="*/ 6098000 w 6098796"/>
              <a:gd name="connsiteY2" fmla="*/ 2833148 h 3278300"/>
              <a:gd name="connsiteX3" fmla="*/ 5254276 w 6098796"/>
              <a:gd name="connsiteY3" fmla="*/ 3278300 h 3278300"/>
              <a:gd name="connsiteX4" fmla="*/ 336 w 6098796"/>
              <a:gd name="connsiteY4" fmla="*/ 3276184 h 3278300"/>
              <a:gd name="connsiteX5" fmla="*/ 1 w 6098796"/>
              <a:gd name="connsiteY5" fmla="*/ 0 h 3278300"/>
              <a:gd name="connsiteX0" fmla="*/ -1 w 6098794"/>
              <a:gd name="connsiteY0" fmla="*/ 0 h 3276184"/>
              <a:gd name="connsiteX1" fmla="*/ 6097999 w 6098794"/>
              <a:gd name="connsiteY1" fmla="*/ 3698 h 3276184"/>
              <a:gd name="connsiteX2" fmla="*/ 6097998 w 6098794"/>
              <a:gd name="connsiteY2" fmla="*/ 2833148 h 3276184"/>
              <a:gd name="connsiteX3" fmla="*/ 3259278 w 6098794"/>
              <a:gd name="connsiteY3" fmla="*/ 3273473 h 3276184"/>
              <a:gd name="connsiteX4" fmla="*/ 334 w 6098794"/>
              <a:gd name="connsiteY4" fmla="*/ 3276184 h 3276184"/>
              <a:gd name="connsiteX5" fmla="*/ -1 w 6098794"/>
              <a:gd name="connsiteY5" fmla="*/ 0 h 3276184"/>
              <a:gd name="connsiteX0" fmla="*/ 1 w 6098000"/>
              <a:gd name="connsiteY0" fmla="*/ 0 h 3276184"/>
              <a:gd name="connsiteX1" fmla="*/ 6098001 w 6098000"/>
              <a:gd name="connsiteY1" fmla="*/ 3698 h 3276184"/>
              <a:gd name="connsiteX2" fmla="*/ 6079864 w 6098000"/>
              <a:gd name="connsiteY2" fmla="*/ 2529014 h 3276184"/>
              <a:gd name="connsiteX3" fmla="*/ 3259280 w 6098000"/>
              <a:gd name="connsiteY3" fmla="*/ 3273473 h 3276184"/>
              <a:gd name="connsiteX4" fmla="*/ 336 w 6098000"/>
              <a:gd name="connsiteY4" fmla="*/ 3276184 h 3276184"/>
              <a:gd name="connsiteX5" fmla="*/ 1 w 6098000"/>
              <a:gd name="connsiteY5" fmla="*/ 0 h 3276184"/>
              <a:gd name="connsiteX0" fmla="*/ 8737 w 6106737"/>
              <a:gd name="connsiteY0" fmla="*/ 0 h 3273473"/>
              <a:gd name="connsiteX1" fmla="*/ 6106737 w 6106737"/>
              <a:gd name="connsiteY1" fmla="*/ 3698 h 3273473"/>
              <a:gd name="connsiteX2" fmla="*/ 6088600 w 6106737"/>
              <a:gd name="connsiteY2" fmla="*/ 2529014 h 3273473"/>
              <a:gd name="connsiteX3" fmla="*/ 3268016 w 6106737"/>
              <a:gd name="connsiteY3" fmla="*/ 3273473 h 3273473"/>
              <a:gd name="connsiteX4" fmla="*/ 3 w 6106737"/>
              <a:gd name="connsiteY4" fmla="*/ 2329989 h 3273473"/>
              <a:gd name="connsiteX5" fmla="*/ 8737 w 6106737"/>
              <a:gd name="connsiteY5" fmla="*/ 0 h 3273473"/>
              <a:gd name="connsiteX0" fmla="*/ 335189 w 6106735"/>
              <a:gd name="connsiteY0" fmla="*/ 454917 h 3269775"/>
              <a:gd name="connsiteX1" fmla="*/ 6106735 w 6106735"/>
              <a:gd name="connsiteY1" fmla="*/ 0 h 3269775"/>
              <a:gd name="connsiteX2" fmla="*/ 6088598 w 6106735"/>
              <a:gd name="connsiteY2" fmla="*/ 2525316 h 3269775"/>
              <a:gd name="connsiteX3" fmla="*/ 3268014 w 6106735"/>
              <a:gd name="connsiteY3" fmla="*/ 3269775 h 3269775"/>
              <a:gd name="connsiteX4" fmla="*/ 1 w 6106735"/>
              <a:gd name="connsiteY4" fmla="*/ 2326291 h 3269775"/>
              <a:gd name="connsiteX5" fmla="*/ 335189 w 6106735"/>
              <a:gd name="connsiteY5" fmla="*/ 454917 h 3269775"/>
              <a:gd name="connsiteX0" fmla="*/ 335189 w 6106735"/>
              <a:gd name="connsiteY0" fmla="*/ 454917 h 3269775"/>
              <a:gd name="connsiteX1" fmla="*/ 3432891 w 6106735"/>
              <a:gd name="connsiteY1" fmla="*/ 205873 h 3269775"/>
              <a:gd name="connsiteX2" fmla="*/ 6106735 w 6106735"/>
              <a:gd name="connsiteY2" fmla="*/ 0 h 3269775"/>
              <a:gd name="connsiteX3" fmla="*/ 6088598 w 6106735"/>
              <a:gd name="connsiteY3" fmla="*/ 2525316 h 3269775"/>
              <a:gd name="connsiteX4" fmla="*/ 3268014 w 6106735"/>
              <a:gd name="connsiteY4" fmla="*/ 3269775 h 3269775"/>
              <a:gd name="connsiteX5" fmla="*/ 1 w 6106735"/>
              <a:gd name="connsiteY5" fmla="*/ 2326291 h 3269775"/>
              <a:gd name="connsiteX6" fmla="*/ 335189 w 6106735"/>
              <a:gd name="connsiteY6" fmla="*/ 454917 h 3269775"/>
              <a:gd name="connsiteX0" fmla="*/ 335189 w 6106735"/>
              <a:gd name="connsiteY0" fmla="*/ 454917 h 3269775"/>
              <a:gd name="connsiteX1" fmla="*/ 3260597 w 6106735"/>
              <a:gd name="connsiteY1" fmla="*/ 22428 h 3269775"/>
              <a:gd name="connsiteX2" fmla="*/ 6106735 w 6106735"/>
              <a:gd name="connsiteY2" fmla="*/ 0 h 3269775"/>
              <a:gd name="connsiteX3" fmla="*/ 6088598 w 6106735"/>
              <a:gd name="connsiteY3" fmla="*/ 2525316 h 3269775"/>
              <a:gd name="connsiteX4" fmla="*/ 3268014 w 6106735"/>
              <a:gd name="connsiteY4" fmla="*/ 3269775 h 3269775"/>
              <a:gd name="connsiteX5" fmla="*/ 1 w 6106735"/>
              <a:gd name="connsiteY5" fmla="*/ 2326291 h 3269775"/>
              <a:gd name="connsiteX6" fmla="*/ 335189 w 6106735"/>
              <a:gd name="connsiteY6" fmla="*/ 454917 h 3269775"/>
              <a:gd name="connsiteX0" fmla="*/ 335189 w 6124871"/>
              <a:gd name="connsiteY0" fmla="*/ 432489 h 3247347"/>
              <a:gd name="connsiteX1" fmla="*/ 3260597 w 6124871"/>
              <a:gd name="connsiteY1" fmla="*/ 0 h 3247347"/>
              <a:gd name="connsiteX2" fmla="*/ 6124871 w 6124871"/>
              <a:gd name="connsiteY2" fmla="*/ 281705 h 3247347"/>
              <a:gd name="connsiteX3" fmla="*/ 6088598 w 6124871"/>
              <a:gd name="connsiteY3" fmla="*/ 2502888 h 3247347"/>
              <a:gd name="connsiteX4" fmla="*/ 3268014 w 6124871"/>
              <a:gd name="connsiteY4" fmla="*/ 3247347 h 3247347"/>
              <a:gd name="connsiteX5" fmla="*/ 1 w 6124871"/>
              <a:gd name="connsiteY5" fmla="*/ 2303863 h 3247347"/>
              <a:gd name="connsiteX6" fmla="*/ 335189 w 6124871"/>
              <a:gd name="connsiteY6" fmla="*/ 432489 h 3247347"/>
              <a:gd name="connsiteX0" fmla="*/ 618041 w 6407723"/>
              <a:gd name="connsiteY0" fmla="*/ 432489 h 3247347"/>
              <a:gd name="connsiteX1" fmla="*/ 3543449 w 6407723"/>
              <a:gd name="connsiteY1" fmla="*/ 0 h 3247347"/>
              <a:gd name="connsiteX2" fmla="*/ 6407723 w 6407723"/>
              <a:gd name="connsiteY2" fmla="*/ 281705 h 3247347"/>
              <a:gd name="connsiteX3" fmla="*/ 6371450 w 6407723"/>
              <a:gd name="connsiteY3" fmla="*/ 2502888 h 3247347"/>
              <a:gd name="connsiteX4" fmla="*/ 3550866 w 6407723"/>
              <a:gd name="connsiteY4" fmla="*/ 3247347 h 3247347"/>
              <a:gd name="connsiteX5" fmla="*/ 282853 w 6407723"/>
              <a:gd name="connsiteY5" fmla="*/ 2303863 h 3247347"/>
              <a:gd name="connsiteX6" fmla="*/ 618041 w 6407723"/>
              <a:gd name="connsiteY6" fmla="*/ 432489 h 3247347"/>
              <a:gd name="connsiteX0" fmla="*/ 512943 w 6302625"/>
              <a:gd name="connsiteY0" fmla="*/ 432489 h 3247347"/>
              <a:gd name="connsiteX1" fmla="*/ 3438351 w 6302625"/>
              <a:gd name="connsiteY1" fmla="*/ 0 h 3247347"/>
              <a:gd name="connsiteX2" fmla="*/ 6302625 w 6302625"/>
              <a:gd name="connsiteY2" fmla="*/ 281705 h 3247347"/>
              <a:gd name="connsiteX3" fmla="*/ 6266352 w 6302625"/>
              <a:gd name="connsiteY3" fmla="*/ 2502888 h 3247347"/>
              <a:gd name="connsiteX4" fmla="*/ 3445768 w 6302625"/>
              <a:gd name="connsiteY4" fmla="*/ 3247347 h 3247347"/>
              <a:gd name="connsiteX5" fmla="*/ 177755 w 6302625"/>
              <a:gd name="connsiteY5" fmla="*/ 2303863 h 3247347"/>
              <a:gd name="connsiteX6" fmla="*/ 512943 w 6302625"/>
              <a:gd name="connsiteY6" fmla="*/ 432489 h 3247347"/>
              <a:gd name="connsiteX0" fmla="*/ 512943 w 6302625"/>
              <a:gd name="connsiteY0" fmla="*/ 432489 h 3283326"/>
              <a:gd name="connsiteX1" fmla="*/ 3438351 w 6302625"/>
              <a:gd name="connsiteY1" fmla="*/ 0 h 3283326"/>
              <a:gd name="connsiteX2" fmla="*/ 6302625 w 6302625"/>
              <a:gd name="connsiteY2" fmla="*/ 281705 h 3283326"/>
              <a:gd name="connsiteX3" fmla="*/ 6266352 w 6302625"/>
              <a:gd name="connsiteY3" fmla="*/ 2502888 h 3283326"/>
              <a:gd name="connsiteX4" fmla="*/ 3445768 w 6302625"/>
              <a:gd name="connsiteY4" fmla="*/ 3247347 h 3283326"/>
              <a:gd name="connsiteX5" fmla="*/ 177755 w 6302625"/>
              <a:gd name="connsiteY5" fmla="*/ 2303863 h 3283326"/>
              <a:gd name="connsiteX6" fmla="*/ 512943 w 6302625"/>
              <a:gd name="connsiteY6" fmla="*/ 432489 h 3283326"/>
              <a:gd name="connsiteX0" fmla="*/ 512943 w 6302625"/>
              <a:gd name="connsiteY0" fmla="*/ 432489 h 3283326"/>
              <a:gd name="connsiteX1" fmla="*/ 3438351 w 6302625"/>
              <a:gd name="connsiteY1" fmla="*/ 0 h 3283326"/>
              <a:gd name="connsiteX2" fmla="*/ 6302625 w 6302625"/>
              <a:gd name="connsiteY2" fmla="*/ 281705 h 3283326"/>
              <a:gd name="connsiteX3" fmla="*/ 6266352 w 6302625"/>
              <a:gd name="connsiteY3" fmla="*/ 2502888 h 3283326"/>
              <a:gd name="connsiteX4" fmla="*/ 3445768 w 6302625"/>
              <a:gd name="connsiteY4" fmla="*/ 3247347 h 3283326"/>
              <a:gd name="connsiteX5" fmla="*/ 177755 w 6302625"/>
              <a:gd name="connsiteY5" fmla="*/ 2303863 h 3283326"/>
              <a:gd name="connsiteX6" fmla="*/ 512943 w 6302625"/>
              <a:gd name="connsiteY6" fmla="*/ 432489 h 3283326"/>
              <a:gd name="connsiteX0" fmla="*/ 512943 w 6424948"/>
              <a:gd name="connsiteY0" fmla="*/ 432489 h 3283326"/>
              <a:gd name="connsiteX1" fmla="*/ 3438351 w 6424948"/>
              <a:gd name="connsiteY1" fmla="*/ 0 h 3283326"/>
              <a:gd name="connsiteX2" fmla="*/ 6302625 w 6424948"/>
              <a:gd name="connsiteY2" fmla="*/ 281705 h 3283326"/>
              <a:gd name="connsiteX3" fmla="*/ 6266352 w 6424948"/>
              <a:gd name="connsiteY3" fmla="*/ 2502888 h 3283326"/>
              <a:gd name="connsiteX4" fmla="*/ 3445768 w 6424948"/>
              <a:gd name="connsiteY4" fmla="*/ 3247347 h 3283326"/>
              <a:gd name="connsiteX5" fmla="*/ 177755 w 6424948"/>
              <a:gd name="connsiteY5" fmla="*/ 2303863 h 3283326"/>
              <a:gd name="connsiteX6" fmla="*/ 512943 w 642494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47782"/>
              <a:gd name="connsiteX1" fmla="*/ 3438351 w 6506888"/>
              <a:gd name="connsiteY1" fmla="*/ 0 h 3247782"/>
              <a:gd name="connsiteX2" fmla="*/ 6302625 w 6506888"/>
              <a:gd name="connsiteY2" fmla="*/ 281705 h 3247782"/>
              <a:gd name="connsiteX3" fmla="*/ 6266352 w 6506888"/>
              <a:gd name="connsiteY3" fmla="*/ 2502888 h 3247782"/>
              <a:gd name="connsiteX4" fmla="*/ 3445768 w 6506888"/>
              <a:gd name="connsiteY4" fmla="*/ 3247347 h 3247782"/>
              <a:gd name="connsiteX5" fmla="*/ 177755 w 6506888"/>
              <a:gd name="connsiteY5" fmla="*/ 2303863 h 3247782"/>
              <a:gd name="connsiteX6" fmla="*/ 512943 w 6506888"/>
              <a:gd name="connsiteY6" fmla="*/ 432489 h 3247782"/>
              <a:gd name="connsiteX0" fmla="*/ 512943 w 6640245"/>
              <a:gd name="connsiteY0" fmla="*/ 464431 h 3279724"/>
              <a:gd name="connsiteX1" fmla="*/ 3438351 w 6640245"/>
              <a:gd name="connsiteY1" fmla="*/ 31942 h 3279724"/>
              <a:gd name="connsiteX2" fmla="*/ 6302625 w 6640245"/>
              <a:gd name="connsiteY2" fmla="*/ 313647 h 3279724"/>
              <a:gd name="connsiteX3" fmla="*/ 6266352 w 6640245"/>
              <a:gd name="connsiteY3" fmla="*/ 2534830 h 3279724"/>
              <a:gd name="connsiteX4" fmla="*/ 3445768 w 6640245"/>
              <a:gd name="connsiteY4" fmla="*/ 3279289 h 3279724"/>
              <a:gd name="connsiteX5" fmla="*/ 177755 w 6640245"/>
              <a:gd name="connsiteY5" fmla="*/ 2335805 h 3279724"/>
              <a:gd name="connsiteX6" fmla="*/ 512943 w 6640245"/>
              <a:gd name="connsiteY6" fmla="*/ 464431 h 3279724"/>
              <a:gd name="connsiteX0" fmla="*/ 512943 w 6640245"/>
              <a:gd name="connsiteY0" fmla="*/ 435033 h 3250326"/>
              <a:gd name="connsiteX1" fmla="*/ 3438351 w 6640245"/>
              <a:gd name="connsiteY1" fmla="*/ 2544 h 3250326"/>
              <a:gd name="connsiteX2" fmla="*/ 6302625 w 6640245"/>
              <a:gd name="connsiteY2" fmla="*/ 284249 h 3250326"/>
              <a:gd name="connsiteX3" fmla="*/ 6266352 w 6640245"/>
              <a:gd name="connsiteY3" fmla="*/ 2505432 h 3250326"/>
              <a:gd name="connsiteX4" fmla="*/ 3445768 w 6640245"/>
              <a:gd name="connsiteY4" fmla="*/ 3249891 h 3250326"/>
              <a:gd name="connsiteX5" fmla="*/ 177755 w 6640245"/>
              <a:gd name="connsiteY5" fmla="*/ 2306407 h 3250326"/>
              <a:gd name="connsiteX6" fmla="*/ 512943 w 6640245"/>
              <a:gd name="connsiteY6" fmla="*/ 435033 h 3250326"/>
              <a:gd name="connsiteX0" fmla="*/ 512943 w 6481361"/>
              <a:gd name="connsiteY0" fmla="*/ 435033 h 3250326"/>
              <a:gd name="connsiteX1" fmla="*/ 3438351 w 6481361"/>
              <a:gd name="connsiteY1" fmla="*/ 2544 h 3250326"/>
              <a:gd name="connsiteX2" fmla="*/ 6302625 w 6481361"/>
              <a:gd name="connsiteY2" fmla="*/ 284249 h 3250326"/>
              <a:gd name="connsiteX3" fmla="*/ 6266352 w 6481361"/>
              <a:gd name="connsiteY3" fmla="*/ 2505432 h 3250326"/>
              <a:gd name="connsiteX4" fmla="*/ 3445768 w 6481361"/>
              <a:gd name="connsiteY4" fmla="*/ 3249891 h 3250326"/>
              <a:gd name="connsiteX5" fmla="*/ 177755 w 6481361"/>
              <a:gd name="connsiteY5" fmla="*/ 2306407 h 3250326"/>
              <a:gd name="connsiteX6" fmla="*/ 512943 w 6481361"/>
              <a:gd name="connsiteY6" fmla="*/ 435033 h 3250326"/>
              <a:gd name="connsiteX0" fmla="*/ 512943 w 6481363"/>
              <a:gd name="connsiteY0" fmla="*/ 435033 h 3250326"/>
              <a:gd name="connsiteX1" fmla="*/ 3438351 w 6481363"/>
              <a:gd name="connsiteY1" fmla="*/ 2544 h 3250326"/>
              <a:gd name="connsiteX2" fmla="*/ 6302625 w 6481363"/>
              <a:gd name="connsiteY2" fmla="*/ 284249 h 3250326"/>
              <a:gd name="connsiteX3" fmla="*/ 6266352 w 6481363"/>
              <a:gd name="connsiteY3" fmla="*/ 2505432 h 3250326"/>
              <a:gd name="connsiteX4" fmla="*/ 3445768 w 6481363"/>
              <a:gd name="connsiteY4" fmla="*/ 3249891 h 3250326"/>
              <a:gd name="connsiteX5" fmla="*/ 177755 w 6481363"/>
              <a:gd name="connsiteY5" fmla="*/ 2306407 h 3250326"/>
              <a:gd name="connsiteX6" fmla="*/ 512943 w 6481363"/>
              <a:gd name="connsiteY6" fmla="*/ 435033 h 3250326"/>
              <a:gd name="connsiteX0" fmla="*/ 512943 w 6481361"/>
              <a:gd name="connsiteY0" fmla="*/ 434187 h 3249480"/>
              <a:gd name="connsiteX1" fmla="*/ 3438351 w 6481361"/>
              <a:gd name="connsiteY1" fmla="*/ 1698 h 3249480"/>
              <a:gd name="connsiteX2" fmla="*/ 6302625 w 6481361"/>
              <a:gd name="connsiteY2" fmla="*/ 283403 h 3249480"/>
              <a:gd name="connsiteX3" fmla="*/ 6266352 w 6481361"/>
              <a:gd name="connsiteY3" fmla="*/ 2504586 h 3249480"/>
              <a:gd name="connsiteX4" fmla="*/ 3445768 w 6481361"/>
              <a:gd name="connsiteY4" fmla="*/ 3249045 h 3249480"/>
              <a:gd name="connsiteX5" fmla="*/ 177755 w 6481361"/>
              <a:gd name="connsiteY5" fmla="*/ 2305561 h 3249480"/>
              <a:gd name="connsiteX6" fmla="*/ 512943 w 6481361"/>
              <a:gd name="connsiteY6" fmla="*/ 434187 h 3249480"/>
              <a:gd name="connsiteX0" fmla="*/ 512943 w 6481363"/>
              <a:gd name="connsiteY0" fmla="*/ 435032 h 3250325"/>
              <a:gd name="connsiteX1" fmla="*/ 3438351 w 6481363"/>
              <a:gd name="connsiteY1" fmla="*/ 2543 h 3250325"/>
              <a:gd name="connsiteX2" fmla="*/ 6302625 w 6481363"/>
              <a:gd name="connsiteY2" fmla="*/ 284248 h 3250325"/>
              <a:gd name="connsiteX3" fmla="*/ 6266352 w 6481363"/>
              <a:gd name="connsiteY3" fmla="*/ 2505431 h 3250325"/>
              <a:gd name="connsiteX4" fmla="*/ 3445768 w 6481363"/>
              <a:gd name="connsiteY4" fmla="*/ 3249890 h 3250325"/>
              <a:gd name="connsiteX5" fmla="*/ 177755 w 6481363"/>
              <a:gd name="connsiteY5" fmla="*/ 2306406 h 3250325"/>
              <a:gd name="connsiteX6" fmla="*/ 512943 w 6481363"/>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356750 w 6146432"/>
              <a:gd name="connsiteY0" fmla="*/ 435032 h 3250325"/>
              <a:gd name="connsiteX1" fmla="*/ 3282158 w 6146432"/>
              <a:gd name="connsiteY1" fmla="*/ 2543 h 3250325"/>
              <a:gd name="connsiteX2" fmla="*/ 6146432 w 6146432"/>
              <a:gd name="connsiteY2" fmla="*/ 284248 h 3250325"/>
              <a:gd name="connsiteX3" fmla="*/ 6110159 w 6146432"/>
              <a:gd name="connsiteY3" fmla="*/ 2505431 h 3250325"/>
              <a:gd name="connsiteX4" fmla="*/ 3289575 w 6146432"/>
              <a:gd name="connsiteY4" fmla="*/ 3249890 h 3250325"/>
              <a:gd name="connsiteX5" fmla="*/ 21562 w 6146432"/>
              <a:gd name="connsiteY5" fmla="*/ 2306406 h 3250325"/>
              <a:gd name="connsiteX6" fmla="*/ 356750 w 6146432"/>
              <a:gd name="connsiteY6" fmla="*/ 435032 h 3250325"/>
              <a:gd name="connsiteX0" fmla="*/ 335225 w 6124907"/>
              <a:gd name="connsiteY0" fmla="*/ 435032 h 3250325"/>
              <a:gd name="connsiteX1" fmla="*/ 3260633 w 6124907"/>
              <a:gd name="connsiteY1" fmla="*/ 2543 h 3250325"/>
              <a:gd name="connsiteX2" fmla="*/ 6124907 w 6124907"/>
              <a:gd name="connsiteY2" fmla="*/ 284248 h 3250325"/>
              <a:gd name="connsiteX3" fmla="*/ 6088634 w 6124907"/>
              <a:gd name="connsiteY3" fmla="*/ 2505431 h 3250325"/>
              <a:gd name="connsiteX4" fmla="*/ 3268050 w 6124907"/>
              <a:gd name="connsiteY4" fmla="*/ 3249890 h 3250325"/>
              <a:gd name="connsiteX5" fmla="*/ 37 w 6124907"/>
              <a:gd name="connsiteY5" fmla="*/ 2306406 h 3250325"/>
              <a:gd name="connsiteX6" fmla="*/ 335225 w 6124907"/>
              <a:gd name="connsiteY6" fmla="*/ 435032 h 3250325"/>
              <a:gd name="connsiteX0" fmla="*/ 335225 w 6124907"/>
              <a:gd name="connsiteY0" fmla="*/ 515501 h 3330794"/>
              <a:gd name="connsiteX1" fmla="*/ 3260633 w 6124907"/>
              <a:gd name="connsiteY1" fmla="*/ 83012 h 3330794"/>
              <a:gd name="connsiteX2" fmla="*/ 6124907 w 6124907"/>
              <a:gd name="connsiteY2" fmla="*/ 364717 h 3330794"/>
              <a:gd name="connsiteX3" fmla="*/ 6088634 w 6124907"/>
              <a:gd name="connsiteY3" fmla="*/ 2585900 h 3330794"/>
              <a:gd name="connsiteX4" fmla="*/ 3268050 w 6124907"/>
              <a:gd name="connsiteY4" fmla="*/ 3330359 h 3330794"/>
              <a:gd name="connsiteX5" fmla="*/ 37 w 6124907"/>
              <a:gd name="connsiteY5" fmla="*/ 2386875 h 3330794"/>
              <a:gd name="connsiteX6" fmla="*/ 335225 w 6124907"/>
              <a:gd name="connsiteY6" fmla="*/ 515501 h 3330794"/>
              <a:gd name="connsiteX0" fmla="*/ 335225 w 6124907"/>
              <a:gd name="connsiteY0" fmla="*/ 432489 h 3247782"/>
              <a:gd name="connsiteX1" fmla="*/ 3260633 w 6124907"/>
              <a:gd name="connsiteY1" fmla="*/ 0 h 3247782"/>
              <a:gd name="connsiteX2" fmla="*/ 6124907 w 6124907"/>
              <a:gd name="connsiteY2" fmla="*/ 281705 h 3247782"/>
              <a:gd name="connsiteX3" fmla="*/ 6088634 w 6124907"/>
              <a:gd name="connsiteY3" fmla="*/ 2502888 h 3247782"/>
              <a:gd name="connsiteX4" fmla="*/ 3268050 w 6124907"/>
              <a:gd name="connsiteY4" fmla="*/ 3247347 h 3247782"/>
              <a:gd name="connsiteX5" fmla="*/ 37 w 6124907"/>
              <a:gd name="connsiteY5" fmla="*/ 2303863 h 3247782"/>
              <a:gd name="connsiteX6" fmla="*/ 335225 w 6124907"/>
              <a:gd name="connsiteY6" fmla="*/ 432489 h 3247782"/>
              <a:gd name="connsiteX0" fmla="*/ 335225 w 6223855"/>
              <a:gd name="connsiteY0" fmla="*/ 434186 h 3249479"/>
              <a:gd name="connsiteX1" fmla="*/ 3260633 w 6223855"/>
              <a:gd name="connsiteY1" fmla="*/ 1697 h 3249479"/>
              <a:gd name="connsiteX2" fmla="*/ 6124907 w 6223855"/>
              <a:gd name="connsiteY2" fmla="*/ 283402 h 3249479"/>
              <a:gd name="connsiteX3" fmla="*/ 6088634 w 6223855"/>
              <a:gd name="connsiteY3" fmla="*/ 2504585 h 3249479"/>
              <a:gd name="connsiteX4" fmla="*/ 3268050 w 6223855"/>
              <a:gd name="connsiteY4" fmla="*/ 3249044 h 3249479"/>
              <a:gd name="connsiteX5" fmla="*/ 37 w 6223855"/>
              <a:gd name="connsiteY5" fmla="*/ 2305560 h 3249479"/>
              <a:gd name="connsiteX6" fmla="*/ 335225 w 6223855"/>
              <a:gd name="connsiteY6" fmla="*/ 434186 h 3249479"/>
              <a:gd name="connsiteX0" fmla="*/ 335225 w 6124907"/>
              <a:gd name="connsiteY0" fmla="*/ 435032 h 3250325"/>
              <a:gd name="connsiteX1" fmla="*/ 3260633 w 6124907"/>
              <a:gd name="connsiteY1" fmla="*/ 2543 h 3250325"/>
              <a:gd name="connsiteX2" fmla="*/ 6124907 w 6124907"/>
              <a:gd name="connsiteY2" fmla="*/ 284248 h 3250325"/>
              <a:gd name="connsiteX3" fmla="*/ 6088634 w 6124907"/>
              <a:gd name="connsiteY3" fmla="*/ 2505431 h 3250325"/>
              <a:gd name="connsiteX4" fmla="*/ 3268050 w 6124907"/>
              <a:gd name="connsiteY4" fmla="*/ 3249890 h 3250325"/>
              <a:gd name="connsiteX5" fmla="*/ 37 w 6124907"/>
              <a:gd name="connsiteY5" fmla="*/ 2306406 h 3250325"/>
              <a:gd name="connsiteX6" fmla="*/ 335225 w 6124907"/>
              <a:gd name="connsiteY6" fmla="*/ 435032 h 3250325"/>
              <a:gd name="connsiteX0" fmla="*/ 335225 w 6124907"/>
              <a:gd name="connsiteY0" fmla="*/ 515501 h 3330794"/>
              <a:gd name="connsiteX1" fmla="*/ 3260633 w 6124907"/>
              <a:gd name="connsiteY1" fmla="*/ 83012 h 3330794"/>
              <a:gd name="connsiteX2" fmla="*/ 6124907 w 6124907"/>
              <a:gd name="connsiteY2" fmla="*/ 364717 h 3330794"/>
              <a:gd name="connsiteX3" fmla="*/ 6088634 w 6124907"/>
              <a:gd name="connsiteY3" fmla="*/ 2585900 h 3330794"/>
              <a:gd name="connsiteX4" fmla="*/ 3268050 w 6124907"/>
              <a:gd name="connsiteY4" fmla="*/ 3330359 h 3330794"/>
              <a:gd name="connsiteX5" fmla="*/ 37 w 6124907"/>
              <a:gd name="connsiteY5" fmla="*/ 2386875 h 3330794"/>
              <a:gd name="connsiteX6" fmla="*/ 335225 w 6124907"/>
              <a:gd name="connsiteY6" fmla="*/ 515501 h 3330794"/>
              <a:gd name="connsiteX0" fmla="*/ 335225 w 6124907"/>
              <a:gd name="connsiteY0" fmla="*/ 432489 h 3247782"/>
              <a:gd name="connsiteX1" fmla="*/ 3260633 w 6124907"/>
              <a:gd name="connsiteY1" fmla="*/ 0 h 3247782"/>
              <a:gd name="connsiteX2" fmla="*/ 6124907 w 6124907"/>
              <a:gd name="connsiteY2" fmla="*/ 281705 h 3247782"/>
              <a:gd name="connsiteX3" fmla="*/ 6088634 w 6124907"/>
              <a:gd name="connsiteY3" fmla="*/ 2502888 h 3247782"/>
              <a:gd name="connsiteX4" fmla="*/ 3268050 w 6124907"/>
              <a:gd name="connsiteY4" fmla="*/ 3247347 h 3247782"/>
              <a:gd name="connsiteX5" fmla="*/ 37 w 6124907"/>
              <a:gd name="connsiteY5" fmla="*/ 2303863 h 3247782"/>
              <a:gd name="connsiteX6" fmla="*/ 335225 w 6124907"/>
              <a:gd name="connsiteY6" fmla="*/ 432489 h 3247782"/>
              <a:gd name="connsiteX0" fmla="*/ 335225 w 6223855"/>
              <a:gd name="connsiteY0" fmla="*/ 434186 h 3249479"/>
              <a:gd name="connsiteX1" fmla="*/ 3260633 w 6223855"/>
              <a:gd name="connsiteY1" fmla="*/ 1697 h 3249479"/>
              <a:gd name="connsiteX2" fmla="*/ 6124907 w 6223855"/>
              <a:gd name="connsiteY2" fmla="*/ 283402 h 3249479"/>
              <a:gd name="connsiteX3" fmla="*/ 6088634 w 6223855"/>
              <a:gd name="connsiteY3" fmla="*/ 2504585 h 3249479"/>
              <a:gd name="connsiteX4" fmla="*/ 3268050 w 6223855"/>
              <a:gd name="connsiteY4" fmla="*/ 3249044 h 3249479"/>
              <a:gd name="connsiteX5" fmla="*/ 37 w 6223855"/>
              <a:gd name="connsiteY5" fmla="*/ 2305560 h 3249479"/>
              <a:gd name="connsiteX6" fmla="*/ 335225 w 6223855"/>
              <a:gd name="connsiteY6" fmla="*/ 434186 h 3249479"/>
              <a:gd name="connsiteX0" fmla="*/ 335225 w 6124907"/>
              <a:gd name="connsiteY0" fmla="*/ 435032 h 3250325"/>
              <a:gd name="connsiteX1" fmla="*/ 3260633 w 6124907"/>
              <a:gd name="connsiteY1" fmla="*/ 2543 h 3250325"/>
              <a:gd name="connsiteX2" fmla="*/ 6124907 w 6124907"/>
              <a:gd name="connsiteY2" fmla="*/ 284248 h 3250325"/>
              <a:gd name="connsiteX3" fmla="*/ 6088634 w 6124907"/>
              <a:gd name="connsiteY3" fmla="*/ 2505431 h 3250325"/>
              <a:gd name="connsiteX4" fmla="*/ 3268050 w 6124907"/>
              <a:gd name="connsiteY4" fmla="*/ 3249890 h 3250325"/>
              <a:gd name="connsiteX5" fmla="*/ 37 w 6124907"/>
              <a:gd name="connsiteY5" fmla="*/ 2306406 h 3250325"/>
              <a:gd name="connsiteX6" fmla="*/ 335225 w 6124907"/>
              <a:gd name="connsiteY6" fmla="*/ 435032 h 3250325"/>
              <a:gd name="connsiteX0" fmla="*/ 335225 w 6124907"/>
              <a:gd name="connsiteY0" fmla="*/ 434001 h 3249294"/>
              <a:gd name="connsiteX1" fmla="*/ 3260633 w 6124907"/>
              <a:gd name="connsiteY1" fmla="*/ 1512 h 3249294"/>
              <a:gd name="connsiteX2" fmla="*/ 6124907 w 6124907"/>
              <a:gd name="connsiteY2" fmla="*/ 283217 h 3249294"/>
              <a:gd name="connsiteX3" fmla="*/ 6088634 w 6124907"/>
              <a:gd name="connsiteY3" fmla="*/ 2504400 h 3249294"/>
              <a:gd name="connsiteX4" fmla="*/ 3268050 w 6124907"/>
              <a:gd name="connsiteY4" fmla="*/ 3248859 h 3249294"/>
              <a:gd name="connsiteX5" fmla="*/ 37 w 6124907"/>
              <a:gd name="connsiteY5" fmla="*/ 2305375 h 3249294"/>
              <a:gd name="connsiteX6" fmla="*/ 335225 w 6124907"/>
              <a:gd name="connsiteY6" fmla="*/ 434001 h 3249294"/>
              <a:gd name="connsiteX0" fmla="*/ 335225 w 6124907"/>
              <a:gd name="connsiteY0" fmla="*/ 432489 h 3247782"/>
              <a:gd name="connsiteX1" fmla="*/ 3260633 w 6124907"/>
              <a:gd name="connsiteY1" fmla="*/ 0 h 3247782"/>
              <a:gd name="connsiteX2" fmla="*/ 6124907 w 6124907"/>
              <a:gd name="connsiteY2" fmla="*/ 281705 h 3247782"/>
              <a:gd name="connsiteX3" fmla="*/ 6088634 w 6124907"/>
              <a:gd name="connsiteY3" fmla="*/ 2502888 h 3247782"/>
              <a:gd name="connsiteX4" fmla="*/ 3268050 w 6124907"/>
              <a:gd name="connsiteY4" fmla="*/ 3247347 h 3247782"/>
              <a:gd name="connsiteX5" fmla="*/ 37 w 6124907"/>
              <a:gd name="connsiteY5" fmla="*/ 2303863 h 3247782"/>
              <a:gd name="connsiteX6" fmla="*/ 335225 w 6124907"/>
              <a:gd name="connsiteY6" fmla="*/ 432489 h 3247782"/>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512181 h 3327474"/>
              <a:gd name="connsiteX1" fmla="*/ 3260633 w 6088641"/>
              <a:gd name="connsiteY1" fmla="*/ 79692 h 3327474"/>
              <a:gd name="connsiteX2" fmla="*/ 5816589 w 6088641"/>
              <a:gd name="connsiteY2" fmla="*/ 361397 h 3327474"/>
              <a:gd name="connsiteX3" fmla="*/ 6088634 w 6088641"/>
              <a:gd name="connsiteY3" fmla="*/ 2582580 h 3327474"/>
              <a:gd name="connsiteX4" fmla="*/ 3268050 w 6088641"/>
              <a:gd name="connsiteY4" fmla="*/ 3327039 h 3327474"/>
              <a:gd name="connsiteX5" fmla="*/ 37 w 6088641"/>
              <a:gd name="connsiteY5" fmla="*/ 2383555 h 3327474"/>
              <a:gd name="connsiteX6" fmla="*/ 335225 w 6088641"/>
              <a:gd name="connsiteY6" fmla="*/ 512181 h 3327474"/>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434186 h 3249479"/>
              <a:gd name="connsiteX1" fmla="*/ 3260633 w 6088641"/>
              <a:gd name="connsiteY1" fmla="*/ 1697 h 3249479"/>
              <a:gd name="connsiteX2" fmla="*/ 5816589 w 6088641"/>
              <a:gd name="connsiteY2" fmla="*/ 283402 h 3249479"/>
              <a:gd name="connsiteX3" fmla="*/ 6088634 w 6088641"/>
              <a:gd name="connsiteY3" fmla="*/ 2504585 h 3249479"/>
              <a:gd name="connsiteX4" fmla="*/ 3268050 w 6088641"/>
              <a:gd name="connsiteY4" fmla="*/ 3249044 h 3249479"/>
              <a:gd name="connsiteX5" fmla="*/ 37 w 6088641"/>
              <a:gd name="connsiteY5" fmla="*/ 2305560 h 3249479"/>
              <a:gd name="connsiteX6" fmla="*/ 335225 w 6088641"/>
              <a:gd name="connsiteY6" fmla="*/ 434186 h 3249479"/>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434692 h 3249985"/>
              <a:gd name="connsiteX1" fmla="*/ 3260633 w 6088641"/>
              <a:gd name="connsiteY1" fmla="*/ 2203 h 3249985"/>
              <a:gd name="connsiteX2" fmla="*/ 5816589 w 6088641"/>
              <a:gd name="connsiteY2" fmla="*/ 283908 h 3249985"/>
              <a:gd name="connsiteX3" fmla="*/ 6088634 w 6088641"/>
              <a:gd name="connsiteY3" fmla="*/ 2505091 h 3249985"/>
              <a:gd name="connsiteX4" fmla="*/ 3268050 w 6088641"/>
              <a:gd name="connsiteY4" fmla="*/ 3249550 h 3249985"/>
              <a:gd name="connsiteX5" fmla="*/ 37 w 6088641"/>
              <a:gd name="connsiteY5" fmla="*/ 2306066 h 3249985"/>
              <a:gd name="connsiteX6" fmla="*/ 335225 w 6088641"/>
              <a:gd name="connsiteY6" fmla="*/ 434692 h 3249985"/>
              <a:gd name="connsiteX0" fmla="*/ 335225 w 6088641"/>
              <a:gd name="connsiteY0" fmla="*/ 434455 h 3249748"/>
              <a:gd name="connsiteX1" fmla="*/ 3260633 w 6088641"/>
              <a:gd name="connsiteY1" fmla="*/ 1966 h 3249748"/>
              <a:gd name="connsiteX2" fmla="*/ 5816589 w 6088641"/>
              <a:gd name="connsiteY2" fmla="*/ 283671 h 3249748"/>
              <a:gd name="connsiteX3" fmla="*/ 6088634 w 6088641"/>
              <a:gd name="connsiteY3" fmla="*/ 2504854 h 3249748"/>
              <a:gd name="connsiteX4" fmla="*/ 3268050 w 6088641"/>
              <a:gd name="connsiteY4" fmla="*/ 3249313 h 3249748"/>
              <a:gd name="connsiteX5" fmla="*/ 37 w 6088641"/>
              <a:gd name="connsiteY5" fmla="*/ 2305829 h 3249748"/>
              <a:gd name="connsiteX6" fmla="*/ 335225 w 6088641"/>
              <a:gd name="connsiteY6" fmla="*/ 434455 h 3249748"/>
              <a:gd name="connsiteX0" fmla="*/ 335225 w 6088641"/>
              <a:gd name="connsiteY0" fmla="*/ 478129 h 3293422"/>
              <a:gd name="connsiteX1" fmla="*/ 3260633 w 6088641"/>
              <a:gd name="connsiteY1" fmla="*/ 45640 h 3293422"/>
              <a:gd name="connsiteX2" fmla="*/ 4969580 w 6088641"/>
              <a:gd name="connsiteY2" fmla="*/ 22169 h 3293422"/>
              <a:gd name="connsiteX3" fmla="*/ 5816589 w 6088641"/>
              <a:gd name="connsiteY3" fmla="*/ 327345 h 3293422"/>
              <a:gd name="connsiteX4" fmla="*/ 6088634 w 6088641"/>
              <a:gd name="connsiteY4" fmla="*/ 2548528 h 3293422"/>
              <a:gd name="connsiteX5" fmla="*/ 3268050 w 6088641"/>
              <a:gd name="connsiteY5" fmla="*/ 3292987 h 3293422"/>
              <a:gd name="connsiteX6" fmla="*/ 37 w 6088641"/>
              <a:gd name="connsiteY6" fmla="*/ 2349503 h 3293422"/>
              <a:gd name="connsiteX7" fmla="*/ 335225 w 6088641"/>
              <a:gd name="connsiteY7" fmla="*/ 478129 h 3293422"/>
              <a:gd name="connsiteX0" fmla="*/ 335225 w 6088641"/>
              <a:gd name="connsiteY0" fmla="*/ 464432 h 3279725"/>
              <a:gd name="connsiteX1" fmla="*/ 3260633 w 6088641"/>
              <a:gd name="connsiteY1" fmla="*/ 31943 h 3279725"/>
              <a:gd name="connsiteX2" fmla="*/ 5816589 w 6088641"/>
              <a:gd name="connsiteY2" fmla="*/ 313648 h 3279725"/>
              <a:gd name="connsiteX3" fmla="*/ 6088634 w 6088641"/>
              <a:gd name="connsiteY3" fmla="*/ 2534831 h 3279725"/>
              <a:gd name="connsiteX4" fmla="*/ 3268050 w 6088641"/>
              <a:gd name="connsiteY4" fmla="*/ 3279290 h 3279725"/>
              <a:gd name="connsiteX5" fmla="*/ 37 w 6088641"/>
              <a:gd name="connsiteY5" fmla="*/ 2335806 h 3279725"/>
              <a:gd name="connsiteX6" fmla="*/ 335225 w 6088641"/>
              <a:gd name="connsiteY6" fmla="*/ 464432 h 3279725"/>
              <a:gd name="connsiteX0" fmla="*/ 335225 w 6088641"/>
              <a:gd name="connsiteY0" fmla="*/ 434187 h 3249480"/>
              <a:gd name="connsiteX1" fmla="*/ 3260633 w 6088641"/>
              <a:gd name="connsiteY1" fmla="*/ 1698 h 3249480"/>
              <a:gd name="connsiteX2" fmla="*/ 5816589 w 6088641"/>
              <a:gd name="connsiteY2" fmla="*/ 283403 h 3249480"/>
              <a:gd name="connsiteX3" fmla="*/ 6088634 w 6088641"/>
              <a:gd name="connsiteY3" fmla="*/ 2504586 h 3249480"/>
              <a:gd name="connsiteX4" fmla="*/ 3268050 w 6088641"/>
              <a:gd name="connsiteY4" fmla="*/ 3249045 h 3249480"/>
              <a:gd name="connsiteX5" fmla="*/ 37 w 6088641"/>
              <a:gd name="connsiteY5" fmla="*/ 2305561 h 3249480"/>
              <a:gd name="connsiteX6" fmla="*/ 335225 w 6088641"/>
              <a:gd name="connsiteY6" fmla="*/ 434187 h 3249480"/>
              <a:gd name="connsiteX0" fmla="*/ 335225 w 6088641"/>
              <a:gd name="connsiteY0" fmla="*/ 434187 h 3249480"/>
              <a:gd name="connsiteX1" fmla="*/ 3260633 w 6088641"/>
              <a:gd name="connsiteY1" fmla="*/ 1698 h 3249480"/>
              <a:gd name="connsiteX2" fmla="*/ 5816589 w 6088641"/>
              <a:gd name="connsiteY2" fmla="*/ 283403 h 3249480"/>
              <a:gd name="connsiteX3" fmla="*/ 6088634 w 6088641"/>
              <a:gd name="connsiteY3" fmla="*/ 2504586 h 3249480"/>
              <a:gd name="connsiteX4" fmla="*/ 3268050 w 6088641"/>
              <a:gd name="connsiteY4" fmla="*/ 3249045 h 3249480"/>
              <a:gd name="connsiteX5" fmla="*/ 37 w 6088641"/>
              <a:gd name="connsiteY5" fmla="*/ 2305561 h 3249480"/>
              <a:gd name="connsiteX6" fmla="*/ 335225 w 6088641"/>
              <a:gd name="connsiteY6" fmla="*/ 434187 h 3249480"/>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512181 h 3327474"/>
              <a:gd name="connsiteX1" fmla="*/ 3260633 w 6088641"/>
              <a:gd name="connsiteY1" fmla="*/ 79692 h 3327474"/>
              <a:gd name="connsiteX2" fmla="*/ 5816589 w 6088641"/>
              <a:gd name="connsiteY2" fmla="*/ 361397 h 3327474"/>
              <a:gd name="connsiteX3" fmla="*/ 6088634 w 6088641"/>
              <a:gd name="connsiteY3" fmla="*/ 2582580 h 3327474"/>
              <a:gd name="connsiteX4" fmla="*/ 3268050 w 6088641"/>
              <a:gd name="connsiteY4" fmla="*/ 3327039 h 3327474"/>
              <a:gd name="connsiteX5" fmla="*/ 37 w 6088641"/>
              <a:gd name="connsiteY5" fmla="*/ 2383555 h 3327474"/>
              <a:gd name="connsiteX6" fmla="*/ 335225 w 6088641"/>
              <a:gd name="connsiteY6" fmla="*/ 512181 h 3327474"/>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434186 h 3249479"/>
              <a:gd name="connsiteX1" fmla="*/ 3260633 w 6088641"/>
              <a:gd name="connsiteY1" fmla="*/ 1697 h 3249479"/>
              <a:gd name="connsiteX2" fmla="*/ 5816589 w 6088641"/>
              <a:gd name="connsiteY2" fmla="*/ 283402 h 3249479"/>
              <a:gd name="connsiteX3" fmla="*/ 6088634 w 6088641"/>
              <a:gd name="connsiteY3" fmla="*/ 2504585 h 3249479"/>
              <a:gd name="connsiteX4" fmla="*/ 3268050 w 6088641"/>
              <a:gd name="connsiteY4" fmla="*/ 3249044 h 3249479"/>
              <a:gd name="connsiteX5" fmla="*/ 37 w 6088641"/>
              <a:gd name="connsiteY5" fmla="*/ 2305560 h 3249479"/>
              <a:gd name="connsiteX6" fmla="*/ 335225 w 6088641"/>
              <a:gd name="connsiteY6" fmla="*/ 434186 h 3249479"/>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433957 h 3249250"/>
              <a:gd name="connsiteX1" fmla="*/ 3260633 w 6088641"/>
              <a:gd name="connsiteY1" fmla="*/ 1468 h 3249250"/>
              <a:gd name="connsiteX2" fmla="*/ 5816589 w 6088641"/>
              <a:gd name="connsiteY2" fmla="*/ 283173 h 3249250"/>
              <a:gd name="connsiteX3" fmla="*/ 6088634 w 6088641"/>
              <a:gd name="connsiteY3" fmla="*/ 2504356 h 3249250"/>
              <a:gd name="connsiteX4" fmla="*/ 3268050 w 6088641"/>
              <a:gd name="connsiteY4" fmla="*/ 3248815 h 3249250"/>
              <a:gd name="connsiteX5" fmla="*/ 37 w 6088641"/>
              <a:gd name="connsiteY5" fmla="*/ 2305331 h 3249250"/>
              <a:gd name="connsiteX6" fmla="*/ 335225 w 6088641"/>
              <a:gd name="connsiteY6" fmla="*/ 433957 h 3249250"/>
              <a:gd name="connsiteX0" fmla="*/ 335225 w 6088641"/>
              <a:gd name="connsiteY0" fmla="*/ 433944 h 3249237"/>
              <a:gd name="connsiteX1" fmla="*/ 3260633 w 6088641"/>
              <a:gd name="connsiteY1" fmla="*/ 1455 h 3249237"/>
              <a:gd name="connsiteX2" fmla="*/ 5816589 w 6088641"/>
              <a:gd name="connsiteY2" fmla="*/ 283160 h 3249237"/>
              <a:gd name="connsiteX3" fmla="*/ 6088634 w 6088641"/>
              <a:gd name="connsiteY3" fmla="*/ 2504343 h 3249237"/>
              <a:gd name="connsiteX4" fmla="*/ 3268050 w 6088641"/>
              <a:gd name="connsiteY4" fmla="*/ 3248802 h 3249237"/>
              <a:gd name="connsiteX5" fmla="*/ 37 w 6088641"/>
              <a:gd name="connsiteY5" fmla="*/ 2305318 h 3249237"/>
              <a:gd name="connsiteX6" fmla="*/ 335225 w 6088641"/>
              <a:gd name="connsiteY6" fmla="*/ 433944 h 3249237"/>
              <a:gd name="connsiteX0" fmla="*/ 335225 w 6088641"/>
              <a:gd name="connsiteY0" fmla="*/ 433390 h 3248683"/>
              <a:gd name="connsiteX1" fmla="*/ 3260633 w 6088641"/>
              <a:gd name="connsiteY1" fmla="*/ 901 h 3248683"/>
              <a:gd name="connsiteX2" fmla="*/ 5816589 w 6088641"/>
              <a:gd name="connsiteY2" fmla="*/ 282606 h 3248683"/>
              <a:gd name="connsiteX3" fmla="*/ 6088634 w 6088641"/>
              <a:gd name="connsiteY3" fmla="*/ 2503789 h 3248683"/>
              <a:gd name="connsiteX4" fmla="*/ 3268050 w 6088641"/>
              <a:gd name="connsiteY4" fmla="*/ 3248248 h 3248683"/>
              <a:gd name="connsiteX5" fmla="*/ 37 w 6088641"/>
              <a:gd name="connsiteY5" fmla="*/ 2304764 h 3248683"/>
              <a:gd name="connsiteX6" fmla="*/ 335225 w 6088641"/>
              <a:gd name="connsiteY6" fmla="*/ 433390 h 3248683"/>
              <a:gd name="connsiteX0" fmla="*/ 335225 w 6088641"/>
              <a:gd name="connsiteY0" fmla="*/ 512181 h 3327474"/>
              <a:gd name="connsiteX1" fmla="*/ 3260633 w 6088641"/>
              <a:gd name="connsiteY1" fmla="*/ 79692 h 3327474"/>
              <a:gd name="connsiteX2" fmla="*/ 5816589 w 6088641"/>
              <a:gd name="connsiteY2" fmla="*/ 361397 h 3327474"/>
              <a:gd name="connsiteX3" fmla="*/ 6088634 w 6088641"/>
              <a:gd name="connsiteY3" fmla="*/ 2582580 h 3327474"/>
              <a:gd name="connsiteX4" fmla="*/ 3268050 w 6088641"/>
              <a:gd name="connsiteY4" fmla="*/ 3327039 h 3327474"/>
              <a:gd name="connsiteX5" fmla="*/ 37 w 6088641"/>
              <a:gd name="connsiteY5" fmla="*/ 2383555 h 3327474"/>
              <a:gd name="connsiteX6" fmla="*/ 335225 w 6088641"/>
              <a:gd name="connsiteY6" fmla="*/ 512181 h 3327474"/>
              <a:gd name="connsiteX0" fmla="*/ 335225 w 6088641"/>
              <a:gd name="connsiteY0" fmla="*/ 516824 h 3332117"/>
              <a:gd name="connsiteX1" fmla="*/ 3260633 w 6088641"/>
              <a:gd name="connsiteY1" fmla="*/ 84335 h 3332117"/>
              <a:gd name="connsiteX2" fmla="*/ 5816589 w 6088641"/>
              <a:gd name="connsiteY2" fmla="*/ 366040 h 3332117"/>
              <a:gd name="connsiteX3" fmla="*/ 6088634 w 6088641"/>
              <a:gd name="connsiteY3" fmla="*/ 2587223 h 3332117"/>
              <a:gd name="connsiteX4" fmla="*/ 3268050 w 6088641"/>
              <a:gd name="connsiteY4" fmla="*/ 3331682 h 3332117"/>
              <a:gd name="connsiteX5" fmla="*/ 37 w 6088641"/>
              <a:gd name="connsiteY5" fmla="*/ 2388198 h 3332117"/>
              <a:gd name="connsiteX6" fmla="*/ 335225 w 6088641"/>
              <a:gd name="connsiteY6" fmla="*/ 516824 h 3332117"/>
              <a:gd name="connsiteX0" fmla="*/ 335225 w 6088641"/>
              <a:gd name="connsiteY0" fmla="*/ 512182 h 3327475"/>
              <a:gd name="connsiteX1" fmla="*/ 3260633 w 6088641"/>
              <a:gd name="connsiteY1" fmla="*/ 79693 h 3327475"/>
              <a:gd name="connsiteX2" fmla="*/ 5816589 w 6088641"/>
              <a:gd name="connsiteY2" fmla="*/ 361398 h 3327475"/>
              <a:gd name="connsiteX3" fmla="*/ 6088634 w 6088641"/>
              <a:gd name="connsiteY3" fmla="*/ 2582581 h 3327475"/>
              <a:gd name="connsiteX4" fmla="*/ 3268050 w 6088641"/>
              <a:gd name="connsiteY4" fmla="*/ 3327040 h 3327475"/>
              <a:gd name="connsiteX5" fmla="*/ 37 w 6088641"/>
              <a:gd name="connsiteY5" fmla="*/ 2383556 h 3327475"/>
              <a:gd name="connsiteX6" fmla="*/ 335225 w 6088641"/>
              <a:gd name="connsiteY6" fmla="*/ 512182 h 3327475"/>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433961 h 3249254"/>
              <a:gd name="connsiteX1" fmla="*/ 3260633 w 6088641"/>
              <a:gd name="connsiteY1" fmla="*/ 1472 h 3249254"/>
              <a:gd name="connsiteX2" fmla="*/ 5816589 w 6088641"/>
              <a:gd name="connsiteY2" fmla="*/ 283177 h 3249254"/>
              <a:gd name="connsiteX3" fmla="*/ 6088634 w 6088641"/>
              <a:gd name="connsiteY3" fmla="*/ 2504360 h 3249254"/>
              <a:gd name="connsiteX4" fmla="*/ 3268050 w 6088641"/>
              <a:gd name="connsiteY4" fmla="*/ 3248819 h 3249254"/>
              <a:gd name="connsiteX5" fmla="*/ 37 w 6088641"/>
              <a:gd name="connsiteY5" fmla="*/ 2305335 h 3249254"/>
              <a:gd name="connsiteX6" fmla="*/ 335225 w 6088641"/>
              <a:gd name="connsiteY6" fmla="*/ 433961 h 3249254"/>
              <a:gd name="connsiteX0" fmla="*/ 335225 w 6088641"/>
              <a:gd name="connsiteY0" fmla="*/ 434186 h 3249479"/>
              <a:gd name="connsiteX1" fmla="*/ 3260633 w 6088641"/>
              <a:gd name="connsiteY1" fmla="*/ 1697 h 3249479"/>
              <a:gd name="connsiteX2" fmla="*/ 5816589 w 6088641"/>
              <a:gd name="connsiteY2" fmla="*/ 283402 h 3249479"/>
              <a:gd name="connsiteX3" fmla="*/ 6088634 w 6088641"/>
              <a:gd name="connsiteY3" fmla="*/ 2504585 h 3249479"/>
              <a:gd name="connsiteX4" fmla="*/ 3268050 w 6088641"/>
              <a:gd name="connsiteY4" fmla="*/ 3249044 h 3249479"/>
              <a:gd name="connsiteX5" fmla="*/ 37 w 6088641"/>
              <a:gd name="connsiteY5" fmla="*/ 2305560 h 3249479"/>
              <a:gd name="connsiteX6" fmla="*/ 335225 w 6088641"/>
              <a:gd name="connsiteY6" fmla="*/ 434186 h 3249479"/>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509718 h 3325011"/>
              <a:gd name="connsiteX1" fmla="*/ 3260633 w 6088641"/>
              <a:gd name="connsiteY1" fmla="*/ 77229 h 3325011"/>
              <a:gd name="connsiteX2" fmla="*/ 5816589 w 6088641"/>
              <a:gd name="connsiteY2" fmla="*/ 358934 h 3325011"/>
              <a:gd name="connsiteX3" fmla="*/ 6088634 w 6088641"/>
              <a:gd name="connsiteY3" fmla="*/ 2580117 h 3325011"/>
              <a:gd name="connsiteX4" fmla="*/ 3268050 w 6088641"/>
              <a:gd name="connsiteY4" fmla="*/ 3324576 h 3325011"/>
              <a:gd name="connsiteX5" fmla="*/ 37 w 6088641"/>
              <a:gd name="connsiteY5" fmla="*/ 2381092 h 3325011"/>
              <a:gd name="connsiteX6" fmla="*/ 335225 w 6088641"/>
              <a:gd name="connsiteY6" fmla="*/ 509718 h 3325011"/>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088641"/>
              <a:gd name="connsiteY0" fmla="*/ 440004 h 3255297"/>
              <a:gd name="connsiteX1" fmla="*/ 3260633 w 6088641"/>
              <a:gd name="connsiteY1" fmla="*/ 7515 h 3255297"/>
              <a:gd name="connsiteX2" fmla="*/ 6088634 w 6088641"/>
              <a:gd name="connsiteY2" fmla="*/ 2510403 h 3255297"/>
              <a:gd name="connsiteX3" fmla="*/ 3268050 w 6088641"/>
              <a:gd name="connsiteY3" fmla="*/ 3254862 h 3255297"/>
              <a:gd name="connsiteX4" fmla="*/ 37 w 6088641"/>
              <a:gd name="connsiteY4" fmla="*/ 2311378 h 3255297"/>
              <a:gd name="connsiteX5" fmla="*/ 335225 w 6088641"/>
              <a:gd name="connsiteY5" fmla="*/ 440004 h 3255297"/>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123026"/>
              <a:gd name="connsiteY0" fmla="*/ 432489 h 3247782"/>
              <a:gd name="connsiteX1" fmla="*/ 3260633 w 6123026"/>
              <a:gd name="connsiteY1" fmla="*/ 0 h 3247782"/>
              <a:gd name="connsiteX2" fmla="*/ 4736515 w 6123026"/>
              <a:gd name="connsiteY2" fmla="*/ 1160782 h 3247782"/>
              <a:gd name="connsiteX3" fmla="*/ 6088634 w 6123026"/>
              <a:gd name="connsiteY3" fmla="*/ 2502888 h 3247782"/>
              <a:gd name="connsiteX4" fmla="*/ 3268050 w 6123026"/>
              <a:gd name="connsiteY4" fmla="*/ 3247347 h 3247782"/>
              <a:gd name="connsiteX5" fmla="*/ 37 w 6123026"/>
              <a:gd name="connsiteY5" fmla="*/ 2303863 h 3247782"/>
              <a:gd name="connsiteX6" fmla="*/ 335225 w 6123026"/>
              <a:gd name="connsiteY6" fmla="*/ 432489 h 3247782"/>
              <a:gd name="connsiteX0" fmla="*/ 335225 w 6213970"/>
              <a:gd name="connsiteY0" fmla="*/ 432489 h 3247782"/>
              <a:gd name="connsiteX1" fmla="*/ 3260633 w 6213970"/>
              <a:gd name="connsiteY1" fmla="*/ 0 h 3247782"/>
              <a:gd name="connsiteX2" fmla="*/ 5748245 w 6213970"/>
              <a:gd name="connsiteY2" fmla="*/ 440703 h 3247782"/>
              <a:gd name="connsiteX3" fmla="*/ 6088634 w 6213970"/>
              <a:gd name="connsiteY3" fmla="*/ 2502888 h 3247782"/>
              <a:gd name="connsiteX4" fmla="*/ 3268050 w 6213970"/>
              <a:gd name="connsiteY4" fmla="*/ 3247347 h 3247782"/>
              <a:gd name="connsiteX5" fmla="*/ 37 w 6213970"/>
              <a:gd name="connsiteY5" fmla="*/ 2303863 h 3247782"/>
              <a:gd name="connsiteX6" fmla="*/ 335225 w 6213970"/>
              <a:gd name="connsiteY6" fmla="*/ 432489 h 3247782"/>
              <a:gd name="connsiteX0" fmla="*/ 335225 w 6213972"/>
              <a:gd name="connsiteY0" fmla="*/ 432489 h 3247782"/>
              <a:gd name="connsiteX1" fmla="*/ 3260633 w 6213972"/>
              <a:gd name="connsiteY1" fmla="*/ 0 h 3247782"/>
              <a:gd name="connsiteX2" fmla="*/ 5748245 w 6213972"/>
              <a:gd name="connsiteY2" fmla="*/ 440703 h 3247782"/>
              <a:gd name="connsiteX3" fmla="*/ 6088634 w 6213972"/>
              <a:gd name="connsiteY3" fmla="*/ 2502888 h 3247782"/>
              <a:gd name="connsiteX4" fmla="*/ 3268050 w 6213972"/>
              <a:gd name="connsiteY4" fmla="*/ 3247347 h 3247782"/>
              <a:gd name="connsiteX5" fmla="*/ 37 w 6213972"/>
              <a:gd name="connsiteY5" fmla="*/ 2303863 h 3247782"/>
              <a:gd name="connsiteX6" fmla="*/ 335225 w 6213972"/>
              <a:gd name="connsiteY6" fmla="*/ 432489 h 3247782"/>
              <a:gd name="connsiteX0" fmla="*/ 335225 w 6213970"/>
              <a:gd name="connsiteY0" fmla="*/ 432489 h 3247782"/>
              <a:gd name="connsiteX1" fmla="*/ 3260633 w 6213970"/>
              <a:gd name="connsiteY1" fmla="*/ 0 h 3247782"/>
              <a:gd name="connsiteX2" fmla="*/ 5748245 w 6213970"/>
              <a:gd name="connsiteY2" fmla="*/ 440703 h 3247782"/>
              <a:gd name="connsiteX3" fmla="*/ 6088634 w 6213970"/>
              <a:gd name="connsiteY3" fmla="*/ 2502888 h 3247782"/>
              <a:gd name="connsiteX4" fmla="*/ 3268050 w 6213970"/>
              <a:gd name="connsiteY4" fmla="*/ 3247347 h 3247782"/>
              <a:gd name="connsiteX5" fmla="*/ 37 w 6213970"/>
              <a:gd name="connsiteY5" fmla="*/ 2303863 h 3247782"/>
              <a:gd name="connsiteX6" fmla="*/ 335225 w 6213970"/>
              <a:gd name="connsiteY6" fmla="*/ 432489 h 3247782"/>
              <a:gd name="connsiteX0" fmla="*/ 335225 w 6147867"/>
              <a:gd name="connsiteY0" fmla="*/ 432489 h 3247782"/>
              <a:gd name="connsiteX1" fmla="*/ 3260633 w 6147867"/>
              <a:gd name="connsiteY1" fmla="*/ 0 h 3247782"/>
              <a:gd name="connsiteX2" fmla="*/ 5748245 w 6147867"/>
              <a:gd name="connsiteY2" fmla="*/ 440703 h 3247782"/>
              <a:gd name="connsiteX3" fmla="*/ 6088634 w 6147867"/>
              <a:gd name="connsiteY3" fmla="*/ 2502888 h 3247782"/>
              <a:gd name="connsiteX4" fmla="*/ 3268050 w 6147867"/>
              <a:gd name="connsiteY4" fmla="*/ 3247347 h 3247782"/>
              <a:gd name="connsiteX5" fmla="*/ 37 w 6147867"/>
              <a:gd name="connsiteY5" fmla="*/ 2303863 h 3247782"/>
              <a:gd name="connsiteX6" fmla="*/ 335225 w 6147867"/>
              <a:gd name="connsiteY6" fmla="*/ 432489 h 3247782"/>
              <a:gd name="connsiteX0" fmla="*/ 335225 w 6088640"/>
              <a:gd name="connsiteY0" fmla="*/ 432489 h 3247782"/>
              <a:gd name="connsiteX1" fmla="*/ 3260633 w 6088640"/>
              <a:gd name="connsiteY1" fmla="*/ 0 h 3247782"/>
              <a:gd name="connsiteX2" fmla="*/ 5748245 w 6088640"/>
              <a:gd name="connsiteY2" fmla="*/ 440703 h 3247782"/>
              <a:gd name="connsiteX3" fmla="*/ 6088634 w 6088640"/>
              <a:gd name="connsiteY3" fmla="*/ 2502888 h 3247782"/>
              <a:gd name="connsiteX4" fmla="*/ 3268050 w 6088640"/>
              <a:gd name="connsiteY4" fmla="*/ 3247347 h 3247782"/>
              <a:gd name="connsiteX5" fmla="*/ 37 w 6088640"/>
              <a:gd name="connsiteY5" fmla="*/ 2303863 h 3247782"/>
              <a:gd name="connsiteX6" fmla="*/ 335225 w 6088640"/>
              <a:gd name="connsiteY6" fmla="*/ 432489 h 3247782"/>
              <a:gd name="connsiteX0" fmla="*/ 335225 w 6088642"/>
              <a:gd name="connsiteY0" fmla="*/ 432489 h 3247782"/>
              <a:gd name="connsiteX1" fmla="*/ 3260633 w 6088642"/>
              <a:gd name="connsiteY1" fmla="*/ 0 h 3247782"/>
              <a:gd name="connsiteX2" fmla="*/ 5748245 w 6088642"/>
              <a:gd name="connsiteY2" fmla="*/ 440703 h 3247782"/>
              <a:gd name="connsiteX3" fmla="*/ 6088634 w 6088642"/>
              <a:gd name="connsiteY3" fmla="*/ 2502888 h 3247782"/>
              <a:gd name="connsiteX4" fmla="*/ 3268050 w 6088642"/>
              <a:gd name="connsiteY4" fmla="*/ 3247347 h 3247782"/>
              <a:gd name="connsiteX5" fmla="*/ 37 w 6088642"/>
              <a:gd name="connsiteY5" fmla="*/ 2303863 h 3247782"/>
              <a:gd name="connsiteX6" fmla="*/ 335225 w 6088642"/>
              <a:gd name="connsiteY6" fmla="*/ 432489 h 3247782"/>
              <a:gd name="connsiteX0" fmla="*/ 335225 w 6088640"/>
              <a:gd name="connsiteY0" fmla="*/ 432489 h 3247782"/>
              <a:gd name="connsiteX1" fmla="*/ 3260633 w 6088640"/>
              <a:gd name="connsiteY1" fmla="*/ 0 h 3247782"/>
              <a:gd name="connsiteX2" fmla="*/ 5748245 w 6088640"/>
              <a:gd name="connsiteY2" fmla="*/ 440703 h 3247782"/>
              <a:gd name="connsiteX3" fmla="*/ 6088634 w 6088640"/>
              <a:gd name="connsiteY3" fmla="*/ 2502888 h 3247782"/>
              <a:gd name="connsiteX4" fmla="*/ 3268050 w 6088640"/>
              <a:gd name="connsiteY4" fmla="*/ 3247347 h 3247782"/>
              <a:gd name="connsiteX5" fmla="*/ 37 w 6088640"/>
              <a:gd name="connsiteY5" fmla="*/ 2303863 h 3247782"/>
              <a:gd name="connsiteX6" fmla="*/ 335225 w 6088640"/>
              <a:gd name="connsiteY6" fmla="*/ 432489 h 3247782"/>
              <a:gd name="connsiteX0" fmla="*/ 335225 w 6088642"/>
              <a:gd name="connsiteY0" fmla="*/ 432489 h 3247782"/>
              <a:gd name="connsiteX1" fmla="*/ 3260633 w 6088642"/>
              <a:gd name="connsiteY1" fmla="*/ 0 h 3247782"/>
              <a:gd name="connsiteX2" fmla="*/ 5748245 w 6088642"/>
              <a:gd name="connsiteY2" fmla="*/ 440703 h 3247782"/>
              <a:gd name="connsiteX3" fmla="*/ 6088634 w 6088642"/>
              <a:gd name="connsiteY3" fmla="*/ 2502888 h 3247782"/>
              <a:gd name="connsiteX4" fmla="*/ 3268050 w 6088642"/>
              <a:gd name="connsiteY4" fmla="*/ 3247347 h 3247782"/>
              <a:gd name="connsiteX5" fmla="*/ 37 w 6088642"/>
              <a:gd name="connsiteY5" fmla="*/ 2303863 h 3247782"/>
              <a:gd name="connsiteX6" fmla="*/ 335225 w 6088642"/>
              <a:gd name="connsiteY6" fmla="*/ 432489 h 3247782"/>
              <a:gd name="connsiteX0" fmla="*/ 353201 w 6106621"/>
              <a:gd name="connsiteY0" fmla="*/ 432489 h 3263671"/>
              <a:gd name="connsiteX1" fmla="*/ 3278609 w 6106621"/>
              <a:gd name="connsiteY1" fmla="*/ 0 h 3263671"/>
              <a:gd name="connsiteX2" fmla="*/ 5766221 w 6106621"/>
              <a:gd name="connsiteY2" fmla="*/ 440703 h 3263671"/>
              <a:gd name="connsiteX3" fmla="*/ 6106610 w 6106621"/>
              <a:gd name="connsiteY3" fmla="*/ 2502888 h 3263671"/>
              <a:gd name="connsiteX4" fmla="*/ 3286026 w 6106621"/>
              <a:gd name="connsiteY4" fmla="*/ 3247347 h 3263671"/>
              <a:gd name="connsiteX5" fmla="*/ 53 w 6106621"/>
              <a:gd name="connsiteY5" fmla="*/ 1620527 h 3263671"/>
              <a:gd name="connsiteX6" fmla="*/ 353201 w 6106621"/>
              <a:gd name="connsiteY6" fmla="*/ 432489 h 3263671"/>
              <a:gd name="connsiteX0" fmla="*/ 353201 w 6106621"/>
              <a:gd name="connsiteY0" fmla="*/ 432489 h 3263671"/>
              <a:gd name="connsiteX1" fmla="*/ 3278609 w 6106621"/>
              <a:gd name="connsiteY1" fmla="*/ 0 h 3263671"/>
              <a:gd name="connsiteX2" fmla="*/ 5766221 w 6106621"/>
              <a:gd name="connsiteY2" fmla="*/ 440703 h 3263671"/>
              <a:gd name="connsiteX3" fmla="*/ 6106610 w 6106621"/>
              <a:gd name="connsiteY3" fmla="*/ 2502888 h 3263671"/>
              <a:gd name="connsiteX4" fmla="*/ 3286026 w 6106621"/>
              <a:gd name="connsiteY4" fmla="*/ 3247347 h 3263671"/>
              <a:gd name="connsiteX5" fmla="*/ 53 w 6106621"/>
              <a:gd name="connsiteY5" fmla="*/ 1620527 h 3263671"/>
              <a:gd name="connsiteX6" fmla="*/ 353201 w 6106621"/>
              <a:gd name="connsiteY6" fmla="*/ 432489 h 3263671"/>
              <a:gd name="connsiteX0" fmla="*/ 353201 w 6106621"/>
              <a:gd name="connsiteY0" fmla="*/ 432489 h 3263671"/>
              <a:gd name="connsiteX1" fmla="*/ 3278609 w 6106621"/>
              <a:gd name="connsiteY1" fmla="*/ 0 h 3263671"/>
              <a:gd name="connsiteX2" fmla="*/ 5766221 w 6106621"/>
              <a:gd name="connsiteY2" fmla="*/ 440703 h 3263671"/>
              <a:gd name="connsiteX3" fmla="*/ 6106610 w 6106621"/>
              <a:gd name="connsiteY3" fmla="*/ 2502888 h 3263671"/>
              <a:gd name="connsiteX4" fmla="*/ 3286026 w 6106621"/>
              <a:gd name="connsiteY4" fmla="*/ 3247347 h 3263671"/>
              <a:gd name="connsiteX5" fmla="*/ 53 w 6106621"/>
              <a:gd name="connsiteY5" fmla="*/ 1620527 h 3263671"/>
              <a:gd name="connsiteX6" fmla="*/ 353201 w 6106621"/>
              <a:gd name="connsiteY6" fmla="*/ 432489 h 3263671"/>
              <a:gd name="connsiteX0" fmla="*/ 464353 w 6217770"/>
              <a:gd name="connsiteY0" fmla="*/ 432489 h 3391714"/>
              <a:gd name="connsiteX1" fmla="*/ 3389761 w 6217770"/>
              <a:gd name="connsiteY1" fmla="*/ 0 h 3391714"/>
              <a:gd name="connsiteX2" fmla="*/ 5877373 w 6217770"/>
              <a:gd name="connsiteY2" fmla="*/ 440703 h 3391714"/>
              <a:gd name="connsiteX3" fmla="*/ 6217762 w 6217770"/>
              <a:gd name="connsiteY3" fmla="*/ 2502888 h 3391714"/>
              <a:gd name="connsiteX4" fmla="*/ 2490214 w 6217770"/>
              <a:gd name="connsiteY4" fmla="*/ 3377277 h 3391714"/>
              <a:gd name="connsiteX5" fmla="*/ 111205 w 6217770"/>
              <a:gd name="connsiteY5" fmla="*/ 1620527 h 3391714"/>
              <a:gd name="connsiteX6" fmla="*/ 464353 w 6217770"/>
              <a:gd name="connsiteY6" fmla="*/ 432489 h 3391714"/>
              <a:gd name="connsiteX0" fmla="*/ 464353 w 6217767"/>
              <a:gd name="connsiteY0" fmla="*/ 432489 h 3377283"/>
              <a:gd name="connsiteX1" fmla="*/ 3389761 w 6217767"/>
              <a:gd name="connsiteY1" fmla="*/ 0 h 3377283"/>
              <a:gd name="connsiteX2" fmla="*/ 5877373 w 6217767"/>
              <a:gd name="connsiteY2" fmla="*/ 440703 h 3377283"/>
              <a:gd name="connsiteX3" fmla="*/ 6217762 w 6217767"/>
              <a:gd name="connsiteY3" fmla="*/ 2502888 h 3377283"/>
              <a:gd name="connsiteX4" fmla="*/ 2490214 w 6217767"/>
              <a:gd name="connsiteY4" fmla="*/ 3377277 h 3377283"/>
              <a:gd name="connsiteX5" fmla="*/ 111205 w 6217767"/>
              <a:gd name="connsiteY5" fmla="*/ 1620527 h 3377283"/>
              <a:gd name="connsiteX6" fmla="*/ 464353 w 6217767"/>
              <a:gd name="connsiteY6" fmla="*/ 432489 h 3377283"/>
              <a:gd name="connsiteX0" fmla="*/ 464353 w 6217767"/>
              <a:gd name="connsiteY0" fmla="*/ 432489 h 3377435"/>
              <a:gd name="connsiteX1" fmla="*/ 3389761 w 6217767"/>
              <a:gd name="connsiteY1" fmla="*/ 0 h 3377435"/>
              <a:gd name="connsiteX2" fmla="*/ 5877373 w 6217767"/>
              <a:gd name="connsiteY2" fmla="*/ 440703 h 3377435"/>
              <a:gd name="connsiteX3" fmla="*/ 6217762 w 6217767"/>
              <a:gd name="connsiteY3" fmla="*/ 2502888 h 3377435"/>
              <a:gd name="connsiteX4" fmla="*/ 2490214 w 6217767"/>
              <a:gd name="connsiteY4" fmla="*/ 3377277 h 3377435"/>
              <a:gd name="connsiteX5" fmla="*/ 111205 w 6217767"/>
              <a:gd name="connsiteY5" fmla="*/ 1620527 h 3377435"/>
              <a:gd name="connsiteX6" fmla="*/ 464353 w 6217767"/>
              <a:gd name="connsiteY6" fmla="*/ 432489 h 3377435"/>
              <a:gd name="connsiteX0" fmla="*/ 464353 w 6217767"/>
              <a:gd name="connsiteY0" fmla="*/ 432489 h 3377435"/>
              <a:gd name="connsiteX1" fmla="*/ 3389761 w 6217767"/>
              <a:gd name="connsiteY1" fmla="*/ 0 h 3377435"/>
              <a:gd name="connsiteX2" fmla="*/ 5877373 w 6217767"/>
              <a:gd name="connsiteY2" fmla="*/ 440703 h 3377435"/>
              <a:gd name="connsiteX3" fmla="*/ 6217762 w 6217767"/>
              <a:gd name="connsiteY3" fmla="*/ 2502888 h 3377435"/>
              <a:gd name="connsiteX4" fmla="*/ 2490214 w 6217767"/>
              <a:gd name="connsiteY4" fmla="*/ 3377277 h 3377435"/>
              <a:gd name="connsiteX5" fmla="*/ 111205 w 6217767"/>
              <a:gd name="connsiteY5" fmla="*/ 1620527 h 3377435"/>
              <a:gd name="connsiteX6" fmla="*/ 464353 w 6217767"/>
              <a:gd name="connsiteY6" fmla="*/ 432489 h 3377435"/>
              <a:gd name="connsiteX0" fmla="*/ 464353 w 6217767"/>
              <a:gd name="connsiteY0" fmla="*/ 432489 h 3377435"/>
              <a:gd name="connsiteX1" fmla="*/ 3389761 w 6217767"/>
              <a:gd name="connsiteY1" fmla="*/ 0 h 3377435"/>
              <a:gd name="connsiteX2" fmla="*/ 5877373 w 6217767"/>
              <a:gd name="connsiteY2" fmla="*/ 440703 h 3377435"/>
              <a:gd name="connsiteX3" fmla="*/ 6217762 w 6217767"/>
              <a:gd name="connsiteY3" fmla="*/ 2502888 h 3377435"/>
              <a:gd name="connsiteX4" fmla="*/ 2490214 w 6217767"/>
              <a:gd name="connsiteY4" fmla="*/ 3377277 h 3377435"/>
              <a:gd name="connsiteX5" fmla="*/ 111205 w 6217767"/>
              <a:gd name="connsiteY5" fmla="*/ 1620527 h 3377435"/>
              <a:gd name="connsiteX6" fmla="*/ 464353 w 6217767"/>
              <a:gd name="connsiteY6" fmla="*/ 432489 h 3377435"/>
              <a:gd name="connsiteX0" fmla="*/ 464353 w 6217767"/>
              <a:gd name="connsiteY0" fmla="*/ 432489 h 3377435"/>
              <a:gd name="connsiteX1" fmla="*/ 3389761 w 6217767"/>
              <a:gd name="connsiteY1" fmla="*/ 0 h 3377435"/>
              <a:gd name="connsiteX2" fmla="*/ 5877373 w 6217767"/>
              <a:gd name="connsiteY2" fmla="*/ 440703 h 3377435"/>
              <a:gd name="connsiteX3" fmla="*/ 6217762 w 6217767"/>
              <a:gd name="connsiteY3" fmla="*/ 2502888 h 3377435"/>
              <a:gd name="connsiteX4" fmla="*/ 2490214 w 6217767"/>
              <a:gd name="connsiteY4" fmla="*/ 3377277 h 3377435"/>
              <a:gd name="connsiteX5" fmla="*/ 111205 w 6217767"/>
              <a:gd name="connsiteY5" fmla="*/ 1620527 h 3377435"/>
              <a:gd name="connsiteX6" fmla="*/ 464353 w 6217767"/>
              <a:gd name="connsiteY6" fmla="*/ 432489 h 3377435"/>
              <a:gd name="connsiteX0" fmla="*/ 353260 w 6106674"/>
              <a:gd name="connsiteY0" fmla="*/ 432489 h 3377439"/>
              <a:gd name="connsiteX1" fmla="*/ 3278668 w 6106674"/>
              <a:gd name="connsiteY1" fmla="*/ 0 h 3377439"/>
              <a:gd name="connsiteX2" fmla="*/ 5766280 w 6106674"/>
              <a:gd name="connsiteY2" fmla="*/ 440703 h 3377439"/>
              <a:gd name="connsiteX3" fmla="*/ 6106669 w 6106674"/>
              <a:gd name="connsiteY3" fmla="*/ 2502888 h 3377439"/>
              <a:gd name="connsiteX4" fmla="*/ 2379121 w 6106674"/>
              <a:gd name="connsiteY4" fmla="*/ 3377277 h 3377439"/>
              <a:gd name="connsiteX5" fmla="*/ 112 w 6106674"/>
              <a:gd name="connsiteY5" fmla="*/ 1620527 h 3377439"/>
              <a:gd name="connsiteX6" fmla="*/ 353260 w 6106674"/>
              <a:gd name="connsiteY6" fmla="*/ 432489 h 3377439"/>
              <a:gd name="connsiteX0" fmla="*/ 353204 w 6106618"/>
              <a:gd name="connsiteY0" fmla="*/ 432489 h 3377392"/>
              <a:gd name="connsiteX1" fmla="*/ 3278612 w 6106618"/>
              <a:gd name="connsiteY1" fmla="*/ 0 h 3377392"/>
              <a:gd name="connsiteX2" fmla="*/ 5766224 w 6106618"/>
              <a:gd name="connsiteY2" fmla="*/ 440703 h 3377392"/>
              <a:gd name="connsiteX3" fmla="*/ 6106613 w 6106618"/>
              <a:gd name="connsiteY3" fmla="*/ 2502888 h 3377392"/>
              <a:gd name="connsiteX4" fmla="*/ 2379065 w 6106618"/>
              <a:gd name="connsiteY4" fmla="*/ 3377277 h 3377392"/>
              <a:gd name="connsiteX5" fmla="*/ 56 w 6106618"/>
              <a:gd name="connsiteY5" fmla="*/ 1620527 h 3377392"/>
              <a:gd name="connsiteX6" fmla="*/ 353204 w 6106618"/>
              <a:gd name="connsiteY6" fmla="*/ 432489 h 3377392"/>
              <a:gd name="connsiteX0" fmla="*/ 353202 w 6106616"/>
              <a:gd name="connsiteY0" fmla="*/ 432489 h 3377392"/>
              <a:gd name="connsiteX1" fmla="*/ 3278610 w 6106616"/>
              <a:gd name="connsiteY1" fmla="*/ 0 h 3377392"/>
              <a:gd name="connsiteX2" fmla="*/ 5766222 w 6106616"/>
              <a:gd name="connsiteY2" fmla="*/ 440703 h 3377392"/>
              <a:gd name="connsiteX3" fmla="*/ 6106611 w 6106616"/>
              <a:gd name="connsiteY3" fmla="*/ 2502888 h 3377392"/>
              <a:gd name="connsiteX4" fmla="*/ 2379063 w 6106616"/>
              <a:gd name="connsiteY4" fmla="*/ 3377277 h 3377392"/>
              <a:gd name="connsiteX5" fmla="*/ 54 w 6106616"/>
              <a:gd name="connsiteY5" fmla="*/ 1620527 h 3377392"/>
              <a:gd name="connsiteX6" fmla="*/ 353202 w 6106616"/>
              <a:gd name="connsiteY6" fmla="*/ 432489 h 3377392"/>
              <a:gd name="connsiteX0" fmla="*/ 353202 w 6106616"/>
              <a:gd name="connsiteY0" fmla="*/ 600917 h 3545820"/>
              <a:gd name="connsiteX1" fmla="*/ 2919417 w 6106616"/>
              <a:gd name="connsiteY1" fmla="*/ 0 h 3545820"/>
              <a:gd name="connsiteX2" fmla="*/ 5766222 w 6106616"/>
              <a:gd name="connsiteY2" fmla="*/ 609131 h 3545820"/>
              <a:gd name="connsiteX3" fmla="*/ 6106611 w 6106616"/>
              <a:gd name="connsiteY3" fmla="*/ 2671316 h 3545820"/>
              <a:gd name="connsiteX4" fmla="*/ 2379063 w 6106616"/>
              <a:gd name="connsiteY4" fmla="*/ 3545705 h 3545820"/>
              <a:gd name="connsiteX5" fmla="*/ 54 w 6106616"/>
              <a:gd name="connsiteY5" fmla="*/ 1788955 h 3545820"/>
              <a:gd name="connsiteX6" fmla="*/ 353202 w 6106616"/>
              <a:gd name="connsiteY6" fmla="*/ 600917 h 3545820"/>
              <a:gd name="connsiteX0" fmla="*/ 353202 w 6116436"/>
              <a:gd name="connsiteY0" fmla="*/ 600917 h 3545820"/>
              <a:gd name="connsiteX1" fmla="*/ 2919417 w 6116436"/>
              <a:gd name="connsiteY1" fmla="*/ 0 h 3545820"/>
              <a:gd name="connsiteX2" fmla="*/ 6116436 w 6116436"/>
              <a:gd name="connsiteY2" fmla="*/ 1143288 h 3545820"/>
              <a:gd name="connsiteX3" fmla="*/ 6106611 w 6116436"/>
              <a:gd name="connsiteY3" fmla="*/ 2671316 h 3545820"/>
              <a:gd name="connsiteX4" fmla="*/ 2379063 w 6116436"/>
              <a:gd name="connsiteY4" fmla="*/ 3545705 h 3545820"/>
              <a:gd name="connsiteX5" fmla="*/ 54 w 6116436"/>
              <a:gd name="connsiteY5" fmla="*/ 1788955 h 3545820"/>
              <a:gd name="connsiteX6" fmla="*/ 353202 w 6116436"/>
              <a:gd name="connsiteY6" fmla="*/ 600917 h 3545820"/>
              <a:gd name="connsiteX0" fmla="*/ 353202 w 7085417"/>
              <a:gd name="connsiteY0" fmla="*/ 600917 h 4090923"/>
              <a:gd name="connsiteX1" fmla="*/ 2919417 w 7085417"/>
              <a:gd name="connsiteY1" fmla="*/ 0 h 4090923"/>
              <a:gd name="connsiteX2" fmla="*/ 6116436 w 7085417"/>
              <a:gd name="connsiteY2" fmla="*/ 1143288 h 4090923"/>
              <a:gd name="connsiteX3" fmla="*/ 7085414 w 7085417"/>
              <a:gd name="connsiteY3" fmla="*/ 4090923 h 4090923"/>
              <a:gd name="connsiteX4" fmla="*/ 2379063 w 7085417"/>
              <a:gd name="connsiteY4" fmla="*/ 3545705 h 4090923"/>
              <a:gd name="connsiteX5" fmla="*/ 54 w 7085417"/>
              <a:gd name="connsiteY5" fmla="*/ 1788955 h 4090923"/>
              <a:gd name="connsiteX6" fmla="*/ 353202 w 7085417"/>
              <a:gd name="connsiteY6" fmla="*/ 600917 h 4090923"/>
              <a:gd name="connsiteX0" fmla="*/ 479202 w 7211418"/>
              <a:gd name="connsiteY0" fmla="*/ 600917 h 4090923"/>
              <a:gd name="connsiteX1" fmla="*/ 3045417 w 7211418"/>
              <a:gd name="connsiteY1" fmla="*/ 0 h 4090923"/>
              <a:gd name="connsiteX2" fmla="*/ 6242436 w 7211418"/>
              <a:gd name="connsiteY2" fmla="*/ 1143288 h 4090923"/>
              <a:gd name="connsiteX3" fmla="*/ 7211414 w 7211418"/>
              <a:gd name="connsiteY3" fmla="*/ 4090923 h 4090923"/>
              <a:gd name="connsiteX4" fmla="*/ 3034876 w 7211418"/>
              <a:gd name="connsiteY4" fmla="*/ 4084674 h 4090923"/>
              <a:gd name="connsiteX5" fmla="*/ 126054 w 7211418"/>
              <a:gd name="connsiteY5" fmla="*/ 1788955 h 4090923"/>
              <a:gd name="connsiteX6" fmla="*/ 479202 w 7211418"/>
              <a:gd name="connsiteY6" fmla="*/ 600917 h 4090923"/>
              <a:gd name="connsiteX0" fmla="*/ 479202 w 7221240"/>
              <a:gd name="connsiteY0" fmla="*/ 1093785 h 4583791"/>
              <a:gd name="connsiteX1" fmla="*/ 3045417 w 7221240"/>
              <a:gd name="connsiteY1" fmla="*/ 492868 h 4583791"/>
              <a:gd name="connsiteX2" fmla="*/ 7221240 w 7221240"/>
              <a:gd name="connsiteY2" fmla="*/ 0 h 4583791"/>
              <a:gd name="connsiteX3" fmla="*/ 7211414 w 7221240"/>
              <a:gd name="connsiteY3" fmla="*/ 4583791 h 4583791"/>
              <a:gd name="connsiteX4" fmla="*/ 3034876 w 7221240"/>
              <a:gd name="connsiteY4" fmla="*/ 4577542 h 4583791"/>
              <a:gd name="connsiteX5" fmla="*/ 126054 w 7221240"/>
              <a:gd name="connsiteY5" fmla="*/ 2281823 h 4583791"/>
              <a:gd name="connsiteX6" fmla="*/ 479202 w 7221240"/>
              <a:gd name="connsiteY6" fmla="*/ 1093785 h 4583791"/>
              <a:gd name="connsiteX0" fmla="*/ 479202 w 7221240"/>
              <a:gd name="connsiteY0" fmla="*/ 1096576 h 4586582"/>
              <a:gd name="connsiteX1" fmla="*/ 3656047 w 7221240"/>
              <a:gd name="connsiteY1" fmla="*/ 0 h 4586582"/>
              <a:gd name="connsiteX2" fmla="*/ 7221240 w 7221240"/>
              <a:gd name="connsiteY2" fmla="*/ 2791 h 4586582"/>
              <a:gd name="connsiteX3" fmla="*/ 7211414 w 7221240"/>
              <a:gd name="connsiteY3" fmla="*/ 4586582 h 4586582"/>
              <a:gd name="connsiteX4" fmla="*/ 3034876 w 7221240"/>
              <a:gd name="connsiteY4" fmla="*/ 4580333 h 4586582"/>
              <a:gd name="connsiteX5" fmla="*/ 126054 w 7221240"/>
              <a:gd name="connsiteY5" fmla="*/ 2284614 h 4586582"/>
              <a:gd name="connsiteX6" fmla="*/ 479202 w 7221240"/>
              <a:gd name="connsiteY6" fmla="*/ 1096576 h 4586582"/>
              <a:gd name="connsiteX0" fmla="*/ 4967 w 6747005"/>
              <a:gd name="connsiteY0" fmla="*/ 1096576 h 4586582"/>
              <a:gd name="connsiteX1" fmla="*/ 3181812 w 6747005"/>
              <a:gd name="connsiteY1" fmla="*/ 0 h 4586582"/>
              <a:gd name="connsiteX2" fmla="*/ 6747005 w 6747005"/>
              <a:gd name="connsiteY2" fmla="*/ 2791 h 4586582"/>
              <a:gd name="connsiteX3" fmla="*/ 6737179 w 6747005"/>
              <a:gd name="connsiteY3" fmla="*/ 4586582 h 4586582"/>
              <a:gd name="connsiteX4" fmla="*/ 2560641 w 6747005"/>
              <a:gd name="connsiteY4" fmla="*/ 4580333 h 4586582"/>
              <a:gd name="connsiteX5" fmla="*/ 4967 w 6747005"/>
              <a:gd name="connsiteY5" fmla="*/ 1096576 h 4586582"/>
              <a:gd name="connsiteX0" fmla="*/ 146702 w 6888740"/>
              <a:gd name="connsiteY0" fmla="*/ 1096576 h 4586582"/>
              <a:gd name="connsiteX1" fmla="*/ 3323547 w 6888740"/>
              <a:gd name="connsiteY1" fmla="*/ 0 h 4586582"/>
              <a:gd name="connsiteX2" fmla="*/ 6888740 w 6888740"/>
              <a:gd name="connsiteY2" fmla="*/ 2791 h 4586582"/>
              <a:gd name="connsiteX3" fmla="*/ 6878914 w 6888740"/>
              <a:gd name="connsiteY3" fmla="*/ 4586582 h 4586582"/>
              <a:gd name="connsiteX4" fmla="*/ 2702376 w 6888740"/>
              <a:gd name="connsiteY4" fmla="*/ 4580333 h 4586582"/>
              <a:gd name="connsiteX5" fmla="*/ 146702 w 6888740"/>
              <a:gd name="connsiteY5" fmla="*/ 1096576 h 4586582"/>
              <a:gd name="connsiteX0" fmla="*/ 146702 w 6888740"/>
              <a:gd name="connsiteY0" fmla="*/ 1096576 h 4586582"/>
              <a:gd name="connsiteX1" fmla="*/ 3323547 w 6888740"/>
              <a:gd name="connsiteY1" fmla="*/ 0 h 4586582"/>
              <a:gd name="connsiteX2" fmla="*/ 6888740 w 6888740"/>
              <a:gd name="connsiteY2" fmla="*/ 2791 h 4586582"/>
              <a:gd name="connsiteX3" fmla="*/ 6878914 w 6888740"/>
              <a:gd name="connsiteY3" fmla="*/ 4586582 h 4586582"/>
              <a:gd name="connsiteX4" fmla="*/ 2702376 w 6888740"/>
              <a:gd name="connsiteY4" fmla="*/ 4580333 h 4586582"/>
              <a:gd name="connsiteX5" fmla="*/ 146702 w 6888740"/>
              <a:gd name="connsiteY5" fmla="*/ 1096576 h 4586582"/>
              <a:gd name="connsiteX0" fmla="*/ 49 w 6742087"/>
              <a:gd name="connsiteY0" fmla="*/ 1096576 h 4586582"/>
              <a:gd name="connsiteX1" fmla="*/ 3176894 w 6742087"/>
              <a:gd name="connsiteY1" fmla="*/ 0 h 4586582"/>
              <a:gd name="connsiteX2" fmla="*/ 6742087 w 6742087"/>
              <a:gd name="connsiteY2" fmla="*/ 2791 h 4586582"/>
              <a:gd name="connsiteX3" fmla="*/ 6732261 w 6742087"/>
              <a:gd name="connsiteY3" fmla="*/ 4586582 h 4586582"/>
              <a:gd name="connsiteX4" fmla="*/ 2555723 w 6742087"/>
              <a:gd name="connsiteY4" fmla="*/ 4580333 h 4586582"/>
              <a:gd name="connsiteX5" fmla="*/ 49 w 6742087"/>
              <a:gd name="connsiteY5" fmla="*/ 1096576 h 4586582"/>
              <a:gd name="connsiteX0" fmla="*/ 29 w 6742067"/>
              <a:gd name="connsiteY0" fmla="*/ 1096576 h 4586582"/>
              <a:gd name="connsiteX1" fmla="*/ 3176874 w 6742067"/>
              <a:gd name="connsiteY1" fmla="*/ 0 h 4586582"/>
              <a:gd name="connsiteX2" fmla="*/ 6742067 w 6742067"/>
              <a:gd name="connsiteY2" fmla="*/ 2791 h 4586582"/>
              <a:gd name="connsiteX3" fmla="*/ 6732241 w 6742067"/>
              <a:gd name="connsiteY3" fmla="*/ 4586582 h 4586582"/>
              <a:gd name="connsiteX4" fmla="*/ 2555703 w 6742067"/>
              <a:gd name="connsiteY4" fmla="*/ 4580333 h 4586582"/>
              <a:gd name="connsiteX5" fmla="*/ 29 w 6742067"/>
              <a:gd name="connsiteY5" fmla="*/ 1096576 h 4586582"/>
              <a:gd name="connsiteX0" fmla="*/ 35 w 6266141"/>
              <a:gd name="connsiteY0" fmla="*/ 1693292 h 4586582"/>
              <a:gd name="connsiteX1" fmla="*/ 2700948 w 6266141"/>
              <a:gd name="connsiteY1" fmla="*/ 0 h 4586582"/>
              <a:gd name="connsiteX2" fmla="*/ 6266141 w 6266141"/>
              <a:gd name="connsiteY2" fmla="*/ 2791 h 4586582"/>
              <a:gd name="connsiteX3" fmla="*/ 6256315 w 6266141"/>
              <a:gd name="connsiteY3" fmla="*/ 4586582 h 4586582"/>
              <a:gd name="connsiteX4" fmla="*/ 2079777 w 6266141"/>
              <a:gd name="connsiteY4" fmla="*/ 4580333 h 4586582"/>
              <a:gd name="connsiteX5" fmla="*/ 35 w 6266141"/>
              <a:gd name="connsiteY5" fmla="*/ 1693292 h 4586582"/>
              <a:gd name="connsiteX0" fmla="*/ 35 w 6266141"/>
              <a:gd name="connsiteY0" fmla="*/ 1690502 h 4583792"/>
              <a:gd name="connsiteX1" fmla="*/ 1892761 w 6266141"/>
              <a:gd name="connsiteY1" fmla="*/ 2022 h 4583792"/>
              <a:gd name="connsiteX2" fmla="*/ 6266141 w 6266141"/>
              <a:gd name="connsiteY2" fmla="*/ 1 h 4583792"/>
              <a:gd name="connsiteX3" fmla="*/ 6256315 w 6266141"/>
              <a:gd name="connsiteY3" fmla="*/ 4583792 h 4583792"/>
              <a:gd name="connsiteX4" fmla="*/ 2079777 w 6266141"/>
              <a:gd name="connsiteY4" fmla="*/ 4577543 h 4583792"/>
              <a:gd name="connsiteX5" fmla="*/ 35 w 6266141"/>
              <a:gd name="connsiteY5" fmla="*/ 1690502 h 4583792"/>
              <a:gd name="connsiteX0" fmla="*/ 53 w 6266159"/>
              <a:gd name="connsiteY0" fmla="*/ 1690502 h 4583792"/>
              <a:gd name="connsiteX1" fmla="*/ 1892779 w 6266159"/>
              <a:gd name="connsiteY1" fmla="*/ 2022 h 4583792"/>
              <a:gd name="connsiteX2" fmla="*/ 6266159 w 6266159"/>
              <a:gd name="connsiteY2" fmla="*/ 1 h 4583792"/>
              <a:gd name="connsiteX3" fmla="*/ 6256333 w 6266159"/>
              <a:gd name="connsiteY3" fmla="*/ 4583792 h 4583792"/>
              <a:gd name="connsiteX4" fmla="*/ 1316507 w 6266159"/>
              <a:gd name="connsiteY4" fmla="*/ 4577543 h 4583792"/>
              <a:gd name="connsiteX5" fmla="*/ 53 w 6266159"/>
              <a:gd name="connsiteY5" fmla="*/ 1690502 h 4583792"/>
              <a:gd name="connsiteX0" fmla="*/ 55 w 6266161"/>
              <a:gd name="connsiteY0" fmla="*/ 1690502 h 4583792"/>
              <a:gd name="connsiteX1" fmla="*/ 2997302 w 6266161"/>
              <a:gd name="connsiteY1" fmla="*/ 319628 h 4583792"/>
              <a:gd name="connsiteX2" fmla="*/ 6266161 w 6266161"/>
              <a:gd name="connsiteY2" fmla="*/ 1 h 4583792"/>
              <a:gd name="connsiteX3" fmla="*/ 6256335 w 6266161"/>
              <a:gd name="connsiteY3" fmla="*/ 4583792 h 4583792"/>
              <a:gd name="connsiteX4" fmla="*/ 1316509 w 6266161"/>
              <a:gd name="connsiteY4" fmla="*/ 4577543 h 4583792"/>
              <a:gd name="connsiteX5" fmla="*/ 55 w 6266161"/>
              <a:gd name="connsiteY5" fmla="*/ 1690502 h 4583792"/>
              <a:gd name="connsiteX0" fmla="*/ 54 w 6284119"/>
              <a:gd name="connsiteY0" fmla="*/ 2 h 4601632"/>
              <a:gd name="connsiteX1" fmla="*/ 3015260 w 6284119"/>
              <a:gd name="connsiteY1" fmla="*/ 337468 h 4601632"/>
              <a:gd name="connsiteX2" fmla="*/ 6284119 w 6284119"/>
              <a:gd name="connsiteY2" fmla="*/ 17841 h 4601632"/>
              <a:gd name="connsiteX3" fmla="*/ 6274293 w 6284119"/>
              <a:gd name="connsiteY3" fmla="*/ 4601632 h 4601632"/>
              <a:gd name="connsiteX4" fmla="*/ 1334467 w 6284119"/>
              <a:gd name="connsiteY4" fmla="*/ 4595383 h 4601632"/>
              <a:gd name="connsiteX5" fmla="*/ 54 w 6284119"/>
              <a:gd name="connsiteY5" fmla="*/ 2 h 4601632"/>
              <a:gd name="connsiteX0" fmla="*/ 2316 w 6286381"/>
              <a:gd name="connsiteY0" fmla="*/ 2 h 4601632"/>
              <a:gd name="connsiteX1" fmla="*/ 3017522 w 6286381"/>
              <a:gd name="connsiteY1" fmla="*/ 337468 h 4601632"/>
              <a:gd name="connsiteX2" fmla="*/ 6286381 w 6286381"/>
              <a:gd name="connsiteY2" fmla="*/ 17841 h 4601632"/>
              <a:gd name="connsiteX3" fmla="*/ 6276555 w 6286381"/>
              <a:gd name="connsiteY3" fmla="*/ 4601632 h 4601632"/>
              <a:gd name="connsiteX4" fmla="*/ 16691 w 6286381"/>
              <a:gd name="connsiteY4" fmla="*/ 4600196 h 4601632"/>
              <a:gd name="connsiteX5" fmla="*/ 2316 w 6286381"/>
              <a:gd name="connsiteY5" fmla="*/ 2 h 4601632"/>
              <a:gd name="connsiteX0" fmla="*/ 2316 w 6295361"/>
              <a:gd name="connsiteY0" fmla="*/ 2 h 4601632"/>
              <a:gd name="connsiteX1" fmla="*/ 3017522 w 6295361"/>
              <a:gd name="connsiteY1" fmla="*/ 337468 h 4601632"/>
              <a:gd name="connsiteX2" fmla="*/ 6295361 w 6295361"/>
              <a:gd name="connsiteY2" fmla="*/ 1634749 h 4601632"/>
              <a:gd name="connsiteX3" fmla="*/ 6276555 w 6295361"/>
              <a:gd name="connsiteY3" fmla="*/ 4601632 h 4601632"/>
              <a:gd name="connsiteX4" fmla="*/ 16691 w 6295361"/>
              <a:gd name="connsiteY4" fmla="*/ 4600196 h 4601632"/>
              <a:gd name="connsiteX5" fmla="*/ 2316 w 6295361"/>
              <a:gd name="connsiteY5" fmla="*/ 2 h 4601632"/>
              <a:gd name="connsiteX0" fmla="*/ 2316 w 6295361"/>
              <a:gd name="connsiteY0" fmla="*/ 2 h 4601632"/>
              <a:gd name="connsiteX1" fmla="*/ 3762849 w 6295361"/>
              <a:gd name="connsiteY1" fmla="*/ 15050 h 4601632"/>
              <a:gd name="connsiteX2" fmla="*/ 6295361 w 6295361"/>
              <a:gd name="connsiteY2" fmla="*/ 1634749 h 4601632"/>
              <a:gd name="connsiteX3" fmla="*/ 6276555 w 6295361"/>
              <a:gd name="connsiteY3" fmla="*/ 4601632 h 4601632"/>
              <a:gd name="connsiteX4" fmla="*/ 16691 w 6295361"/>
              <a:gd name="connsiteY4" fmla="*/ 4600196 h 4601632"/>
              <a:gd name="connsiteX5" fmla="*/ 2316 w 6295361"/>
              <a:gd name="connsiteY5" fmla="*/ 2 h 4601632"/>
              <a:gd name="connsiteX0" fmla="*/ 2316 w 6295361"/>
              <a:gd name="connsiteY0" fmla="*/ 2 h 4601632"/>
              <a:gd name="connsiteX1" fmla="*/ 3762849 w 6295361"/>
              <a:gd name="connsiteY1" fmla="*/ 15050 h 4601632"/>
              <a:gd name="connsiteX2" fmla="*/ 6295361 w 6295361"/>
              <a:gd name="connsiteY2" fmla="*/ 1634749 h 4601632"/>
              <a:gd name="connsiteX3" fmla="*/ 5064276 w 6295361"/>
              <a:gd name="connsiteY3" fmla="*/ 4601632 h 4601632"/>
              <a:gd name="connsiteX4" fmla="*/ 16691 w 6295361"/>
              <a:gd name="connsiteY4" fmla="*/ 4600196 h 4601632"/>
              <a:gd name="connsiteX5" fmla="*/ 2316 w 6295361"/>
              <a:gd name="connsiteY5" fmla="*/ 2 h 460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95361" h="4601632">
                <a:moveTo>
                  <a:pt x="2316" y="2"/>
                </a:moveTo>
                <a:lnTo>
                  <a:pt x="3762849" y="15050"/>
                </a:lnTo>
                <a:lnTo>
                  <a:pt x="6295361" y="1634749"/>
                </a:lnTo>
                <a:cubicBezTo>
                  <a:pt x="6287176" y="1633969"/>
                  <a:pt x="5064496" y="4600087"/>
                  <a:pt x="5064276" y="4601632"/>
                </a:cubicBezTo>
                <a:cubicBezTo>
                  <a:pt x="5069655" y="4598146"/>
                  <a:pt x="37688" y="4602889"/>
                  <a:pt x="16691" y="4600196"/>
                </a:cubicBezTo>
                <a:cubicBezTo>
                  <a:pt x="17136" y="4610431"/>
                  <a:pt x="-7512" y="-3683"/>
                  <a:pt x="2316" y="2"/>
                </a:cubicBezTo>
                <a:close/>
              </a:path>
            </a:pathLst>
          </a:custGeom>
          <a:ln w="50800">
            <a:noFill/>
          </a:ln>
        </p:spPr>
        <p:txBody>
          <a:bodyPr/>
          <a:lstStyle/>
          <a:p>
            <a:pPr marL="304778" marR="0" lvl="0" indent="-304778" algn="l" defTabSz="1219108" rtl="0" eaLnBrk="1" fontAlgn="auto" latinLnBrk="0" hangingPunct="1">
              <a:lnSpc>
                <a:spcPct val="90000"/>
              </a:lnSpc>
              <a:spcBef>
                <a:spcPts val="1333"/>
              </a:spcBef>
              <a:spcAft>
                <a:spcPts val="0"/>
              </a:spcAft>
              <a:buClrTx/>
              <a:buSzTx/>
              <a:buFont typeface="Arial" panose="020B0604020202020204" pitchFamily="34" charset="0"/>
              <a:buNone/>
              <a:tabLst/>
              <a:defRPr/>
            </a:pPr>
            <a:r>
              <a:rPr lang="en-US" noProof="0"/>
              <a:t>Picture</a:t>
            </a:r>
          </a:p>
        </p:txBody>
      </p:sp>
      <p:sp>
        <p:nvSpPr>
          <p:cNvPr id="4" name="Marcador de texto 6">
            <a:extLst>
              <a:ext uri="{FF2B5EF4-FFF2-40B4-BE49-F238E27FC236}">
                <a16:creationId xmlns:a16="http://schemas.microsoft.com/office/drawing/2014/main" id="{0BCE6A4B-D244-F0AD-6255-C467761EBA7E}"/>
              </a:ext>
            </a:extLst>
          </p:cNvPr>
          <p:cNvSpPr>
            <a:spLocks noGrp="1"/>
          </p:cNvSpPr>
          <p:nvPr>
            <p:ph type="body" sz="quarter" idx="24" hasCustomPrompt="1"/>
          </p:nvPr>
        </p:nvSpPr>
        <p:spPr>
          <a:xfrm>
            <a:off x="11475395" y="4563"/>
            <a:ext cx="716605" cy="6858000"/>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2"/>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5" name="Título 1">
            <a:extLst>
              <a:ext uri="{FF2B5EF4-FFF2-40B4-BE49-F238E27FC236}">
                <a16:creationId xmlns:a16="http://schemas.microsoft.com/office/drawing/2014/main" id="{48423B44-A59B-CDA3-C538-9BAC0AEDF2E2}"/>
              </a:ext>
            </a:extLst>
          </p:cNvPr>
          <p:cNvSpPr>
            <a:spLocks noGrp="1"/>
          </p:cNvSpPr>
          <p:nvPr>
            <p:ph type="title" hasCustomPrompt="1"/>
          </p:nvPr>
        </p:nvSpPr>
        <p:spPr>
          <a:xfrm>
            <a:off x="6096001" y="740834"/>
            <a:ext cx="4465591" cy="2599343"/>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4800" baseline="0">
                <a:solidFill>
                  <a:schemeClr val="accent2"/>
                </a:solidFill>
              </a:defRPr>
            </a:lvl1pPr>
          </a:lstStyle>
          <a:p>
            <a:r>
              <a:rPr lang="en-US" noProof="0"/>
              <a:t>Headline is Arial Reg.36pt.</a:t>
            </a:r>
            <a:br>
              <a:rPr lang="en-US" noProof="0"/>
            </a:br>
            <a:r>
              <a:rPr lang="en-US" noProof="0"/>
              <a:t>Lorem ipsum </a:t>
            </a:r>
            <a:br>
              <a:rPr lang="en-US" noProof="0"/>
            </a:br>
            <a:r>
              <a:rPr lang="en-US" noProof="0"/>
              <a:t>dolor sit </a:t>
            </a:r>
            <a:r>
              <a:rPr lang="en-US" noProof="0" err="1"/>
              <a:t>amet</a:t>
            </a:r>
            <a:r>
              <a:rPr lang="en-US" noProof="0"/>
              <a:t>.</a:t>
            </a:r>
          </a:p>
        </p:txBody>
      </p:sp>
      <p:sp>
        <p:nvSpPr>
          <p:cNvPr id="6" name="Marcador de texto 5">
            <a:extLst>
              <a:ext uri="{FF2B5EF4-FFF2-40B4-BE49-F238E27FC236}">
                <a16:creationId xmlns:a16="http://schemas.microsoft.com/office/drawing/2014/main" id="{D7A2021B-890C-611F-A034-4FD4A0AAF370}"/>
              </a:ext>
            </a:extLst>
          </p:cNvPr>
          <p:cNvSpPr>
            <a:spLocks noGrp="1"/>
          </p:cNvSpPr>
          <p:nvPr>
            <p:ph type="body" sz="quarter" idx="12" hasCustomPrompt="1"/>
          </p:nvPr>
        </p:nvSpPr>
        <p:spPr>
          <a:xfrm>
            <a:off x="6112565" y="3468670"/>
            <a:ext cx="4193935" cy="405357"/>
          </a:xfrm>
          <a:prstGeom prst="rect">
            <a:avLst/>
          </a:prstGeom>
        </p:spPr>
        <p:txBody>
          <a:bodyPr lIns="0" tIns="0" rIns="0" bIns="0">
            <a:noAutofit/>
          </a:bodyPr>
          <a:lstStyle>
            <a:lvl1pPr marL="0" indent="0">
              <a:lnSpc>
                <a:spcPct val="100000"/>
              </a:lnSpc>
              <a:spcBef>
                <a:spcPts val="0"/>
              </a:spcBef>
              <a:buNone/>
              <a:defRPr sz="1733" baseline="0">
                <a:solidFill>
                  <a:schemeClr val="accent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Subhead is Arial Regular 13/Simple pt.</a:t>
            </a:r>
          </a:p>
        </p:txBody>
      </p:sp>
      <p:sp>
        <p:nvSpPr>
          <p:cNvPr id="8" name="Marcador de texto 5">
            <a:extLst>
              <a:ext uri="{FF2B5EF4-FFF2-40B4-BE49-F238E27FC236}">
                <a16:creationId xmlns:a16="http://schemas.microsoft.com/office/drawing/2014/main" id="{FDE14C11-F38E-6F1F-9FE1-1E06A36AAC50}"/>
              </a:ext>
            </a:extLst>
          </p:cNvPr>
          <p:cNvSpPr>
            <a:spLocks noGrp="1"/>
          </p:cNvSpPr>
          <p:nvPr>
            <p:ph type="body" sz="quarter" idx="16" hasCustomPrompt="1"/>
          </p:nvPr>
        </p:nvSpPr>
        <p:spPr>
          <a:xfrm>
            <a:off x="6096001" y="4269921"/>
            <a:ext cx="4508876" cy="1798564"/>
          </a:xfrm>
          <a:prstGeom prst="rect">
            <a:avLst/>
          </a:prstGeom>
        </p:spPr>
        <p:txBody>
          <a:bodyPr lIns="0" tIns="0" rIns="0" bIns="0">
            <a:noAutofit/>
          </a:bodyPr>
          <a:lstStyle>
            <a:lvl1pPr marL="0" indent="0">
              <a:lnSpc>
                <a:spcPct val="100000"/>
              </a:lnSpc>
              <a:spcBef>
                <a:spcPts val="0"/>
              </a:spcBef>
              <a:buNone/>
              <a:defRPr sz="1200" baseline="0">
                <a:solidFill>
                  <a:schemeClr val="accent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err="1"/>
              <a:t>Bodycopy</a:t>
            </a:r>
            <a:r>
              <a:rPr lang="en-US" noProof="0"/>
              <a:t> is Arial Regular 9/Simple p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noProof="0"/>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err="1"/>
              <a:t>Bodycopy</a:t>
            </a:r>
            <a:r>
              <a:rPr lang="en-US" noProof="0"/>
              <a:t> is Arial Regular 9/Simple pt. Lorem ipsum dolor si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a:t>
            </a:r>
          </a:p>
          <a:p>
            <a:pPr lvl="0"/>
            <a:endParaRPr lang="en-US" noProof="0"/>
          </a:p>
        </p:txBody>
      </p:sp>
      <p:sp>
        <p:nvSpPr>
          <p:cNvPr id="3" name="Marcador de texto 5">
            <a:extLst>
              <a:ext uri="{FF2B5EF4-FFF2-40B4-BE49-F238E27FC236}">
                <a16:creationId xmlns:a16="http://schemas.microsoft.com/office/drawing/2014/main" id="{687C1A8E-E11C-8732-AF17-948B01732565}"/>
              </a:ext>
            </a:extLst>
          </p:cNvPr>
          <p:cNvSpPr>
            <a:spLocks noGrp="1"/>
          </p:cNvSpPr>
          <p:nvPr>
            <p:ph type="body" sz="quarter" idx="25" hasCustomPrompt="1"/>
          </p:nvPr>
        </p:nvSpPr>
        <p:spPr>
          <a:xfrm>
            <a:off x="4039281" y="6417750"/>
            <a:ext cx="4113439" cy="195084"/>
          </a:xfrm>
          <a:prstGeom prst="rect">
            <a:avLst/>
          </a:prstGeom>
        </p:spPr>
        <p:txBody>
          <a:bodyPr/>
          <a:lstStyle>
            <a:lvl1pPr marL="0" indent="0" algn="ctr">
              <a:buNone/>
              <a:defRPr sz="933">
                <a:solidFill>
                  <a:schemeClr val="accent1"/>
                </a:solidFill>
              </a:defRPr>
            </a:lvl1pPr>
          </a:lstStyle>
          <a:p>
            <a:r>
              <a:rPr lang="es-ES" err="1"/>
              <a:t>Lorem</a:t>
            </a:r>
            <a:r>
              <a:rPr lang="es-ES"/>
              <a:t> </a:t>
            </a:r>
            <a:r>
              <a:rPr lang="es-ES" err="1"/>
              <a:t>ipsum</a:t>
            </a:r>
            <a:r>
              <a:rPr lang="es-ES"/>
              <a:t> dolor </a:t>
            </a:r>
            <a:r>
              <a:rPr lang="es-ES" err="1"/>
              <a:t>sit</a:t>
            </a:r>
            <a:r>
              <a:rPr lang="es-ES"/>
              <a:t> </a:t>
            </a:r>
            <a:r>
              <a:rPr lang="es-ES" err="1"/>
              <a:t>amet</a:t>
            </a:r>
            <a:r>
              <a:rPr lang="es-ES"/>
              <a:t>.</a:t>
            </a:r>
          </a:p>
        </p:txBody>
      </p:sp>
      <p:sp>
        <p:nvSpPr>
          <p:cNvPr id="9" name="Slide Number Placeholder 5">
            <a:extLst>
              <a:ext uri="{FF2B5EF4-FFF2-40B4-BE49-F238E27FC236}">
                <a16:creationId xmlns:a16="http://schemas.microsoft.com/office/drawing/2014/main" id="{F6050442-87CC-8C1E-6BCC-01B21291AF02}"/>
              </a:ext>
            </a:extLst>
          </p:cNvPr>
          <p:cNvSpPr>
            <a:spLocks noGrp="1"/>
          </p:cNvSpPr>
          <p:nvPr>
            <p:ph type="sldNum" sz="quarter" idx="4"/>
          </p:nvPr>
        </p:nvSpPr>
        <p:spPr>
          <a:xfrm>
            <a:off x="10910403" y="6356351"/>
            <a:ext cx="1042415" cy="365125"/>
          </a:xfrm>
          <a:prstGeom prst="rect">
            <a:avLst/>
          </a:prstGeom>
        </p:spPr>
        <p:txBody>
          <a:bodyPr vert="horz" lIns="91440" tIns="45720" rIns="91440" bIns="45720" rtlCol="0" anchor="ctr"/>
          <a:lstStyle>
            <a:lvl1pPr algn="r">
              <a:defRPr sz="933">
                <a:solidFill>
                  <a:schemeClr val="accent1"/>
                </a:solidFill>
              </a:defRPr>
            </a:lvl1pPr>
          </a:lstStyle>
          <a:p>
            <a:fld id="{96F64DD7-E411-6141-89FE-121B5323FD5F}" type="slidenum">
              <a:rPr lang="en-US" smtClean="0"/>
              <a:pPr/>
              <a:t>‹Nº›</a:t>
            </a:fld>
            <a:endParaRPr lang="en-US"/>
          </a:p>
        </p:txBody>
      </p:sp>
    </p:spTree>
    <p:extLst>
      <p:ext uri="{BB962C8B-B14F-4D97-AF65-F5344CB8AC3E}">
        <p14:creationId xmlns:p14="http://schemas.microsoft.com/office/powerpoint/2010/main" val="4193257840"/>
      </p:ext>
    </p:extLst>
  </p:cSld>
  <p:clrMapOvr>
    <a:masterClrMapping/>
  </p:clrMapOvr>
  <p:extLst>
    <p:ext uri="{DCECCB84-F9BA-43D5-87BE-67443E8EF086}">
      <p15:sldGuideLst xmlns:p15="http://schemas.microsoft.com/office/powerpoint/2012/main">
        <p15:guide id="1" orient="horz" pos="2867">
          <p15:clr>
            <a:srgbClr val="FBAE40"/>
          </p15:clr>
        </p15:guide>
        <p15:guide id="2" pos="2880">
          <p15:clr>
            <a:srgbClr val="FBAE40"/>
          </p15:clr>
        </p15:guide>
        <p15:guide id="3" orient="horz" pos="35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 Image 5">
    <p:bg>
      <p:bgPr>
        <a:solidFill>
          <a:schemeClr val="bg1"/>
        </a:solidFill>
        <a:effectLst/>
      </p:bgPr>
    </p:bg>
    <p:spTree>
      <p:nvGrpSpPr>
        <p:cNvPr id="1" name=""/>
        <p:cNvGrpSpPr/>
        <p:nvPr/>
      </p:nvGrpSpPr>
      <p:grpSpPr>
        <a:xfrm>
          <a:off x="0" y="0"/>
          <a:ext cx="0" cy="0"/>
          <a:chOff x="0" y="0"/>
          <a:chExt cx="0" cy="0"/>
        </a:xfrm>
      </p:grpSpPr>
      <p:sp>
        <p:nvSpPr>
          <p:cNvPr id="7" name="Marcador de imagen 7">
            <a:extLst>
              <a:ext uri="{FF2B5EF4-FFF2-40B4-BE49-F238E27FC236}">
                <a16:creationId xmlns:a16="http://schemas.microsoft.com/office/drawing/2014/main" id="{1CB64C5B-97F4-0D5F-B624-BC1B6A3C66FA}"/>
              </a:ext>
            </a:extLst>
          </p:cNvPr>
          <p:cNvSpPr>
            <a:spLocks noGrp="1"/>
          </p:cNvSpPr>
          <p:nvPr>
            <p:ph type="pic" sz="quarter" idx="20" hasCustomPrompt="1"/>
          </p:nvPr>
        </p:nvSpPr>
        <p:spPr>
          <a:xfrm>
            <a:off x="8846709" y="6211"/>
            <a:ext cx="3345291" cy="6868719"/>
          </a:xfrm>
          <a:custGeom>
            <a:avLst/>
            <a:gdLst>
              <a:gd name="connsiteX0" fmla="*/ 0 w 8411266"/>
              <a:gd name="connsiteY0" fmla="*/ 0 h 2915921"/>
              <a:gd name="connsiteX1" fmla="*/ 8411266 w 8411266"/>
              <a:gd name="connsiteY1" fmla="*/ 0 h 2915921"/>
              <a:gd name="connsiteX2" fmla="*/ 8411266 w 8411266"/>
              <a:gd name="connsiteY2" fmla="*/ 2915921 h 2915921"/>
              <a:gd name="connsiteX3" fmla="*/ 0 w 8411266"/>
              <a:gd name="connsiteY3" fmla="*/ 2915921 h 2915921"/>
              <a:gd name="connsiteX4" fmla="*/ 0 w 8411266"/>
              <a:gd name="connsiteY4" fmla="*/ 0 h 2915921"/>
              <a:gd name="connsiteX0" fmla="*/ 0 w 8411266"/>
              <a:gd name="connsiteY0" fmla="*/ 0 h 2915922"/>
              <a:gd name="connsiteX1" fmla="*/ 8411266 w 8411266"/>
              <a:gd name="connsiteY1" fmla="*/ 0 h 2915922"/>
              <a:gd name="connsiteX2" fmla="*/ 8411266 w 8411266"/>
              <a:gd name="connsiteY2" fmla="*/ 2915921 h 2915922"/>
              <a:gd name="connsiteX3" fmla="*/ 7668987 w 8411266"/>
              <a:gd name="connsiteY3" fmla="*/ 2915922 h 2915922"/>
              <a:gd name="connsiteX4" fmla="*/ 0 w 8411266"/>
              <a:gd name="connsiteY4" fmla="*/ 2915921 h 2915922"/>
              <a:gd name="connsiteX5" fmla="*/ 0 w 8411266"/>
              <a:gd name="connsiteY5" fmla="*/ 0 h 2915922"/>
              <a:gd name="connsiteX0" fmla="*/ 0 w 8411266"/>
              <a:gd name="connsiteY0" fmla="*/ 0 h 2915922"/>
              <a:gd name="connsiteX1" fmla="*/ 8411266 w 8411266"/>
              <a:gd name="connsiteY1" fmla="*/ 0 h 2915922"/>
              <a:gd name="connsiteX2" fmla="*/ 8405886 w 8411266"/>
              <a:gd name="connsiteY2" fmla="*/ 2238189 h 2915922"/>
              <a:gd name="connsiteX3" fmla="*/ 8411266 w 8411266"/>
              <a:gd name="connsiteY3" fmla="*/ 2915921 h 2915922"/>
              <a:gd name="connsiteX4" fmla="*/ 7668987 w 8411266"/>
              <a:gd name="connsiteY4" fmla="*/ 2915922 h 2915922"/>
              <a:gd name="connsiteX5" fmla="*/ 0 w 8411266"/>
              <a:gd name="connsiteY5" fmla="*/ 2915921 h 2915922"/>
              <a:gd name="connsiteX6" fmla="*/ 0 w 8411266"/>
              <a:gd name="connsiteY6" fmla="*/ 0 h 2915922"/>
              <a:gd name="connsiteX0" fmla="*/ 0 w 8411782"/>
              <a:gd name="connsiteY0" fmla="*/ 0 h 2915922"/>
              <a:gd name="connsiteX1" fmla="*/ 8411266 w 8411782"/>
              <a:gd name="connsiteY1" fmla="*/ 0 h 2915922"/>
              <a:gd name="connsiteX2" fmla="*/ 8411265 w 8411782"/>
              <a:gd name="connsiteY2" fmla="*/ 2211294 h 2915922"/>
              <a:gd name="connsiteX3" fmla="*/ 8411266 w 8411782"/>
              <a:gd name="connsiteY3" fmla="*/ 2915921 h 2915922"/>
              <a:gd name="connsiteX4" fmla="*/ 7668987 w 8411782"/>
              <a:gd name="connsiteY4" fmla="*/ 2915922 h 2915922"/>
              <a:gd name="connsiteX5" fmla="*/ 0 w 8411782"/>
              <a:gd name="connsiteY5" fmla="*/ 2915921 h 2915922"/>
              <a:gd name="connsiteX6" fmla="*/ 0 w 8411782"/>
              <a:gd name="connsiteY6" fmla="*/ 0 h 2915922"/>
              <a:gd name="connsiteX0" fmla="*/ 0 w 8519559"/>
              <a:gd name="connsiteY0" fmla="*/ 0 h 2915922"/>
              <a:gd name="connsiteX1" fmla="*/ 8411266 w 8519559"/>
              <a:gd name="connsiteY1" fmla="*/ 0 h 2915922"/>
              <a:gd name="connsiteX2" fmla="*/ 8411265 w 8519559"/>
              <a:gd name="connsiteY2" fmla="*/ 2211294 h 2915922"/>
              <a:gd name="connsiteX3" fmla="*/ 7668987 w 8519559"/>
              <a:gd name="connsiteY3" fmla="*/ 2915922 h 2915922"/>
              <a:gd name="connsiteX4" fmla="*/ 0 w 8519559"/>
              <a:gd name="connsiteY4" fmla="*/ 2915921 h 2915922"/>
              <a:gd name="connsiteX5" fmla="*/ 0 w 8519559"/>
              <a:gd name="connsiteY5" fmla="*/ 0 h 2915922"/>
              <a:gd name="connsiteX0" fmla="*/ 0 w 8568374"/>
              <a:gd name="connsiteY0" fmla="*/ 0 h 2915922"/>
              <a:gd name="connsiteX1" fmla="*/ 8411266 w 8568374"/>
              <a:gd name="connsiteY1" fmla="*/ 0 h 2915922"/>
              <a:gd name="connsiteX2" fmla="*/ 8411265 w 8568374"/>
              <a:gd name="connsiteY2" fmla="*/ 2211294 h 2915922"/>
              <a:gd name="connsiteX3" fmla="*/ 7668987 w 8568374"/>
              <a:gd name="connsiteY3" fmla="*/ 2915922 h 2915922"/>
              <a:gd name="connsiteX4" fmla="*/ 0 w 8568374"/>
              <a:gd name="connsiteY4" fmla="*/ 2915921 h 2915922"/>
              <a:gd name="connsiteX5" fmla="*/ 0 w 8568374"/>
              <a:gd name="connsiteY5" fmla="*/ 0 h 2915922"/>
              <a:gd name="connsiteX0" fmla="*/ 0 w 8411782"/>
              <a:gd name="connsiteY0" fmla="*/ 0 h 2915922"/>
              <a:gd name="connsiteX1" fmla="*/ 8411266 w 8411782"/>
              <a:gd name="connsiteY1" fmla="*/ 0 h 2915922"/>
              <a:gd name="connsiteX2" fmla="*/ 8411265 w 8411782"/>
              <a:gd name="connsiteY2" fmla="*/ 2211294 h 2915922"/>
              <a:gd name="connsiteX3" fmla="*/ 7668987 w 8411782"/>
              <a:gd name="connsiteY3" fmla="*/ 2915922 h 2915922"/>
              <a:gd name="connsiteX4" fmla="*/ 0 w 8411782"/>
              <a:gd name="connsiteY4" fmla="*/ 2915921 h 2915922"/>
              <a:gd name="connsiteX5" fmla="*/ 0 w 8411782"/>
              <a:gd name="connsiteY5" fmla="*/ 0 h 2915922"/>
              <a:gd name="connsiteX0" fmla="*/ 0 w 8418465"/>
              <a:gd name="connsiteY0" fmla="*/ 0 h 2915922"/>
              <a:gd name="connsiteX1" fmla="*/ 8411266 w 8418465"/>
              <a:gd name="connsiteY1" fmla="*/ 0 h 2915922"/>
              <a:gd name="connsiteX2" fmla="*/ 8418046 w 8418465"/>
              <a:gd name="connsiteY2" fmla="*/ 2519966 h 2915922"/>
              <a:gd name="connsiteX3" fmla="*/ 7668987 w 8418465"/>
              <a:gd name="connsiteY3" fmla="*/ 2915922 h 2915922"/>
              <a:gd name="connsiteX4" fmla="*/ 0 w 8418465"/>
              <a:gd name="connsiteY4" fmla="*/ 2915921 h 2915922"/>
              <a:gd name="connsiteX5" fmla="*/ 0 w 8418465"/>
              <a:gd name="connsiteY5" fmla="*/ 0 h 2915922"/>
              <a:gd name="connsiteX0" fmla="*/ 0 w 8425205"/>
              <a:gd name="connsiteY0" fmla="*/ 0 h 2915922"/>
              <a:gd name="connsiteX1" fmla="*/ 8411266 w 8425205"/>
              <a:gd name="connsiteY1" fmla="*/ 0 h 2915922"/>
              <a:gd name="connsiteX2" fmla="*/ 8424827 w 8425205"/>
              <a:gd name="connsiteY2" fmla="*/ 2522560 h 2915922"/>
              <a:gd name="connsiteX3" fmla="*/ 7668987 w 8425205"/>
              <a:gd name="connsiteY3" fmla="*/ 2915922 h 2915922"/>
              <a:gd name="connsiteX4" fmla="*/ 0 w 8425205"/>
              <a:gd name="connsiteY4" fmla="*/ 2915921 h 2915922"/>
              <a:gd name="connsiteX5" fmla="*/ 0 w 8425205"/>
              <a:gd name="connsiteY5" fmla="*/ 0 h 2915922"/>
              <a:gd name="connsiteX0" fmla="*/ 0 w 8411783"/>
              <a:gd name="connsiteY0" fmla="*/ 0 h 2915922"/>
              <a:gd name="connsiteX1" fmla="*/ 8411266 w 8411783"/>
              <a:gd name="connsiteY1" fmla="*/ 0 h 2915922"/>
              <a:gd name="connsiteX2" fmla="*/ 8411265 w 8411783"/>
              <a:gd name="connsiteY2" fmla="*/ 2506997 h 2915922"/>
              <a:gd name="connsiteX3" fmla="*/ 7668987 w 8411783"/>
              <a:gd name="connsiteY3" fmla="*/ 2915922 h 2915922"/>
              <a:gd name="connsiteX4" fmla="*/ 0 w 8411783"/>
              <a:gd name="connsiteY4" fmla="*/ 2915921 h 2915922"/>
              <a:gd name="connsiteX5" fmla="*/ 0 w 8411783"/>
              <a:gd name="connsiteY5" fmla="*/ 0 h 2915922"/>
              <a:gd name="connsiteX0" fmla="*/ 0 w 8411781"/>
              <a:gd name="connsiteY0" fmla="*/ 0 h 2918516"/>
              <a:gd name="connsiteX1" fmla="*/ 8411266 w 8411781"/>
              <a:gd name="connsiteY1" fmla="*/ 0 h 2918516"/>
              <a:gd name="connsiteX2" fmla="*/ 8411265 w 8411781"/>
              <a:gd name="connsiteY2" fmla="*/ 2506997 h 2918516"/>
              <a:gd name="connsiteX3" fmla="*/ 7431649 w 8411781"/>
              <a:gd name="connsiteY3" fmla="*/ 2918516 h 2918516"/>
              <a:gd name="connsiteX4" fmla="*/ 0 w 8411781"/>
              <a:gd name="connsiteY4" fmla="*/ 2915921 h 2918516"/>
              <a:gd name="connsiteX5" fmla="*/ 0 w 8411781"/>
              <a:gd name="connsiteY5" fmla="*/ 0 h 2918516"/>
              <a:gd name="connsiteX0" fmla="*/ 0 w 8411783"/>
              <a:gd name="connsiteY0" fmla="*/ 0 h 2921109"/>
              <a:gd name="connsiteX1" fmla="*/ 8411266 w 8411783"/>
              <a:gd name="connsiteY1" fmla="*/ 0 h 2921109"/>
              <a:gd name="connsiteX2" fmla="*/ 8411265 w 8411783"/>
              <a:gd name="connsiteY2" fmla="*/ 2506997 h 2921109"/>
              <a:gd name="connsiteX3" fmla="*/ 7431649 w 8411783"/>
              <a:gd name="connsiteY3" fmla="*/ 2918516 h 2921109"/>
              <a:gd name="connsiteX4" fmla="*/ 0 w 8411783"/>
              <a:gd name="connsiteY4" fmla="*/ 2921109 h 2921109"/>
              <a:gd name="connsiteX5" fmla="*/ 0 w 8411783"/>
              <a:gd name="connsiteY5" fmla="*/ 0 h 2921109"/>
              <a:gd name="connsiteX0" fmla="*/ 0 w 8412159"/>
              <a:gd name="connsiteY0" fmla="*/ 0 h 2921109"/>
              <a:gd name="connsiteX1" fmla="*/ 8411266 w 8412159"/>
              <a:gd name="connsiteY1" fmla="*/ 0 h 2921109"/>
              <a:gd name="connsiteX2" fmla="*/ 8411265 w 8412159"/>
              <a:gd name="connsiteY2" fmla="*/ 2506997 h 2921109"/>
              <a:gd name="connsiteX3" fmla="*/ 7431649 w 8412159"/>
              <a:gd name="connsiteY3" fmla="*/ 2918516 h 2921109"/>
              <a:gd name="connsiteX4" fmla="*/ 0 w 8412159"/>
              <a:gd name="connsiteY4" fmla="*/ 2921109 h 2921109"/>
              <a:gd name="connsiteX5" fmla="*/ 0 w 8412159"/>
              <a:gd name="connsiteY5" fmla="*/ 0 h 2921109"/>
              <a:gd name="connsiteX0" fmla="*/ 13562 w 8412159"/>
              <a:gd name="connsiteY0" fmla="*/ 0 h 2921109"/>
              <a:gd name="connsiteX1" fmla="*/ 8411266 w 8412159"/>
              <a:gd name="connsiteY1" fmla="*/ 0 h 2921109"/>
              <a:gd name="connsiteX2" fmla="*/ 8411265 w 8412159"/>
              <a:gd name="connsiteY2" fmla="*/ 2506997 h 2921109"/>
              <a:gd name="connsiteX3" fmla="*/ 7431649 w 8412159"/>
              <a:gd name="connsiteY3" fmla="*/ 2918516 h 2921109"/>
              <a:gd name="connsiteX4" fmla="*/ 0 w 8412159"/>
              <a:gd name="connsiteY4" fmla="*/ 2921109 h 2921109"/>
              <a:gd name="connsiteX5" fmla="*/ 13562 w 8412159"/>
              <a:gd name="connsiteY5" fmla="*/ 0 h 2921109"/>
              <a:gd name="connsiteX0" fmla="*/ 13562 w 8415929"/>
              <a:gd name="connsiteY0" fmla="*/ 0 h 2922720"/>
              <a:gd name="connsiteX1" fmla="*/ 8411266 w 8415929"/>
              <a:gd name="connsiteY1" fmla="*/ 0 h 2922720"/>
              <a:gd name="connsiteX2" fmla="*/ 8411265 w 8415929"/>
              <a:gd name="connsiteY2" fmla="*/ 2506997 h 2922720"/>
              <a:gd name="connsiteX3" fmla="*/ 7514079 w 8415929"/>
              <a:gd name="connsiteY3" fmla="*/ 2922720 h 2922720"/>
              <a:gd name="connsiteX4" fmla="*/ 0 w 8415929"/>
              <a:gd name="connsiteY4" fmla="*/ 2921109 h 2922720"/>
              <a:gd name="connsiteX5" fmla="*/ 13562 w 8415929"/>
              <a:gd name="connsiteY5" fmla="*/ 0 h 2922720"/>
              <a:gd name="connsiteX0" fmla="*/ 13562 w 8415929"/>
              <a:gd name="connsiteY0" fmla="*/ 0 h 2922720"/>
              <a:gd name="connsiteX1" fmla="*/ 8411266 w 8415929"/>
              <a:gd name="connsiteY1" fmla="*/ 0 h 2922720"/>
              <a:gd name="connsiteX2" fmla="*/ 8411265 w 8415929"/>
              <a:gd name="connsiteY2" fmla="*/ 2481772 h 2922720"/>
              <a:gd name="connsiteX3" fmla="*/ 7514079 w 8415929"/>
              <a:gd name="connsiteY3" fmla="*/ 2922720 h 2922720"/>
              <a:gd name="connsiteX4" fmla="*/ 0 w 8415929"/>
              <a:gd name="connsiteY4" fmla="*/ 2921109 h 2922720"/>
              <a:gd name="connsiteX5" fmla="*/ 13562 w 8415929"/>
              <a:gd name="connsiteY5" fmla="*/ 0 h 2922720"/>
              <a:gd name="connsiteX0" fmla="*/ 13562 w 8414282"/>
              <a:gd name="connsiteY0" fmla="*/ 0 h 2922720"/>
              <a:gd name="connsiteX1" fmla="*/ 8411266 w 8414282"/>
              <a:gd name="connsiteY1" fmla="*/ 0 h 2922720"/>
              <a:gd name="connsiteX2" fmla="*/ 8411265 w 8414282"/>
              <a:gd name="connsiteY2" fmla="*/ 2481772 h 2922720"/>
              <a:gd name="connsiteX3" fmla="*/ 7514079 w 8414282"/>
              <a:gd name="connsiteY3" fmla="*/ 2922720 h 2922720"/>
              <a:gd name="connsiteX4" fmla="*/ 0 w 8414282"/>
              <a:gd name="connsiteY4" fmla="*/ 2921109 h 2922720"/>
              <a:gd name="connsiteX5" fmla="*/ 13562 w 8414282"/>
              <a:gd name="connsiteY5" fmla="*/ 0 h 2922720"/>
              <a:gd name="connsiteX0" fmla="*/ 13562 w 8418988"/>
              <a:gd name="connsiteY0" fmla="*/ 0 h 2926924"/>
              <a:gd name="connsiteX1" fmla="*/ 8411266 w 8418988"/>
              <a:gd name="connsiteY1" fmla="*/ 0 h 2926924"/>
              <a:gd name="connsiteX2" fmla="*/ 8411265 w 8418988"/>
              <a:gd name="connsiteY2" fmla="*/ 2481772 h 2926924"/>
              <a:gd name="connsiteX3" fmla="*/ 7567541 w 8418988"/>
              <a:gd name="connsiteY3" fmla="*/ 2926924 h 2926924"/>
              <a:gd name="connsiteX4" fmla="*/ 0 w 8418988"/>
              <a:gd name="connsiteY4" fmla="*/ 2921109 h 2926924"/>
              <a:gd name="connsiteX5" fmla="*/ 13562 w 8418988"/>
              <a:gd name="connsiteY5" fmla="*/ 0 h 2926924"/>
              <a:gd name="connsiteX0" fmla="*/ 13562 w 8411933"/>
              <a:gd name="connsiteY0" fmla="*/ 0 h 2926924"/>
              <a:gd name="connsiteX1" fmla="*/ 8411266 w 8411933"/>
              <a:gd name="connsiteY1" fmla="*/ 0 h 2926924"/>
              <a:gd name="connsiteX2" fmla="*/ 8411265 w 8411933"/>
              <a:gd name="connsiteY2" fmla="*/ 2481772 h 2926924"/>
              <a:gd name="connsiteX3" fmla="*/ 7567541 w 8411933"/>
              <a:gd name="connsiteY3" fmla="*/ 2926924 h 2926924"/>
              <a:gd name="connsiteX4" fmla="*/ 0 w 8411933"/>
              <a:gd name="connsiteY4" fmla="*/ 2921109 h 2926924"/>
              <a:gd name="connsiteX5" fmla="*/ 13562 w 8411933"/>
              <a:gd name="connsiteY5" fmla="*/ 0 h 2926924"/>
              <a:gd name="connsiteX0" fmla="*/ 2313266 w 8411933"/>
              <a:gd name="connsiteY0" fmla="*/ 0 h 3278300"/>
              <a:gd name="connsiteX1" fmla="*/ 8411266 w 8411933"/>
              <a:gd name="connsiteY1" fmla="*/ 351376 h 3278300"/>
              <a:gd name="connsiteX2" fmla="*/ 8411265 w 8411933"/>
              <a:gd name="connsiteY2" fmla="*/ 2833148 h 3278300"/>
              <a:gd name="connsiteX3" fmla="*/ 7567541 w 8411933"/>
              <a:gd name="connsiteY3" fmla="*/ 3278300 h 3278300"/>
              <a:gd name="connsiteX4" fmla="*/ 0 w 8411933"/>
              <a:gd name="connsiteY4" fmla="*/ 3272485 h 3278300"/>
              <a:gd name="connsiteX5" fmla="*/ 2313266 w 8411933"/>
              <a:gd name="connsiteY5" fmla="*/ 0 h 3278300"/>
              <a:gd name="connsiteX0" fmla="*/ 1267 w 6099934"/>
              <a:gd name="connsiteY0" fmla="*/ 0 h 3278300"/>
              <a:gd name="connsiteX1" fmla="*/ 6099267 w 6099934"/>
              <a:gd name="connsiteY1" fmla="*/ 351376 h 3278300"/>
              <a:gd name="connsiteX2" fmla="*/ 6099266 w 6099934"/>
              <a:gd name="connsiteY2" fmla="*/ 2833148 h 3278300"/>
              <a:gd name="connsiteX3" fmla="*/ 5255542 w 6099934"/>
              <a:gd name="connsiteY3" fmla="*/ 3278300 h 3278300"/>
              <a:gd name="connsiteX4" fmla="*/ 1602 w 6099934"/>
              <a:gd name="connsiteY4" fmla="*/ 3276184 h 3278300"/>
              <a:gd name="connsiteX5" fmla="*/ 1267 w 6099934"/>
              <a:gd name="connsiteY5" fmla="*/ 0 h 3278300"/>
              <a:gd name="connsiteX0" fmla="*/ 1267 w 6099934"/>
              <a:gd name="connsiteY0" fmla="*/ 0 h 3278300"/>
              <a:gd name="connsiteX1" fmla="*/ 6099267 w 6099934"/>
              <a:gd name="connsiteY1" fmla="*/ 3698 h 3278300"/>
              <a:gd name="connsiteX2" fmla="*/ 6099266 w 6099934"/>
              <a:gd name="connsiteY2" fmla="*/ 2833148 h 3278300"/>
              <a:gd name="connsiteX3" fmla="*/ 5255542 w 6099934"/>
              <a:gd name="connsiteY3" fmla="*/ 3278300 h 3278300"/>
              <a:gd name="connsiteX4" fmla="*/ 1602 w 6099934"/>
              <a:gd name="connsiteY4" fmla="*/ 3276184 h 3278300"/>
              <a:gd name="connsiteX5" fmla="*/ 1267 w 6099934"/>
              <a:gd name="connsiteY5" fmla="*/ 0 h 3278300"/>
              <a:gd name="connsiteX0" fmla="*/ -1 w 6098666"/>
              <a:gd name="connsiteY0" fmla="*/ 0 h 3278300"/>
              <a:gd name="connsiteX1" fmla="*/ 6097999 w 6098666"/>
              <a:gd name="connsiteY1" fmla="*/ 3698 h 3278300"/>
              <a:gd name="connsiteX2" fmla="*/ 6097998 w 6098666"/>
              <a:gd name="connsiteY2" fmla="*/ 2833148 h 3278300"/>
              <a:gd name="connsiteX3" fmla="*/ 5254274 w 6098666"/>
              <a:gd name="connsiteY3" fmla="*/ 3278300 h 3278300"/>
              <a:gd name="connsiteX4" fmla="*/ 334 w 6098666"/>
              <a:gd name="connsiteY4" fmla="*/ 3276184 h 3278300"/>
              <a:gd name="connsiteX5" fmla="*/ -1 w 6098666"/>
              <a:gd name="connsiteY5" fmla="*/ 0 h 3278300"/>
              <a:gd name="connsiteX0" fmla="*/ 1 w 6098668"/>
              <a:gd name="connsiteY0" fmla="*/ 0 h 3278300"/>
              <a:gd name="connsiteX1" fmla="*/ 6098001 w 6098668"/>
              <a:gd name="connsiteY1" fmla="*/ 3698 h 3278300"/>
              <a:gd name="connsiteX2" fmla="*/ 6098000 w 6098668"/>
              <a:gd name="connsiteY2" fmla="*/ 2833148 h 3278300"/>
              <a:gd name="connsiteX3" fmla="*/ 5254276 w 6098668"/>
              <a:gd name="connsiteY3" fmla="*/ 3278300 h 3278300"/>
              <a:gd name="connsiteX4" fmla="*/ 336 w 6098668"/>
              <a:gd name="connsiteY4" fmla="*/ 3276184 h 3278300"/>
              <a:gd name="connsiteX5" fmla="*/ 1 w 6098668"/>
              <a:gd name="connsiteY5" fmla="*/ 0 h 3278300"/>
              <a:gd name="connsiteX0" fmla="*/ -1 w 6098666"/>
              <a:gd name="connsiteY0" fmla="*/ 0 h 3278300"/>
              <a:gd name="connsiteX1" fmla="*/ 6097999 w 6098666"/>
              <a:gd name="connsiteY1" fmla="*/ 3698 h 3278300"/>
              <a:gd name="connsiteX2" fmla="*/ 6097998 w 6098666"/>
              <a:gd name="connsiteY2" fmla="*/ 2833148 h 3278300"/>
              <a:gd name="connsiteX3" fmla="*/ 5254274 w 6098666"/>
              <a:gd name="connsiteY3" fmla="*/ 3278300 h 3278300"/>
              <a:gd name="connsiteX4" fmla="*/ 334 w 6098666"/>
              <a:gd name="connsiteY4" fmla="*/ 3276184 h 3278300"/>
              <a:gd name="connsiteX5" fmla="*/ -1 w 6098666"/>
              <a:gd name="connsiteY5" fmla="*/ 0 h 3278300"/>
              <a:gd name="connsiteX0" fmla="*/ 1 w 6098796"/>
              <a:gd name="connsiteY0" fmla="*/ 0 h 3278300"/>
              <a:gd name="connsiteX1" fmla="*/ 6098001 w 6098796"/>
              <a:gd name="connsiteY1" fmla="*/ 3698 h 3278300"/>
              <a:gd name="connsiteX2" fmla="*/ 6098000 w 6098796"/>
              <a:gd name="connsiteY2" fmla="*/ 2833148 h 3278300"/>
              <a:gd name="connsiteX3" fmla="*/ 5254276 w 6098796"/>
              <a:gd name="connsiteY3" fmla="*/ 3278300 h 3278300"/>
              <a:gd name="connsiteX4" fmla="*/ 336 w 6098796"/>
              <a:gd name="connsiteY4" fmla="*/ 3276184 h 3278300"/>
              <a:gd name="connsiteX5" fmla="*/ 1 w 6098796"/>
              <a:gd name="connsiteY5" fmla="*/ 0 h 3278300"/>
              <a:gd name="connsiteX0" fmla="*/ -1 w 6098794"/>
              <a:gd name="connsiteY0" fmla="*/ 0 h 3276184"/>
              <a:gd name="connsiteX1" fmla="*/ 6097999 w 6098794"/>
              <a:gd name="connsiteY1" fmla="*/ 3698 h 3276184"/>
              <a:gd name="connsiteX2" fmla="*/ 6097998 w 6098794"/>
              <a:gd name="connsiteY2" fmla="*/ 2833148 h 3276184"/>
              <a:gd name="connsiteX3" fmla="*/ 3259278 w 6098794"/>
              <a:gd name="connsiteY3" fmla="*/ 3273473 h 3276184"/>
              <a:gd name="connsiteX4" fmla="*/ 334 w 6098794"/>
              <a:gd name="connsiteY4" fmla="*/ 3276184 h 3276184"/>
              <a:gd name="connsiteX5" fmla="*/ -1 w 6098794"/>
              <a:gd name="connsiteY5" fmla="*/ 0 h 3276184"/>
              <a:gd name="connsiteX0" fmla="*/ 1 w 6098000"/>
              <a:gd name="connsiteY0" fmla="*/ 0 h 3276184"/>
              <a:gd name="connsiteX1" fmla="*/ 6098001 w 6098000"/>
              <a:gd name="connsiteY1" fmla="*/ 3698 h 3276184"/>
              <a:gd name="connsiteX2" fmla="*/ 6079864 w 6098000"/>
              <a:gd name="connsiteY2" fmla="*/ 2529014 h 3276184"/>
              <a:gd name="connsiteX3" fmla="*/ 3259280 w 6098000"/>
              <a:gd name="connsiteY3" fmla="*/ 3273473 h 3276184"/>
              <a:gd name="connsiteX4" fmla="*/ 336 w 6098000"/>
              <a:gd name="connsiteY4" fmla="*/ 3276184 h 3276184"/>
              <a:gd name="connsiteX5" fmla="*/ 1 w 6098000"/>
              <a:gd name="connsiteY5" fmla="*/ 0 h 3276184"/>
              <a:gd name="connsiteX0" fmla="*/ 8737 w 6106737"/>
              <a:gd name="connsiteY0" fmla="*/ 0 h 3273473"/>
              <a:gd name="connsiteX1" fmla="*/ 6106737 w 6106737"/>
              <a:gd name="connsiteY1" fmla="*/ 3698 h 3273473"/>
              <a:gd name="connsiteX2" fmla="*/ 6088600 w 6106737"/>
              <a:gd name="connsiteY2" fmla="*/ 2529014 h 3273473"/>
              <a:gd name="connsiteX3" fmla="*/ 3268016 w 6106737"/>
              <a:gd name="connsiteY3" fmla="*/ 3273473 h 3273473"/>
              <a:gd name="connsiteX4" fmla="*/ 3 w 6106737"/>
              <a:gd name="connsiteY4" fmla="*/ 2329989 h 3273473"/>
              <a:gd name="connsiteX5" fmla="*/ 8737 w 6106737"/>
              <a:gd name="connsiteY5" fmla="*/ 0 h 3273473"/>
              <a:gd name="connsiteX0" fmla="*/ 335189 w 6106735"/>
              <a:gd name="connsiteY0" fmla="*/ 454917 h 3269775"/>
              <a:gd name="connsiteX1" fmla="*/ 6106735 w 6106735"/>
              <a:gd name="connsiteY1" fmla="*/ 0 h 3269775"/>
              <a:gd name="connsiteX2" fmla="*/ 6088598 w 6106735"/>
              <a:gd name="connsiteY2" fmla="*/ 2525316 h 3269775"/>
              <a:gd name="connsiteX3" fmla="*/ 3268014 w 6106735"/>
              <a:gd name="connsiteY3" fmla="*/ 3269775 h 3269775"/>
              <a:gd name="connsiteX4" fmla="*/ 1 w 6106735"/>
              <a:gd name="connsiteY4" fmla="*/ 2326291 h 3269775"/>
              <a:gd name="connsiteX5" fmla="*/ 335189 w 6106735"/>
              <a:gd name="connsiteY5" fmla="*/ 454917 h 3269775"/>
              <a:gd name="connsiteX0" fmla="*/ 335189 w 6106735"/>
              <a:gd name="connsiteY0" fmla="*/ 454917 h 3269775"/>
              <a:gd name="connsiteX1" fmla="*/ 3432891 w 6106735"/>
              <a:gd name="connsiteY1" fmla="*/ 205873 h 3269775"/>
              <a:gd name="connsiteX2" fmla="*/ 6106735 w 6106735"/>
              <a:gd name="connsiteY2" fmla="*/ 0 h 3269775"/>
              <a:gd name="connsiteX3" fmla="*/ 6088598 w 6106735"/>
              <a:gd name="connsiteY3" fmla="*/ 2525316 h 3269775"/>
              <a:gd name="connsiteX4" fmla="*/ 3268014 w 6106735"/>
              <a:gd name="connsiteY4" fmla="*/ 3269775 h 3269775"/>
              <a:gd name="connsiteX5" fmla="*/ 1 w 6106735"/>
              <a:gd name="connsiteY5" fmla="*/ 2326291 h 3269775"/>
              <a:gd name="connsiteX6" fmla="*/ 335189 w 6106735"/>
              <a:gd name="connsiteY6" fmla="*/ 454917 h 3269775"/>
              <a:gd name="connsiteX0" fmla="*/ 335189 w 6106735"/>
              <a:gd name="connsiteY0" fmla="*/ 454917 h 3269775"/>
              <a:gd name="connsiteX1" fmla="*/ 3260597 w 6106735"/>
              <a:gd name="connsiteY1" fmla="*/ 22428 h 3269775"/>
              <a:gd name="connsiteX2" fmla="*/ 6106735 w 6106735"/>
              <a:gd name="connsiteY2" fmla="*/ 0 h 3269775"/>
              <a:gd name="connsiteX3" fmla="*/ 6088598 w 6106735"/>
              <a:gd name="connsiteY3" fmla="*/ 2525316 h 3269775"/>
              <a:gd name="connsiteX4" fmla="*/ 3268014 w 6106735"/>
              <a:gd name="connsiteY4" fmla="*/ 3269775 h 3269775"/>
              <a:gd name="connsiteX5" fmla="*/ 1 w 6106735"/>
              <a:gd name="connsiteY5" fmla="*/ 2326291 h 3269775"/>
              <a:gd name="connsiteX6" fmla="*/ 335189 w 6106735"/>
              <a:gd name="connsiteY6" fmla="*/ 454917 h 3269775"/>
              <a:gd name="connsiteX0" fmla="*/ 335189 w 6124871"/>
              <a:gd name="connsiteY0" fmla="*/ 432489 h 3247347"/>
              <a:gd name="connsiteX1" fmla="*/ 3260597 w 6124871"/>
              <a:gd name="connsiteY1" fmla="*/ 0 h 3247347"/>
              <a:gd name="connsiteX2" fmla="*/ 6124871 w 6124871"/>
              <a:gd name="connsiteY2" fmla="*/ 281705 h 3247347"/>
              <a:gd name="connsiteX3" fmla="*/ 6088598 w 6124871"/>
              <a:gd name="connsiteY3" fmla="*/ 2502888 h 3247347"/>
              <a:gd name="connsiteX4" fmla="*/ 3268014 w 6124871"/>
              <a:gd name="connsiteY4" fmla="*/ 3247347 h 3247347"/>
              <a:gd name="connsiteX5" fmla="*/ 1 w 6124871"/>
              <a:gd name="connsiteY5" fmla="*/ 2303863 h 3247347"/>
              <a:gd name="connsiteX6" fmla="*/ 335189 w 6124871"/>
              <a:gd name="connsiteY6" fmla="*/ 432489 h 3247347"/>
              <a:gd name="connsiteX0" fmla="*/ 618041 w 6407723"/>
              <a:gd name="connsiteY0" fmla="*/ 432489 h 3247347"/>
              <a:gd name="connsiteX1" fmla="*/ 3543449 w 6407723"/>
              <a:gd name="connsiteY1" fmla="*/ 0 h 3247347"/>
              <a:gd name="connsiteX2" fmla="*/ 6407723 w 6407723"/>
              <a:gd name="connsiteY2" fmla="*/ 281705 h 3247347"/>
              <a:gd name="connsiteX3" fmla="*/ 6371450 w 6407723"/>
              <a:gd name="connsiteY3" fmla="*/ 2502888 h 3247347"/>
              <a:gd name="connsiteX4" fmla="*/ 3550866 w 6407723"/>
              <a:gd name="connsiteY4" fmla="*/ 3247347 h 3247347"/>
              <a:gd name="connsiteX5" fmla="*/ 282853 w 6407723"/>
              <a:gd name="connsiteY5" fmla="*/ 2303863 h 3247347"/>
              <a:gd name="connsiteX6" fmla="*/ 618041 w 6407723"/>
              <a:gd name="connsiteY6" fmla="*/ 432489 h 3247347"/>
              <a:gd name="connsiteX0" fmla="*/ 512943 w 6302625"/>
              <a:gd name="connsiteY0" fmla="*/ 432489 h 3247347"/>
              <a:gd name="connsiteX1" fmla="*/ 3438351 w 6302625"/>
              <a:gd name="connsiteY1" fmla="*/ 0 h 3247347"/>
              <a:gd name="connsiteX2" fmla="*/ 6302625 w 6302625"/>
              <a:gd name="connsiteY2" fmla="*/ 281705 h 3247347"/>
              <a:gd name="connsiteX3" fmla="*/ 6266352 w 6302625"/>
              <a:gd name="connsiteY3" fmla="*/ 2502888 h 3247347"/>
              <a:gd name="connsiteX4" fmla="*/ 3445768 w 6302625"/>
              <a:gd name="connsiteY4" fmla="*/ 3247347 h 3247347"/>
              <a:gd name="connsiteX5" fmla="*/ 177755 w 6302625"/>
              <a:gd name="connsiteY5" fmla="*/ 2303863 h 3247347"/>
              <a:gd name="connsiteX6" fmla="*/ 512943 w 6302625"/>
              <a:gd name="connsiteY6" fmla="*/ 432489 h 3247347"/>
              <a:gd name="connsiteX0" fmla="*/ 512943 w 6302625"/>
              <a:gd name="connsiteY0" fmla="*/ 432489 h 3283326"/>
              <a:gd name="connsiteX1" fmla="*/ 3438351 w 6302625"/>
              <a:gd name="connsiteY1" fmla="*/ 0 h 3283326"/>
              <a:gd name="connsiteX2" fmla="*/ 6302625 w 6302625"/>
              <a:gd name="connsiteY2" fmla="*/ 281705 h 3283326"/>
              <a:gd name="connsiteX3" fmla="*/ 6266352 w 6302625"/>
              <a:gd name="connsiteY3" fmla="*/ 2502888 h 3283326"/>
              <a:gd name="connsiteX4" fmla="*/ 3445768 w 6302625"/>
              <a:gd name="connsiteY4" fmla="*/ 3247347 h 3283326"/>
              <a:gd name="connsiteX5" fmla="*/ 177755 w 6302625"/>
              <a:gd name="connsiteY5" fmla="*/ 2303863 h 3283326"/>
              <a:gd name="connsiteX6" fmla="*/ 512943 w 6302625"/>
              <a:gd name="connsiteY6" fmla="*/ 432489 h 3283326"/>
              <a:gd name="connsiteX0" fmla="*/ 512943 w 6302625"/>
              <a:gd name="connsiteY0" fmla="*/ 432489 h 3283326"/>
              <a:gd name="connsiteX1" fmla="*/ 3438351 w 6302625"/>
              <a:gd name="connsiteY1" fmla="*/ 0 h 3283326"/>
              <a:gd name="connsiteX2" fmla="*/ 6302625 w 6302625"/>
              <a:gd name="connsiteY2" fmla="*/ 281705 h 3283326"/>
              <a:gd name="connsiteX3" fmla="*/ 6266352 w 6302625"/>
              <a:gd name="connsiteY3" fmla="*/ 2502888 h 3283326"/>
              <a:gd name="connsiteX4" fmla="*/ 3445768 w 6302625"/>
              <a:gd name="connsiteY4" fmla="*/ 3247347 h 3283326"/>
              <a:gd name="connsiteX5" fmla="*/ 177755 w 6302625"/>
              <a:gd name="connsiteY5" fmla="*/ 2303863 h 3283326"/>
              <a:gd name="connsiteX6" fmla="*/ 512943 w 6302625"/>
              <a:gd name="connsiteY6" fmla="*/ 432489 h 3283326"/>
              <a:gd name="connsiteX0" fmla="*/ 512943 w 6424948"/>
              <a:gd name="connsiteY0" fmla="*/ 432489 h 3283326"/>
              <a:gd name="connsiteX1" fmla="*/ 3438351 w 6424948"/>
              <a:gd name="connsiteY1" fmla="*/ 0 h 3283326"/>
              <a:gd name="connsiteX2" fmla="*/ 6302625 w 6424948"/>
              <a:gd name="connsiteY2" fmla="*/ 281705 h 3283326"/>
              <a:gd name="connsiteX3" fmla="*/ 6266352 w 6424948"/>
              <a:gd name="connsiteY3" fmla="*/ 2502888 h 3283326"/>
              <a:gd name="connsiteX4" fmla="*/ 3445768 w 6424948"/>
              <a:gd name="connsiteY4" fmla="*/ 3247347 h 3283326"/>
              <a:gd name="connsiteX5" fmla="*/ 177755 w 6424948"/>
              <a:gd name="connsiteY5" fmla="*/ 2303863 h 3283326"/>
              <a:gd name="connsiteX6" fmla="*/ 512943 w 642494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47782"/>
              <a:gd name="connsiteX1" fmla="*/ 3438351 w 6506888"/>
              <a:gd name="connsiteY1" fmla="*/ 0 h 3247782"/>
              <a:gd name="connsiteX2" fmla="*/ 6302625 w 6506888"/>
              <a:gd name="connsiteY2" fmla="*/ 281705 h 3247782"/>
              <a:gd name="connsiteX3" fmla="*/ 6266352 w 6506888"/>
              <a:gd name="connsiteY3" fmla="*/ 2502888 h 3247782"/>
              <a:gd name="connsiteX4" fmla="*/ 3445768 w 6506888"/>
              <a:gd name="connsiteY4" fmla="*/ 3247347 h 3247782"/>
              <a:gd name="connsiteX5" fmla="*/ 177755 w 6506888"/>
              <a:gd name="connsiteY5" fmla="*/ 2303863 h 3247782"/>
              <a:gd name="connsiteX6" fmla="*/ 512943 w 6506888"/>
              <a:gd name="connsiteY6" fmla="*/ 432489 h 3247782"/>
              <a:gd name="connsiteX0" fmla="*/ 512943 w 6640245"/>
              <a:gd name="connsiteY0" fmla="*/ 464431 h 3279724"/>
              <a:gd name="connsiteX1" fmla="*/ 3438351 w 6640245"/>
              <a:gd name="connsiteY1" fmla="*/ 31942 h 3279724"/>
              <a:gd name="connsiteX2" fmla="*/ 6302625 w 6640245"/>
              <a:gd name="connsiteY2" fmla="*/ 313647 h 3279724"/>
              <a:gd name="connsiteX3" fmla="*/ 6266352 w 6640245"/>
              <a:gd name="connsiteY3" fmla="*/ 2534830 h 3279724"/>
              <a:gd name="connsiteX4" fmla="*/ 3445768 w 6640245"/>
              <a:gd name="connsiteY4" fmla="*/ 3279289 h 3279724"/>
              <a:gd name="connsiteX5" fmla="*/ 177755 w 6640245"/>
              <a:gd name="connsiteY5" fmla="*/ 2335805 h 3279724"/>
              <a:gd name="connsiteX6" fmla="*/ 512943 w 6640245"/>
              <a:gd name="connsiteY6" fmla="*/ 464431 h 3279724"/>
              <a:gd name="connsiteX0" fmla="*/ 512943 w 6640245"/>
              <a:gd name="connsiteY0" fmla="*/ 435033 h 3250326"/>
              <a:gd name="connsiteX1" fmla="*/ 3438351 w 6640245"/>
              <a:gd name="connsiteY1" fmla="*/ 2544 h 3250326"/>
              <a:gd name="connsiteX2" fmla="*/ 6302625 w 6640245"/>
              <a:gd name="connsiteY2" fmla="*/ 284249 h 3250326"/>
              <a:gd name="connsiteX3" fmla="*/ 6266352 w 6640245"/>
              <a:gd name="connsiteY3" fmla="*/ 2505432 h 3250326"/>
              <a:gd name="connsiteX4" fmla="*/ 3445768 w 6640245"/>
              <a:gd name="connsiteY4" fmla="*/ 3249891 h 3250326"/>
              <a:gd name="connsiteX5" fmla="*/ 177755 w 6640245"/>
              <a:gd name="connsiteY5" fmla="*/ 2306407 h 3250326"/>
              <a:gd name="connsiteX6" fmla="*/ 512943 w 6640245"/>
              <a:gd name="connsiteY6" fmla="*/ 435033 h 3250326"/>
              <a:gd name="connsiteX0" fmla="*/ 512943 w 6481361"/>
              <a:gd name="connsiteY0" fmla="*/ 435033 h 3250326"/>
              <a:gd name="connsiteX1" fmla="*/ 3438351 w 6481361"/>
              <a:gd name="connsiteY1" fmla="*/ 2544 h 3250326"/>
              <a:gd name="connsiteX2" fmla="*/ 6302625 w 6481361"/>
              <a:gd name="connsiteY2" fmla="*/ 284249 h 3250326"/>
              <a:gd name="connsiteX3" fmla="*/ 6266352 w 6481361"/>
              <a:gd name="connsiteY3" fmla="*/ 2505432 h 3250326"/>
              <a:gd name="connsiteX4" fmla="*/ 3445768 w 6481361"/>
              <a:gd name="connsiteY4" fmla="*/ 3249891 h 3250326"/>
              <a:gd name="connsiteX5" fmla="*/ 177755 w 6481361"/>
              <a:gd name="connsiteY5" fmla="*/ 2306407 h 3250326"/>
              <a:gd name="connsiteX6" fmla="*/ 512943 w 6481361"/>
              <a:gd name="connsiteY6" fmla="*/ 435033 h 3250326"/>
              <a:gd name="connsiteX0" fmla="*/ 512943 w 6481363"/>
              <a:gd name="connsiteY0" fmla="*/ 435033 h 3250326"/>
              <a:gd name="connsiteX1" fmla="*/ 3438351 w 6481363"/>
              <a:gd name="connsiteY1" fmla="*/ 2544 h 3250326"/>
              <a:gd name="connsiteX2" fmla="*/ 6302625 w 6481363"/>
              <a:gd name="connsiteY2" fmla="*/ 284249 h 3250326"/>
              <a:gd name="connsiteX3" fmla="*/ 6266352 w 6481363"/>
              <a:gd name="connsiteY3" fmla="*/ 2505432 h 3250326"/>
              <a:gd name="connsiteX4" fmla="*/ 3445768 w 6481363"/>
              <a:gd name="connsiteY4" fmla="*/ 3249891 h 3250326"/>
              <a:gd name="connsiteX5" fmla="*/ 177755 w 6481363"/>
              <a:gd name="connsiteY5" fmla="*/ 2306407 h 3250326"/>
              <a:gd name="connsiteX6" fmla="*/ 512943 w 6481363"/>
              <a:gd name="connsiteY6" fmla="*/ 435033 h 3250326"/>
              <a:gd name="connsiteX0" fmla="*/ 512943 w 6481361"/>
              <a:gd name="connsiteY0" fmla="*/ 434187 h 3249480"/>
              <a:gd name="connsiteX1" fmla="*/ 3438351 w 6481361"/>
              <a:gd name="connsiteY1" fmla="*/ 1698 h 3249480"/>
              <a:gd name="connsiteX2" fmla="*/ 6302625 w 6481361"/>
              <a:gd name="connsiteY2" fmla="*/ 283403 h 3249480"/>
              <a:gd name="connsiteX3" fmla="*/ 6266352 w 6481361"/>
              <a:gd name="connsiteY3" fmla="*/ 2504586 h 3249480"/>
              <a:gd name="connsiteX4" fmla="*/ 3445768 w 6481361"/>
              <a:gd name="connsiteY4" fmla="*/ 3249045 h 3249480"/>
              <a:gd name="connsiteX5" fmla="*/ 177755 w 6481361"/>
              <a:gd name="connsiteY5" fmla="*/ 2305561 h 3249480"/>
              <a:gd name="connsiteX6" fmla="*/ 512943 w 6481361"/>
              <a:gd name="connsiteY6" fmla="*/ 434187 h 3249480"/>
              <a:gd name="connsiteX0" fmla="*/ 512943 w 6481363"/>
              <a:gd name="connsiteY0" fmla="*/ 435032 h 3250325"/>
              <a:gd name="connsiteX1" fmla="*/ 3438351 w 6481363"/>
              <a:gd name="connsiteY1" fmla="*/ 2543 h 3250325"/>
              <a:gd name="connsiteX2" fmla="*/ 6302625 w 6481363"/>
              <a:gd name="connsiteY2" fmla="*/ 284248 h 3250325"/>
              <a:gd name="connsiteX3" fmla="*/ 6266352 w 6481363"/>
              <a:gd name="connsiteY3" fmla="*/ 2505431 h 3250325"/>
              <a:gd name="connsiteX4" fmla="*/ 3445768 w 6481363"/>
              <a:gd name="connsiteY4" fmla="*/ 3249890 h 3250325"/>
              <a:gd name="connsiteX5" fmla="*/ 177755 w 6481363"/>
              <a:gd name="connsiteY5" fmla="*/ 2306406 h 3250325"/>
              <a:gd name="connsiteX6" fmla="*/ 512943 w 6481363"/>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356750 w 6146432"/>
              <a:gd name="connsiteY0" fmla="*/ 435032 h 3250325"/>
              <a:gd name="connsiteX1" fmla="*/ 3282158 w 6146432"/>
              <a:gd name="connsiteY1" fmla="*/ 2543 h 3250325"/>
              <a:gd name="connsiteX2" fmla="*/ 6146432 w 6146432"/>
              <a:gd name="connsiteY2" fmla="*/ 284248 h 3250325"/>
              <a:gd name="connsiteX3" fmla="*/ 6110159 w 6146432"/>
              <a:gd name="connsiteY3" fmla="*/ 2505431 h 3250325"/>
              <a:gd name="connsiteX4" fmla="*/ 3289575 w 6146432"/>
              <a:gd name="connsiteY4" fmla="*/ 3249890 h 3250325"/>
              <a:gd name="connsiteX5" fmla="*/ 21562 w 6146432"/>
              <a:gd name="connsiteY5" fmla="*/ 2306406 h 3250325"/>
              <a:gd name="connsiteX6" fmla="*/ 356750 w 6146432"/>
              <a:gd name="connsiteY6" fmla="*/ 435032 h 3250325"/>
              <a:gd name="connsiteX0" fmla="*/ 335225 w 6124907"/>
              <a:gd name="connsiteY0" fmla="*/ 435032 h 3250325"/>
              <a:gd name="connsiteX1" fmla="*/ 3260633 w 6124907"/>
              <a:gd name="connsiteY1" fmla="*/ 2543 h 3250325"/>
              <a:gd name="connsiteX2" fmla="*/ 6124907 w 6124907"/>
              <a:gd name="connsiteY2" fmla="*/ 284248 h 3250325"/>
              <a:gd name="connsiteX3" fmla="*/ 6088634 w 6124907"/>
              <a:gd name="connsiteY3" fmla="*/ 2505431 h 3250325"/>
              <a:gd name="connsiteX4" fmla="*/ 3268050 w 6124907"/>
              <a:gd name="connsiteY4" fmla="*/ 3249890 h 3250325"/>
              <a:gd name="connsiteX5" fmla="*/ 37 w 6124907"/>
              <a:gd name="connsiteY5" fmla="*/ 2306406 h 3250325"/>
              <a:gd name="connsiteX6" fmla="*/ 335225 w 6124907"/>
              <a:gd name="connsiteY6" fmla="*/ 435032 h 3250325"/>
              <a:gd name="connsiteX0" fmla="*/ 335225 w 6124907"/>
              <a:gd name="connsiteY0" fmla="*/ 515501 h 3330794"/>
              <a:gd name="connsiteX1" fmla="*/ 3260633 w 6124907"/>
              <a:gd name="connsiteY1" fmla="*/ 83012 h 3330794"/>
              <a:gd name="connsiteX2" fmla="*/ 6124907 w 6124907"/>
              <a:gd name="connsiteY2" fmla="*/ 364717 h 3330794"/>
              <a:gd name="connsiteX3" fmla="*/ 6088634 w 6124907"/>
              <a:gd name="connsiteY3" fmla="*/ 2585900 h 3330794"/>
              <a:gd name="connsiteX4" fmla="*/ 3268050 w 6124907"/>
              <a:gd name="connsiteY4" fmla="*/ 3330359 h 3330794"/>
              <a:gd name="connsiteX5" fmla="*/ 37 w 6124907"/>
              <a:gd name="connsiteY5" fmla="*/ 2386875 h 3330794"/>
              <a:gd name="connsiteX6" fmla="*/ 335225 w 6124907"/>
              <a:gd name="connsiteY6" fmla="*/ 515501 h 3330794"/>
              <a:gd name="connsiteX0" fmla="*/ 335225 w 6124907"/>
              <a:gd name="connsiteY0" fmla="*/ 432489 h 3247782"/>
              <a:gd name="connsiteX1" fmla="*/ 3260633 w 6124907"/>
              <a:gd name="connsiteY1" fmla="*/ 0 h 3247782"/>
              <a:gd name="connsiteX2" fmla="*/ 6124907 w 6124907"/>
              <a:gd name="connsiteY2" fmla="*/ 281705 h 3247782"/>
              <a:gd name="connsiteX3" fmla="*/ 6088634 w 6124907"/>
              <a:gd name="connsiteY3" fmla="*/ 2502888 h 3247782"/>
              <a:gd name="connsiteX4" fmla="*/ 3268050 w 6124907"/>
              <a:gd name="connsiteY4" fmla="*/ 3247347 h 3247782"/>
              <a:gd name="connsiteX5" fmla="*/ 37 w 6124907"/>
              <a:gd name="connsiteY5" fmla="*/ 2303863 h 3247782"/>
              <a:gd name="connsiteX6" fmla="*/ 335225 w 6124907"/>
              <a:gd name="connsiteY6" fmla="*/ 432489 h 3247782"/>
              <a:gd name="connsiteX0" fmla="*/ 335225 w 6223855"/>
              <a:gd name="connsiteY0" fmla="*/ 434186 h 3249479"/>
              <a:gd name="connsiteX1" fmla="*/ 3260633 w 6223855"/>
              <a:gd name="connsiteY1" fmla="*/ 1697 h 3249479"/>
              <a:gd name="connsiteX2" fmla="*/ 6124907 w 6223855"/>
              <a:gd name="connsiteY2" fmla="*/ 283402 h 3249479"/>
              <a:gd name="connsiteX3" fmla="*/ 6088634 w 6223855"/>
              <a:gd name="connsiteY3" fmla="*/ 2504585 h 3249479"/>
              <a:gd name="connsiteX4" fmla="*/ 3268050 w 6223855"/>
              <a:gd name="connsiteY4" fmla="*/ 3249044 h 3249479"/>
              <a:gd name="connsiteX5" fmla="*/ 37 w 6223855"/>
              <a:gd name="connsiteY5" fmla="*/ 2305560 h 3249479"/>
              <a:gd name="connsiteX6" fmla="*/ 335225 w 6223855"/>
              <a:gd name="connsiteY6" fmla="*/ 434186 h 3249479"/>
              <a:gd name="connsiteX0" fmla="*/ 335225 w 6124907"/>
              <a:gd name="connsiteY0" fmla="*/ 435032 h 3250325"/>
              <a:gd name="connsiteX1" fmla="*/ 3260633 w 6124907"/>
              <a:gd name="connsiteY1" fmla="*/ 2543 h 3250325"/>
              <a:gd name="connsiteX2" fmla="*/ 6124907 w 6124907"/>
              <a:gd name="connsiteY2" fmla="*/ 284248 h 3250325"/>
              <a:gd name="connsiteX3" fmla="*/ 6088634 w 6124907"/>
              <a:gd name="connsiteY3" fmla="*/ 2505431 h 3250325"/>
              <a:gd name="connsiteX4" fmla="*/ 3268050 w 6124907"/>
              <a:gd name="connsiteY4" fmla="*/ 3249890 h 3250325"/>
              <a:gd name="connsiteX5" fmla="*/ 37 w 6124907"/>
              <a:gd name="connsiteY5" fmla="*/ 2306406 h 3250325"/>
              <a:gd name="connsiteX6" fmla="*/ 335225 w 6124907"/>
              <a:gd name="connsiteY6" fmla="*/ 435032 h 3250325"/>
              <a:gd name="connsiteX0" fmla="*/ 335225 w 6124907"/>
              <a:gd name="connsiteY0" fmla="*/ 515501 h 3330794"/>
              <a:gd name="connsiteX1" fmla="*/ 3260633 w 6124907"/>
              <a:gd name="connsiteY1" fmla="*/ 83012 h 3330794"/>
              <a:gd name="connsiteX2" fmla="*/ 6124907 w 6124907"/>
              <a:gd name="connsiteY2" fmla="*/ 364717 h 3330794"/>
              <a:gd name="connsiteX3" fmla="*/ 6088634 w 6124907"/>
              <a:gd name="connsiteY3" fmla="*/ 2585900 h 3330794"/>
              <a:gd name="connsiteX4" fmla="*/ 3268050 w 6124907"/>
              <a:gd name="connsiteY4" fmla="*/ 3330359 h 3330794"/>
              <a:gd name="connsiteX5" fmla="*/ 37 w 6124907"/>
              <a:gd name="connsiteY5" fmla="*/ 2386875 h 3330794"/>
              <a:gd name="connsiteX6" fmla="*/ 335225 w 6124907"/>
              <a:gd name="connsiteY6" fmla="*/ 515501 h 3330794"/>
              <a:gd name="connsiteX0" fmla="*/ 335225 w 6124907"/>
              <a:gd name="connsiteY0" fmla="*/ 432489 h 3247782"/>
              <a:gd name="connsiteX1" fmla="*/ 3260633 w 6124907"/>
              <a:gd name="connsiteY1" fmla="*/ 0 h 3247782"/>
              <a:gd name="connsiteX2" fmla="*/ 6124907 w 6124907"/>
              <a:gd name="connsiteY2" fmla="*/ 281705 h 3247782"/>
              <a:gd name="connsiteX3" fmla="*/ 6088634 w 6124907"/>
              <a:gd name="connsiteY3" fmla="*/ 2502888 h 3247782"/>
              <a:gd name="connsiteX4" fmla="*/ 3268050 w 6124907"/>
              <a:gd name="connsiteY4" fmla="*/ 3247347 h 3247782"/>
              <a:gd name="connsiteX5" fmla="*/ 37 w 6124907"/>
              <a:gd name="connsiteY5" fmla="*/ 2303863 h 3247782"/>
              <a:gd name="connsiteX6" fmla="*/ 335225 w 6124907"/>
              <a:gd name="connsiteY6" fmla="*/ 432489 h 3247782"/>
              <a:gd name="connsiteX0" fmla="*/ 335225 w 6223855"/>
              <a:gd name="connsiteY0" fmla="*/ 434186 h 3249479"/>
              <a:gd name="connsiteX1" fmla="*/ 3260633 w 6223855"/>
              <a:gd name="connsiteY1" fmla="*/ 1697 h 3249479"/>
              <a:gd name="connsiteX2" fmla="*/ 6124907 w 6223855"/>
              <a:gd name="connsiteY2" fmla="*/ 283402 h 3249479"/>
              <a:gd name="connsiteX3" fmla="*/ 6088634 w 6223855"/>
              <a:gd name="connsiteY3" fmla="*/ 2504585 h 3249479"/>
              <a:gd name="connsiteX4" fmla="*/ 3268050 w 6223855"/>
              <a:gd name="connsiteY4" fmla="*/ 3249044 h 3249479"/>
              <a:gd name="connsiteX5" fmla="*/ 37 w 6223855"/>
              <a:gd name="connsiteY5" fmla="*/ 2305560 h 3249479"/>
              <a:gd name="connsiteX6" fmla="*/ 335225 w 6223855"/>
              <a:gd name="connsiteY6" fmla="*/ 434186 h 3249479"/>
              <a:gd name="connsiteX0" fmla="*/ 335225 w 6124907"/>
              <a:gd name="connsiteY0" fmla="*/ 435032 h 3250325"/>
              <a:gd name="connsiteX1" fmla="*/ 3260633 w 6124907"/>
              <a:gd name="connsiteY1" fmla="*/ 2543 h 3250325"/>
              <a:gd name="connsiteX2" fmla="*/ 6124907 w 6124907"/>
              <a:gd name="connsiteY2" fmla="*/ 284248 h 3250325"/>
              <a:gd name="connsiteX3" fmla="*/ 6088634 w 6124907"/>
              <a:gd name="connsiteY3" fmla="*/ 2505431 h 3250325"/>
              <a:gd name="connsiteX4" fmla="*/ 3268050 w 6124907"/>
              <a:gd name="connsiteY4" fmla="*/ 3249890 h 3250325"/>
              <a:gd name="connsiteX5" fmla="*/ 37 w 6124907"/>
              <a:gd name="connsiteY5" fmla="*/ 2306406 h 3250325"/>
              <a:gd name="connsiteX6" fmla="*/ 335225 w 6124907"/>
              <a:gd name="connsiteY6" fmla="*/ 435032 h 3250325"/>
              <a:gd name="connsiteX0" fmla="*/ 335225 w 6124907"/>
              <a:gd name="connsiteY0" fmla="*/ 434001 h 3249294"/>
              <a:gd name="connsiteX1" fmla="*/ 3260633 w 6124907"/>
              <a:gd name="connsiteY1" fmla="*/ 1512 h 3249294"/>
              <a:gd name="connsiteX2" fmla="*/ 6124907 w 6124907"/>
              <a:gd name="connsiteY2" fmla="*/ 283217 h 3249294"/>
              <a:gd name="connsiteX3" fmla="*/ 6088634 w 6124907"/>
              <a:gd name="connsiteY3" fmla="*/ 2504400 h 3249294"/>
              <a:gd name="connsiteX4" fmla="*/ 3268050 w 6124907"/>
              <a:gd name="connsiteY4" fmla="*/ 3248859 h 3249294"/>
              <a:gd name="connsiteX5" fmla="*/ 37 w 6124907"/>
              <a:gd name="connsiteY5" fmla="*/ 2305375 h 3249294"/>
              <a:gd name="connsiteX6" fmla="*/ 335225 w 6124907"/>
              <a:gd name="connsiteY6" fmla="*/ 434001 h 3249294"/>
              <a:gd name="connsiteX0" fmla="*/ 335225 w 6124907"/>
              <a:gd name="connsiteY0" fmla="*/ 432489 h 3247782"/>
              <a:gd name="connsiteX1" fmla="*/ 3260633 w 6124907"/>
              <a:gd name="connsiteY1" fmla="*/ 0 h 3247782"/>
              <a:gd name="connsiteX2" fmla="*/ 6124907 w 6124907"/>
              <a:gd name="connsiteY2" fmla="*/ 281705 h 3247782"/>
              <a:gd name="connsiteX3" fmla="*/ 6088634 w 6124907"/>
              <a:gd name="connsiteY3" fmla="*/ 2502888 h 3247782"/>
              <a:gd name="connsiteX4" fmla="*/ 3268050 w 6124907"/>
              <a:gd name="connsiteY4" fmla="*/ 3247347 h 3247782"/>
              <a:gd name="connsiteX5" fmla="*/ 37 w 6124907"/>
              <a:gd name="connsiteY5" fmla="*/ 2303863 h 3247782"/>
              <a:gd name="connsiteX6" fmla="*/ 335225 w 6124907"/>
              <a:gd name="connsiteY6" fmla="*/ 432489 h 3247782"/>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512181 h 3327474"/>
              <a:gd name="connsiteX1" fmla="*/ 3260633 w 6088641"/>
              <a:gd name="connsiteY1" fmla="*/ 79692 h 3327474"/>
              <a:gd name="connsiteX2" fmla="*/ 5816589 w 6088641"/>
              <a:gd name="connsiteY2" fmla="*/ 361397 h 3327474"/>
              <a:gd name="connsiteX3" fmla="*/ 6088634 w 6088641"/>
              <a:gd name="connsiteY3" fmla="*/ 2582580 h 3327474"/>
              <a:gd name="connsiteX4" fmla="*/ 3268050 w 6088641"/>
              <a:gd name="connsiteY4" fmla="*/ 3327039 h 3327474"/>
              <a:gd name="connsiteX5" fmla="*/ 37 w 6088641"/>
              <a:gd name="connsiteY5" fmla="*/ 2383555 h 3327474"/>
              <a:gd name="connsiteX6" fmla="*/ 335225 w 6088641"/>
              <a:gd name="connsiteY6" fmla="*/ 512181 h 3327474"/>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434186 h 3249479"/>
              <a:gd name="connsiteX1" fmla="*/ 3260633 w 6088641"/>
              <a:gd name="connsiteY1" fmla="*/ 1697 h 3249479"/>
              <a:gd name="connsiteX2" fmla="*/ 5816589 w 6088641"/>
              <a:gd name="connsiteY2" fmla="*/ 283402 h 3249479"/>
              <a:gd name="connsiteX3" fmla="*/ 6088634 w 6088641"/>
              <a:gd name="connsiteY3" fmla="*/ 2504585 h 3249479"/>
              <a:gd name="connsiteX4" fmla="*/ 3268050 w 6088641"/>
              <a:gd name="connsiteY4" fmla="*/ 3249044 h 3249479"/>
              <a:gd name="connsiteX5" fmla="*/ 37 w 6088641"/>
              <a:gd name="connsiteY5" fmla="*/ 2305560 h 3249479"/>
              <a:gd name="connsiteX6" fmla="*/ 335225 w 6088641"/>
              <a:gd name="connsiteY6" fmla="*/ 434186 h 3249479"/>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434692 h 3249985"/>
              <a:gd name="connsiteX1" fmla="*/ 3260633 w 6088641"/>
              <a:gd name="connsiteY1" fmla="*/ 2203 h 3249985"/>
              <a:gd name="connsiteX2" fmla="*/ 5816589 w 6088641"/>
              <a:gd name="connsiteY2" fmla="*/ 283908 h 3249985"/>
              <a:gd name="connsiteX3" fmla="*/ 6088634 w 6088641"/>
              <a:gd name="connsiteY3" fmla="*/ 2505091 h 3249985"/>
              <a:gd name="connsiteX4" fmla="*/ 3268050 w 6088641"/>
              <a:gd name="connsiteY4" fmla="*/ 3249550 h 3249985"/>
              <a:gd name="connsiteX5" fmla="*/ 37 w 6088641"/>
              <a:gd name="connsiteY5" fmla="*/ 2306066 h 3249985"/>
              <a:gd name="connsiteX6" fmla="*/ 335225 w 6088641"/>
              <a:gd name="connsiteY6" fmla="*/ 434692 h 3249985"/>
              <a:gd name="connsiteX0" fmla="*/ 335225 w 6088641"/>
              <a:gd name="connsiteY0" fmla="*/ 434455 h 3249748"/>
              <a:gd name="connsiteX1" fmla="*/ 3260633 w 6088641"/>
              <a:gd name="connsiteY1" fmla="*/ 1966 h 3249748"/>
              <a:gd name="connsiteX2" fmla="*/ 5816589 w 6088641"/>
              <a:gd name="connsiteY2" fmla="*/ 283671 h 3249748"/>
              <a:gd name="connsiteX3" fmla="*/ 6088634 w 6088641"/>
              <a:gd name="connsiteY3" fmla="*/ 2504854 h 3249748"/>
              <a:gd name="connsiteX4" fmla="*/ 3268050 w 6088641"/>
              <a:gd name="connsiteY4" fmla="*/ 3249313 h 3249748"/>
              <a:gd name="connsiteX5" fmla="*/ 37 w 6088641"/>
              <a:gd name="connsiteY5" fmla="*/ 2305829 h 3249748"/>
              <a:gd name="connsiteX6" fmla="*/ 335225 w 6088641"/>
              <a:gd name="connsiteY6" fmla="*/ 434455 h 3249748"/>
              <a:gd name="connsiteX0" fmla="*/ 335225 w 6088641"/>
              <a:gd name="connsiteY0" fmla="*/ 478129 h 3293422"/>
              <a:gd name="connsiteX1" fmla="*/ 3260633 w 6088641"/>
              <a:gd name="connsiteY1" fmla="*/ 45640 h 3293422"/>
              <a:gd name="connsiteX2" fmla="*/ 4969580 w 6088641"/>
              <a:gd name="connsiteY2" fmla="*/ 22169 h 3293422"/>
              <a:gd name="connsiteX3" fmla="*/ 5816589 w 6088641"/>
              <a:gd name="connsiteY3" fmla="*/ 327345 h 3293422"/>
              <a:gd name="connsiteX4" fmla="*/ 6088634 w 6088641"/>
              <a:gd name="connsiteY4" fmla="*/ 2548528 h 3293422"/>
              <a:gd name="connsiteX5" fmla="*/ 3268050 w 6088641"/>
              <a:gd name="connsiteY5" fmla="*/ 3292987 h 3293422"/>
              <a:gd name="connsiteX6" fmla="*/ 37 w 6088641"/>
              <a:gd name="connsiteY6" fmla="*/ 2349503 h 3293422"/>
              <a:gd name="connsiteX7" fmla="*/ 335225 w 6088641"/>
              <a:gd name="connsiteY7" fmla="*/ 478129 h 3293422"/>
              <a:gd name="connsiteX0" fmla="*/ 335225 w 6088641"/>
              <a:gd name="connsiteY0" fmla="*/ 464432 h 3279725"/>
              <a:gd name="connsiteX1" fmla="*/ 3260633 w 6088641"/>
              <a:gd name="connsiteY1" fmla="*/ 31943 h 3279725"/>
              <a:gd name="connsiteX2" fmla="*/ 5816589 w 6088641"/>
              <a:gd name="connsiteY2" fmla="*/ 313648 h 3279725"/>
              <a:gd name="connsiteX3" fmla="*/ 6088634 w 6088641"/>
              <a:gd name="connsiteY3" fmla="*/ 2534831 h 3279725"/>
              <a:gd name="connsiteX4" fmla="*/ 3268050 w 6088641"/>
              <a:gd name="connsiteY4" fmla="*/ 3279290 h 3279725"/>
              <a:gd name="connsiteX5" fmla="*/ 37 w 6088641"/>
              <a:gd name="connsiteY5" fmla="*/ 2335806 h 3279725"/>
              <a:gd name="connsiteX6" fmla="*/ 335225 w 6088641"/>
              <a:gd name="connsiteY6" fmla="*/ 464432 h 3279725"/>
              <a:gd name="connsiteX0" fmla="*/ 335225 w 6088641"/>
              <a:gd name="connsiteY0" fmla="*/ 434187 h 3249480"/>
              <a:gd name="connsiteX1" fmla="*/ 3260633 w 6088641"/>
              <a:gd name="connsiteY1" fmla="*/ 1698 h 3249480"/>
              <a:gd name="connsiteX2" fmla="*/ 5816589 w 6088641"/>
              <a:gd name="connsiteY2" fmla="*/ 283403 h 3249480"/>
              <a:gd name="connsiteX3" fmla="*/ 6088634 w 6088641"/>
              <a:gd name="connsiteY3" fmla="*/ 2504586 h 3249480"/>
              <a:gd name="connsiteX4" fmla="*/ 3268050 w 6088641"/>
              <a:gd name="connsiteY4" fmla="*/ 3249045 h 3249480"/>
              <a:gd name="connsiteX5" fmla="*/ 37 w 6088641"/>
              <a:gd name="connsiteY5" fmla="*/ 2305561 h 3249480"/>
              <a:gd name="connsiteX6" fmla="*/ 335225 w 6088641"/>
              <a:gd name="connsiteY6" fmla="*/ 434187 h 3249480"/>
              <a:gd name="connsiteX0" fmla="*/ 335225 w 6088641"/>
              <a:gd name="connsiteY0" fmla="*/ 434187 h 3249480"/>
              <a:gd name="connsiteX1" fmla="*/ 3260633 w 6088641"/>
              <a:gd name="connsiteY1" fmla="*/ 1698 h 3249480"/>
              <a:gd name="connsiteX2" fmla="*/ 5816589 w 6088641"/>
              <a:gd name="connsiteY2" fmla="*/ 283403 h 3249480"/>
              <a:gd name="connsiteX3" fmla="*/ 6088634 w 6088641"/>
              <a:gd name="connsiteY3" fmla="*/ 2504586 h 3249480"/>
              <a:gd name="connsiteX4" fmla="*/ 3268050 w 6088641"/>
              <a:gd name="connsiteY4" fmla="*/ 3249045 h 3249480"/>
              <a:gd name="connsiteX5" fmla="*/ 37 w 6088641"/>
              <a:gd name="connsiteY5" fmla="*/ 2305561 h 3249480"/>
              <a:gd name="connsiteX6" fmla="*/ 335225 w 6088641"/>
              <a:gd name="connsiteY6" fmla="*/ 434187 h 3249480"/>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512181 h 3327474"/>
              <a:gd name="connsiteX1" fmla="*/ 3260633 w 6088641"/>
              <a:gd name="connsiteY1" fmla="*/ 79692 h 3327474"/>
              <a:gd name="connsiteX2" fmla="*/ 5816589 w 6088641"/>
              <a:gd name="connsiteY2" fmla="*/ 361397 h 3327474"/>
              <a:gd name="connsiteX3" fmla="*/ 6088634 w 6088641"/>
              <a:gd name="connsiteY3" fmla="*/ 2582580 h 3327474"/>
              <a:gd name="connsiteX4" fmla="*/ 3268050 w 6088641"/>
              <a:gd name="connsiteY4" fmla="*/ 3327039 h 3327474"/>
              <a:gd name="connsiteX5" fmla="*/ 37 w 6088641"/>
              <a:gd name="connsiteY5" fmla="*/ 2383555 h 3327474"/>
              <a:gd name="connsiteX6" fmla="*/ 335225 w 6088641"/>
              <a:gd name="connsiteY6" fmla="*/ 512181 h 3327474"/>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434186 h 3249479"/>
              <a:gd name="connsiteX1" fmla="*/ 3260633 w 6088641"/>
              <a:gd name="connsiteY1" fmla="*/ 1697 h 3249479"/>
              <a:gd name="connsiteX2" fmla="*/ 5816589 w 6088641"/>
              <a:gd name="connsiteY2" fmla="*/ 283402 h 3249479"/>
              <a:gd name="connsiteX3" fmla="*/ 6088634 w 6088641"/>
              <a:gd name="connsiteY3" fmla="*/ 2504585 h 3249479"/>
              <a:gd name="connsiteX4" fmla="*/ 3268050 w 6088641"/>
              <a:gd name="connsiteY4" fmla="*/ 3249044 h 3249479"/>
              <a:gd name="connsiteX5" fmla="*/ 37 w 6088641"/>
              <a:gd name="connsiteY5" fmla="*/ 2305560 h 3249479"/>
              <a:gd name="connsiteX6" fmla="*/ 335225 w 6088641"/>
              <a:gd name="connsiteY6" fmla="*/ 434186 h 3249479"/>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433957 h 3249250"/>
              <a:gd name="connsiteX1" fmla="*/ 3260633 w 6088641"/>
              <a:gd name="connsiteY1" fmla="*/ 1468 h 3249250"/>
              <a:gd name="connsiteX2" fmla="*/ 5816589 w 6088641"/>
              <a:gd name="connsiteY2" fmla="*/ 283173 h 3249250"/>
              <a:gd name="connsiteX3" fmla="*/ 6088634 w 6088641"/>
              <a:gd name="connsiteY3" fmla="*/ 2504356 h 3249250"/>
              <a:gd name="connsiteX4" fmla="*/ 3268050 w 6088641"/>
              <a:gd name="connsiteY4" fmla="*/ 3248815 h 3249250"/>
              <a:gd name="connsiteX5" fmla="*/ 37 w 6088641"/>
              <a:gd name="connsiteY5" fmla="*/ 2305331 h 3249250"/>
              <a:gd name="connsiteX6" fmla="*/ 335225 w 6088641"/>
              <a:gd name="connsiteY6" fmla="*/ 433957 h 3249250"/>
              <a:gd name="connsiteX0" fmla="*/ 335225 w 6088641"/>
              <a:gd name="connsiteY0" fmla="*/ 433944 h 3249237"/>
              <a:gd name="connsiteX1" fmla="*/ 3260633 w 6088641"/>
              <a:gd name="connsiteY1" fmla="*/ 1455 h 3249237"/>
              <a:gd name="connsiteX2" fmla="*/ 5816589 w 6088641"/>
              <a:gd name="connsiteY2" fmla="*/ 283160 h 3249237"/>
              <a:gd name="connsiteX3" fmla="*/ 6088634 w 6088641"/>
              <a:gd name="connsiteY3" fmla="*/ 2504343 h 3249237"/>
              <a:gd name="connsiteX4" fmla="*/ 3268050 w 6088641"/>
              <a:gd name="connsiteY4" fmla="*/ 3248802 h 3249237"/>
              <a:gd name="connsiteX5" fmla="*/ 37 w 6088641"/>
              <a:gd name="connsiteY5" fmla="*/ 2305318 h 3249237"/>
              <a:gd name="connsiteX6" fmla="*/ 335225 w 6088641"/>
              <a:gd name="connsiteY6" fmla="*/ 433944 h 3249237"/>
              <a:gd name="connsiteX0" fmla="*/ 335225 w 6088641"/>
              <a:gd name="connsiteY0" fmla="*/ 433390 h 3248683"/>
              <a:gd name="connsiteX1" fmla="*/ 3260633 w 6088641"/>
              <a:gd name="connsiteY1" fmla="*/ 901 h 3248683"/>
              <a:gd name="connsiteX2" fmla="*/ 5816589 w 6088641"/>
              <a:gd name="connsiteY2" fmla="*/ 282606 h 3248683"/>
              <a:gd name="connsiteX3" fmla="*/ 6088634 w 6088641"/>
              <a:gd name="connsiteY3" fmla="*/ 2503789 h 3248683"/>
              <a:gd name="connsiteX4" fmla="*/ 3268050 w 6088641"/>
              <a:gd name="connsiteY4" fmla="*/ 3248248 h 3248683"/>
              <a:gd name="connsiteX5" fmla="*/ 37 w 6088641"/>
              <a:gd name="connsiteY5" fmla="*/ 2304764 h 3248683"/>
              <a:gd name="connsiteX6" fmla="*/ 335225 w 6088641"/>
              <a:gd name="connsiteY6" fmla="*/ 433390 h 3248683"/>
              <a:gd name="connsiteX0" fmla="*/ 335225 w 6088641"/>
              <a:gd name="connsiteY0" fmla="*/ 512181 h 3327474"/>
              <a:gd name="connsiteX1" fmla="*/ 3260633 w 6088641"/>
              <a:gd name="connsiteY1" fmla="*/ 79692 h 3327474"/>
              <a:gd name="connsiteX2" fmla="*/ 5816589 w 6088641"/>
              <a:gd name="connsiteY2" fmla="*/ 361397 h 3327474"/>
              <a:gd name="connsiteX3" fmla="*/ 6088634 w 6088641"/>
              <a:gd name="connsiteY3" fmla="*/ 2582580 h 3327474"/>
              <a:gd name="connsiteX4" fmla="*/ 3268050 w 6088641"/>
              <a:gd name="connsiteY4" fmla="*/ 3327039 h 3327474"/>
              <a:gd name="connsiteX5" fmla="*/ 37 w 6088641"/>
              <a:gd name="connsiteY5" fmla="*/ 2383555 h 3327474"/>
              <a:gd name="connsiteX6" fmla="*/ 335225 w 6088641"/>
              <a:gd name="connsiteY6" fmla="*/ 512181 h 3327474"/>
              <a:gd name="connsiteX0" fmla="*/ 335225 w 6088641"/>
              <a:gd name="connsiteY0" fmla="*/ 516824 h 3332117"/>
              <a:gd name="connsiteX1" fmla="*/ 3260633 w 6088641"/>
              <a:gd name="connsiteY1" fmla="*/ 84335 h 3332117"/>
              <a:gd name="connsiteX2" fmla="*/ 5816589 w 6088641"/>
              <a:gd name="connsiteY2" fmla="*/ 366040 h 3332117"/>
              <a:gd name="connsiteX3" fmla="*/ 6088634 w 6088641"/>
              <a:gd name="connsiteY3" fmla="*/ 2587223 h 3332117"/>
              <a:gd name="connsiteX4" fmla="*/ 3268050 w 6088641"/>
              <a:gd name="connsiteY4" fmla="*/ 3331682 h 3332117"/>
              <a:gd name="connsiteX5" fmla="*/ 37 w 6088641"/>
              <a:gd name="connsiteY5" fmla="*/ 2388198 h 3332117"/>
              <a:gd name="connsiteX6" fmla="*/ 335225 w 6088641"/>
              <a:gd name="connsiteY6" fmla="*/ 516824 h 3332117"/>
              <a:gd name="connsiteX0" fmla="*/ 335225 w 6088641"/>
              <a:gd name="connsiteY0" fmla="*/ 512182 h 3327475"/>
              <a:gd name="connsiteX1" fmla="*/ 3260633 w 6088641"/>
              <a:gd name="connsiteY1" fmla="*/ 79693 h 3327475"/>
              <a:gd name="connsiteX2" fmla="*/ 5816589 w 6088641"/>
              <a:gd name="connsiteY2" fmla="*/ 361398 h 3327475"/>
              <a:gd name="connsiteX3" fmla="*/ 6088634 w 6088641"/>
              <a:gd name="connsiteY3" fmla="*/ 2582581 h 3327475"/>
              <a:gd name="connsiteX4" fmla="*/ 3268050 w 6088641"/>
              <a:gd name="connsiteY4" fmla="*/ 3327040 h 3327475"/>
              <a:gd name="connsiteX5" fmla="*/ 37 w 6088641"/>
              <a:gd name="connsiteY5" fmla="*/ 2383556 h 3327475"/>
              <a:gd name="connsiteX6" fmla="*/ 335225 w 6088641"/>
              <a:gd name="connsiteY6" fmla="*/ 512182 h 3327475"/>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433961 h 3249254"/>
              <a:gd name="connsiteX1" fmla="*/ 3260633 w 6088641"/>
              <a:gd name="connsiteY1" fmla="*/ 1472 h 3249254"/>
              <a:gd name="connsiteX2" fmla="*/ 5816589 w 6088641"/>
              <a:gd name="connsiteY2" fmla="*/ 283177 h 3249254"/>
              <a:gd name="connsiteX3" fmla="*/ 6088634 w 6088641"/>
              <a:gd name="connsiteY3" fmla="*/ 2504360 h 3249254"/>
              <a:gd name="connsiteX4" fmla="*/ 3268050 w 6088641"/>
              <a:gd name="connsiteY4" fmla="*/ 3248819 h 3249254"/>
              <a:gd name="connsiteX5" fmla="*/ 37 w 6088641"/>
              <a:gd name="connsiteY5" fmla="*/ 2305335 h 3249254"/>
              <a:gd name="connsiteX6" fmla="*/ 335225 w 6088641"/>
              <a:gd name="connsiteY6" fmla="*/ 433961 h 3249254"/>
              <a:gd name="connsiteX0" fmla="*/ 335225 w 6088641"/>
              <a:gd name="connsiteY0" fmla="*/ 434186 h 3249479"/>
              <a:gd name="connsiteX1" fmla="*/ 3260633 w 6088641"/>
              <a:gd name="connsiteY1" fmla="*/ 1697 h 3249479"/>
              <a:gd name="connsiteX2" fmla="*/ 5816589 w 6088641"/>
              <a:gd name="connsiteY2" fmla="*/ 283402 h 3249479"/>
              <a:gd name="connsiteX3" fmla="*/ 6088634 w 6088641"/>
              <a:gd name="connsiteY3" fmla="*/ 2504585 h 3249479"/>
              <a:gd name="connsiteX4" fmla="*/ 3268050 w 6088641"/>
              <a:gd name="connsiteY4" fmla="*/ 3249044 h 3249479"/>
              <a:gd name="connsiteX5" fmla="*/ 37 w 6088641"/>
              <a:gd name="connsiteY5" fmla="*/ 2305560 h 3249479"/>
              <a:gd name="connsiteX6" fmla="*/ 335225 w 6088641"/>
              <a:gd name="connsiteY6" fmla="*/ 434186 h 3249479"/>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509718 h 3325011"/>
              <a:gd name="connsiteX1" fmla="*/ 3260633 w 6088641"/>
              <a:gd name="connsiteY1" fmla="*/ 77229 h 3325011"/>
              <a:gd name="connsiteX2" fmla="*/ 5816589 w 6088641"/>
              <a:gd name="connsiteY2" fmla="*/ 358934 h 3325011"/>
              <a:gd name="connsiteX3" fmla="*/ 6088634 w 6088641"/>
              <a:gd name="connsiteY3" fmla="*/ 2580117 h 3325011"/>
              <a:gd name="connsiteX4" fmla="*/ 3268050 w 6088641"/>
              <a:gd name="connsiteY4" fmla="*/ 3324576 h 3325011"/>
              <a:gd name="connsiteX5" fmla="*/ 37 w 6088641"/>
              <a:gd name="connsiteY5" fmla="*/ 2381092 h 3325011"/>
              <a:gd name="connsiteX6" fmla="*/ 335225 w 6088641"/>
              <a:gd name="connsiteY6" fmla="*/ 509718 h 3325011"/>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088641"/>
              <a:gd name="connsiteY0" fmla="*/ 440004 h 3255297"/>
              <a:gd name="connsiteX1" fmla="*/ 3260633 w 6088641"/>
              <a:gd name="connsiteY1" fmla="*/ 7515 h 3255297"/>
              <a:gd name="connsiteX2" fmla="*/ 6088634 w 6088641"/>
              <a:gd name="connsiteY2" fmla="*/ 2510403 h 3255297"/>
              <a:gd name="connsiteX3" fmla="*/ 3268050 w 6088641"/>
              <a:gd name="connsiteY3" fmla="*/ 3254862 h 3255297"/>
              <a:gd name="connsiteX4" fmla="*/ 37 w 6088641"/>
              <a:gd name="connsiteY4" fmla="*/ 2311378 h 3255297"/>
              <a:gd name="connsiteX5" fmla="*/ 335225 w 6088641"/>
              <a:gd name="connsiteY5" fmla="*/ 440004 h 3255297"/>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123026"/>
              <a:gd name="connsiteY0" fmla="*/ 432489 h 3247782"/>
              <a:gd name="connsiteX1" fmla="*/ 3260633 w 6123026"/>
              <a:gd name="connsiteY1" fmla="*/ 0 h 3247782"/>
              <a:gd name="connsiteX2" fmla="*/ 4736515 w 6123026"/>
              <a:gd name="connsiteY2" fmla="*/ 1160782 h 3247782"/>
              <a:gd name="connsiteX3" fmla="*/ 6088634 w 6123026"/>
              <a:gd name="connsiteY3" fmla="*/ 2502888 h 3247782"/>
              <a:gd name="connsiteX4" fmla="*/ 3268050 w 6123026"/>
              <a:gd name="connsiteY4" fmla="*/ 3247347 h 3247782"/>
              <a:gd name="connsiteX5" fmla="*/ 37 w 6123026"/>
              <a:gd name="connsiteY5" fmla="*/ 2303863 h 3247782"/>
              <a:gd name="connsiteX6" fmla="*/ 335225 w 6123026"/>
              <a:gd name="connsiteY6" fmla="*/ 432489 h 3247782"/>
              <a:gd name="connsiteX0" fmla="*/ 335225 w 6213970"/>
              <a:gd name="connsiteY0" fmla="*/ 432489 h 3247782"/>
              <a:gd name="connsiteX1" fmla="*/ 3260633 w 6213970"/>
              <a:gd name="connsiteY1" fmla="*/ 0 h 3247782"/>
              <a:gd name="connsiteX2" fmla="*/ 5748245 w 6213970"/>
              <a:gd name="connsiteY2" fmla="*/ 440703 h 3247782"/>
              <a:gd name="connsiteX3" fmla="*/ 6088634 w 6213970"/>
              <a:gd name="connsiteY3" fmla="*/ 2502888 h 3247782"/>
              <a:gd name="connsiteX4" fmla="*/ 3268050 w 6213970"/>
              <a:gd name="connsiteY4" fmla="*/ 3247347 h 3247782"/>
              <a:gd name="connsiteX5" fmla="*/ 37 w 6213970"/>
              <a:gd name="connsiteY5" fmla="*/ 2303863 h 3247782"/>
              <a:gd name="connsiteX6" fmla="*/ 335225 w 6213970"/>
              <a:gd name="connsiteY6" fmla="*/ 432489 h 3247782"/>
              <a:gd name="connsiteX0" fmla="*/ 335225 w 6213972"/>
              <a:gd name="connsiteY0" fmla="*/ 432489 h 3247782"/>
              <a:gd name="connsiteX1" fmla="*/ 3260633 w 6213972"/>
              <a:gd name="connsiteY1" fmla="*/ 0 h 3247782"/>
              <a:gd name="connsiteX2" fmla="*/ 5748245 w 6213972"/>
              <a:gd name="connsiteY2" fmla="*/ 440703 h 3247782"/>
              <a:gd name="connsiteX3" fmla="*/ 6088634 w 6213972"/>
              <a:gd name="connsiteY3" fmla="*/ 2502888 h 3247782"/>
              <a:gd name="connsiteX4" fmla="*/ 3268050 w 6213972"/>
              <a:gd name="connsiteY4" fmla="*/ 3247347 h 3247782"/>
              <a:gd name="connsiteX5" fmla="*/ 37 w 6213972"/>
              <a:gd name="connsiteY5" fmla="*/ 2303863 h 3247782"/>
              <a:gd name="connsiteX6" fmla="*/ 335225 w 6213972"/>
              <a:gd name="connsiteY6" fmla="*/ 432489 h 3247782"/>
              <a:gd name="connsiteX0" fmla="*/ 335225 w 6213970"/>
              <a:gd name="connsiteY0" fmla="*/ 432489 h 3247782"/>
              <a:gd name="connsiteX1" fmla="*/ 3260633 w 6213970"/>
              <a:gd name="connsiteY1" fmla="*/ 0 h 3247782"/>
              <a:gd name="connsiteX2" fmla="*/ 5748245 w 6213970"/>
              <a:gd name="connsiteY2" fmla="*/ 440703 h 3247782"/>
              <a:gd name="connsiteX3" fmla="*/ 6088634 w 6213970"/>
              <a:gd name="connsiteY3" fmla="*/ 2502888 h 3247782"/>
              <a:gd name="connsiteX4" fmla="*/ 3268050 w 6213970"/>
              <a:gd name="connsiteY4" fmla="*/ 3247347 h 3247782"/>
              <a:gd name="connsiteX5" fmla="*/ 37 w 6213970"/>
              <a:gd name="connsiteY5" fmla="*/ 2303863 h 3247782"/>
              <a:gd name="connsiteX6" fmla="*/ 335225 w 6213970"/>
              <a:gd name="connsiteY6" fmla="*/ 432489 h 3247782"/>
              <a:gd name="connsiteX0" fmla="*/ 335225 w 6147867"/>
              <a:gd name="connsiteY0" fmla="*/ 432489 h 3247782"/>
              <a:gd name="connsiteX1" fmla="*/ 3260633 w 6147867"/>
              <a:gd name="connsiteY1" fmla="*/ 0 h 3247782"/>
              <a:gd name="connsiteX2" fmla="*/ 5748245 w 6147867"/>
              <a:gd name="connsiteY2" fmla="*/ 440703 h 3247782"/>
              <a:gd name="connsiteX3" fmla="*/ 6088634 w 6147867"/>
              <a:gd name="connsiteY3" fmla="*/ 2502888 h 3247782"/>
              <a:gd name="connsiteX4" fmla="*/ 3268050 w 6147867"/>
              <a:gd name="connsiteY4" fmla="*/ 3247347 h 3247782"/>
              <a:gd name="connsiteX5" fmla="*/ 37 w 6147867"/>
              <a:gd name="connsiteY5" fmla="*/ 2303863 h 3247782"/>
              <a:gd name="connsiteX6" fmla="*/ 335225 w 6147867"/>
              <a:gd name="connsiteY6" fmla="*/ 432489 h 3247782"/>
              <a:gd name="connsiteX0" fmla="*/ 335225 w 6088640"/>
              <a:gd name="connsiteY0" fmla="*/ 432489 h 3247782"/>
              <a:gd name="connsiteX1" fmla="*/ 3260633 w 6088640"/>
              <a:gd name="connsiteY1" fmla="*/ 0 h 3247782"/>
              <a:gd name="connsiteX2" fmla="*/ 5748245 w 6088640"/>
              <a:gd name="connsiteY2" fmla="*/ 440703 h 3247782"/>
              <a:gd name="connsiteX3" fmla="*/ 6088634 w 6088640"/>
              <a:gd name="connsiteY3" fmla="*/ 2502888 h 3247782"/>
              <a:gd name="connsiteX4" fmla="*/ 3268050 w 6088640"/>
              <a:gd name="connsiteY4" fmla="*/ 3247347 h 3247782"/>
              <a:gd name="connsiteX5" fmla="*/ 37 w 6088640"/>
              <a:gd name="connsiteY5" fmla="*/ 2303863 h 3247782"/>
              <a:gd name="connsiteX6" fmla="*/ 335225 w 6088640"/>
              <a:gd name="connsiteY6" fmla="*/ 432489 h 3247782"/>
              <a:gd name="connsiteX0" fmla="*/ 335225 w 6088642"/>
              <a:gd name="connsiteY0" fmla="*/ 432489 h 3247782"/>
              <a:gd name="connsiteX1" fmla="*/ 3260633 w 6088642"/>
              <a:gd name="connsiteY1" fmla="*/ 0 h 3247782"/>
              <a:gd name="connsiteX2" fmla="*/ 5748245 w 6088642"/>
              <a:gd name="connsiteY2" fmla="*/ 440703 h 3247782"/>
              <a:gd name="connsiteX3" fmla="*/ 6088634 w 6088642"/>
              <a:gd name="connsiteY3" fmla="*/ 2502888 h 3247782"/>
              <a:gd name="connsiteX4" fmla="*/ 3268050 w 6088642"/>
              <a:gd name="connsiteY4" fmla="*/ 3247347 h 3247782"/>
              <a:gd name="connsiteX5" fmla="*/ 37 w 6088642"/>
              <a:gd name="connsiteY5" fmla="*/ 2303863 h 3247782"/>
              <a:gd name="connsiteX6" fmla="*/ 335225 w 6088642"/>
              <a:gd name="connsiteY6" fmla="*/ 432489 h 3247782"/>
              <a:gd name="connsiteX0" fmla="*/ 335225 w 6088640"/>
              <a:gd name="connsiteY0" fmla="*/ 432489 h 3247782"/>
              <a:gd name="connsiteX1" fmla="*/ 3260633 w 6088640"/>
              <a:gd name="connsiteY1" fmla="*/ 0 h 3247782"/>
              <a:gd name="connsiteX2" fmla="*/ 5748245 w 6088640"/>
              <a:gd name="connsiteY2" fmla="*/ 440703 h 3247782"/>
              <a:gd name="connsiteX3" fmla="*/ 6088634 w 6088640"/>
              <a:gd name="connsiteY3" fmla="*/ 2502888 h 3247782"/>
              <a:gd name="connsiteX4" fmla="*/ 3268050 w 6088640"/>
              <a:gd name="connsiteY4" fmla="*/ 3247347 h 3247782"/>
              <a:gd name="connsiteX5" fmla="*/ 37 w 6088640"/>
              <a:gd name="connsiteY5" fmla="*/ 2303863 h 3247782"/>
              <a:gd name="connsiteX6" fmla="*/ 335225 w 6088640"/>
              <a:gd name="connsiteY6" fmla="*/ 432489 h 3247782"/>
              <a:gd name="connsiteX0" fmla="*/ 335225 w 6088642"/>
              <a:gd name="connsiteY0" fmla="*/ 432489 h 3247782"/>
              <a:gd name="connsiteX1" fmla="*/ 3260633 w 6088642"/>
              <a:gd name="connsiteY1" fmla="*/ 0 h 3247782"/>
              <a:gd name="connsiteX2" fmla="*/ 5748245 w 6088642"/>
              <a:gd name="connsiteY2" fmla="*/ 440703 h 3247782"/>
              <a:gd name="connsiteX3" fmla="*/ 6088634 w 6088642"/>
              <a:gd name="connsiteY3" fmla="*/ 2502888 h 3247782"/>
              <a:gd name="connsiteX4" fmla="*/ 3268050 w 6088642"/>
              <a:gd name="connsiteY4" fmla="*/ 3247347 h 3247782"/>
              <a:gd name="connsiteX5" fmla="*/ 37 w 6088642"/>
              <a:gd name="connsiteY5" fmla="*/ 2303863 h 3247782"/>
              <a:gd name="connsiteX6" fmla="*/ 335225 w 6088642"/>
              <a:gd name="connsiteY6" fmla="*/ 432489 h 3247782"/>
              <a:gd name="connsiteX0" fmla="*/ 353201 w 6106621"/>
              <a:gd name="connsiteY0" fmla="*/ 432489 h 3263671"/>
              <a:gd name="connsiteX1" fmla="*/ 3278609 w 6106621"/>
              <a:gd name="connsiteY1" fmla="*/ 0 h 3263671"/>
              <a:gd name="connsiteX2" fmla="*/ 5766221 w 6106621"/>
              <a:gd name="connsiteY2" fmla="*/ 440703 h 3263671"/>
              <a:gd name="connsiteX3" fmla="*/ 6106610 w 6106621"/>
              <a:gd name="connsiteY3" fmla="*/ 2502888 h 3263671"/>
              <a:gd name="connsiteX4" fmla="*/ 3286026 w 6106621"/>
              <a:gd name="connsiteY4" fmla="*/ 3247347 h 3263671"/>
              <a:gd name="connsiteX5" fmla="*/ 53 w 6106621"/>
              <a:gd name="connsiteY5" fmla="*/ 1620527 h 3263671"/>
              <a:gd name="connsiteX6" fmla="*/ 353201 w 6106621"/>
              <a:gd name="connsiteY6" fmla="*/ 432489 h 3263671"/>
              <a:gd name="connsiteX0" fmla="*/ 353201 w 6106621"/>
              <a:gd name="connsiteY0" fmla="*/ 432489 h 3263671"/>
              <a:gd name="connsiteX1" fmla="*/ 3278609 w 6106621"/>
              <a:gd name="connsiteY1" fmla="*/ 0 h 3263671"/>
              <a:gd name="connsiteX2" fmla="*/ 5766221 w 6106621"/>
              <a:gd name="connsiteY2" fmla="*/ 440703 h 3263671"/>
              <a:gd name="connsiteX3" fmla="*/ 6106610 w 6106621"/>
              <a:gd name="connsiteY3" fmla="*/ 2502888 h 3263671"/>
              <a:gd name="connsiteX4" fmla="*/ 3286026 w 6106621"/>
              <a:gd name="connsiteY4" fmla="*/ 3247347 h 3263671"/>
              <a:gd name="connsiteX5" fmla="*/ 53 w 6106621"/>
              <a:gd name="connsiteY5" fmla="*/ 1620527 h 3263671"/>
              <a:gd name="connsiteX6" fmla="*/ 353201 w 6106621"/>
              <a:gd name="connsiteY6" fmla="*/ 432489 h 3263671"/>
              <a:gd name="connsiteX0" fmla="*/ 353201 w 6106621"/>
              <a:gd name="connsiteY0" fmla="*/ 432489 h 3263671"/>
              <a:gd name="connsiteX1" fmla="*/ 3278609 w 6106621"/>
              <a:gd name="connsiteY1" fmla="*/ 0 h 3263671"/>
              <a:gd name="connsiteX2" fmla="*/ 5766221 w 6106621"/>
              <a:gd name="connsiteY2" fmla="*/ 440703 h 3263671"/>
              <a:gd name="connsiteX3" fmla="*/ 6106610 w 6106621"/>
              <a:gd name="connsiteY3" fmla="*/ 2502888 h 3263671"/>
              <a:gd name="connsiteX4" fmla="*/ 3286026 w 6106621"/>
              <a:gd name="connsiteY4" fmla="*/ 3247347 h 3263671"/>
              <a:gd name="connsiteX5" fmla="*/ 53 w 6106621"/>
              <a:gd name="connsiteY5" fmla="*/ 1620527 h 3263671"/>
              <a:gd name="connsiteX6" fmla="*/ 353201 w 6106621"/>
              <a:gd name="connsiteY6" fmla="*/ 432489 h 3263671"/>
              <a:gd name="connsiteX0" fmla="*/ 464353 w 6217770"/>
              <a:gd name="connsiteY0" fmla="*/ 432489 h 3391714"/>
              <a:gd name="connsiteX1" fmla="*/ 3389761 w 6217770"/>
              <a:gd name="connsiteY1" fmla="*/ 0 h 3391714"/>
              <a:gd name="connsiteX2" fmla="*/ 5877373 w 6217770"/>
              <a:gd name="connsiteY2" fmla="*/ 440703 h 3391714"/>
              <a:gd name="connsiteX3" fmla="*/ 6217762 w 6217770"/>
              <a:gd name="connsiteY3" fmla="*/ 2502888 h 3391714"/>
              <a:gd name="connsiteX4" fmla="*/ 2490214 w 6217770"/>
              <a:gd name="connsiteY4" fmla="*/ 3377277 h 3391714"/>
              <a:gd name="connsiteX5" fmla="*/ 111205 w 6217770"/>
              <a:gd name="connsiteY5" fmla="*/ 1620527 h 3391714"/>
              <a:gd name="connsiteX6" fmla="*/ 464353 w 6217770"/>
              <a:gd name="connsiteY6" fmla="*/ 432489 h 3391714"/>
              <a:gd name="connsiteX0" fmla="*/ 464353 w 6217767"/>
              <a:gd name="connsiteY0" fmla="*/ 432489 h 3377283"/>
              <a:gd name="connsiteX1" fmla="*/ 3389761 w 6217767"/>
              <a:gd name="connsiteY1" fmla="*/ 0 h 3377283"/>
              <a:gd name="connsiteX2" fmla="*/ 5877373 w 6217767"/>
              <a:gd name="connsiteY2" fmla="*/ 440703 h 3377283"/>
              <a:gd name="connsiteX3" fmla="*/ 6217762 w 6217767"/>
              <a:gd name="connsiteY3" fmla="*/ 2502888 h 3377283"/>
              <a:gd name="connsiteX4" fmla="*/ 2490214 w 6217767"/>
              <a:gd name="connsiteY4" fmla="*/ 3377277 h 3377283"/>
              <a:gd name="connsiteX5" fmla="*/ 111205 w 6217767"/>
              <a:gd name="connsiteY5" fmla="*/ 1620527 h 3377283"/>
              <a:gd name="connsiteX6" fmla="*/ 464353 w 6217767"/>
              <a:gd name="connsiteY6" fmla="*/ 432489 h 3377283"/>
              <a:gd name="connsiteX0" fmla="*/ 464353 w 6217767"/>
              <a:gd name="connsiteY0" fmla="*/ 432489 h 3377435"/>
              <a:gd name="connsiteX1" fmla="*/ 3389761 w 6217767"/>
              <a:gd name="connsiteY1" fmla="*/ 0 h 3377435"/>
              <a:gd name="connsiteX2" fmla="*/ 5877373 w 6217767"/>
              <a:gd name="connsiteY2" fmla="*/ 440703 h 3377435"/>
              <a:gd name="connsiteX3" fmla="*/ 6217762 w 6217767"/>
              <a:gd name="connsiteY3" fmla="*/ 2502888 h 3377435"/>
              <a:gd name="connsiteX4" fmla="*/ 2490214 w 6217767"/>
              <a:gd name="connsiteY4" fmla="*/ 3377277 h 3377435"/>
              <a:gd name="connsiteX5" fmla="*/ 111205 w 6217767"/>
              <a:gd name="connsiteY5" fmla="*/ 1620527 h 3377435"/>
              <a:gd name="connsiteX6" fmla="*/ 464353 w 6217767"/>
              <a:gd name="connsiteY6" fmla="*/ 432489 h 3377435"/>
              <a:gd name="connsiteX0" fmla="*/ 464353 w 6217767"/>
              <a:gd name="connsiteY0" fmla="*/ 432489 h 3377435"/>
              <a:gd name="connsiteX1" fmla="*/ 3389761 w 6217767"/>
              <a:gd name="connsiteY1" fmla="*/ 0 h 3377435"/>
              <a:gd name="connsiteX2" fmla="*/ 5877373 w 6217767"/>
              <a:gd name="connsiteY2" fmla="*/ 440703 h 3377435"/>
              <a:gd name="connsiteX3" fmla="*/ 6217762 w 6217767"/>
              <a:gd name="connsiteY3" fmla="*/ 2502888 h 3377435"/>
              <a:gd name="connsiteX4" fmla="*/ 2490214 w 6217767"/>
              <a:gd name="connsiteY4" fmla="*/ 3377277 h 3377435"/>
              <a:gd name="connsiteX5" fmla="*/ 111205 w 6217767"/>
              <a:gd name="connsiteY5" fmla="*/ 1620527 h 3377435"/>
              <a:gd name="connsiteX6" fmla="*/ 464353 w 6217767"/>
              <a:gd name="connsiteY6" fmla="*/ 432489 h 3377435"/>
              <a:gd name="connsiteX0" fmla="*/ 464353 w 6217767"/>
              <a:gd name="connsiteY0" fmla="*/ 432489 h 3377435"/>
              <a:gd name="connsiteX1" fmla="*/ 3389761 w 6217767"/>
              <a:gd name="connsiteY1" fmla="*/ 0 h 3377435"/>
              <a:gd name="connsiteX2" fmla="*/ 5877373 w 6217767"/>
              <a:gd name="connsiteY2" fmla="*/ 440703 h 3377435"/>
              <a:gd name="connsiteX3" fmla="*/ 6217762 w 6217767"/>
              <a:gd name="connsiteY3" fmla="*/ 2502888 h 3377435"/>
              <a:gd name="connsiteX4" fmla="*/ 2490214 w 6217767"/>
              <a:gd name="connsiteY4" fmla="*/ 3377277 h 3377435"/>
              <a:gd name="connsiteX5" fmla="*/ 111205 w 6217767"/>
              <a:gd name="connsiteY5" fmla="*/ 1620527 h 3377435"/>
              <a:gd name="connsiteX6" fmla="*/ 464353 w 6217767"/>
              <a:gd name="connsiteY6" fmla="*/ 432489 h 3377435"/>
              <a:gd name="connsiteX0" fmla="*/ 464353 w 6217767"/>
              <a:gd name="connsiteY0" fmla="*/ 432489 h 3377435"/>
              <a:gd name="connsiteX1" fmla="*/ 3389761 w 6217767"/>
              <a:gd name="connsiteY1" fmla="*/ 0 h 3377435"/>
              <a:gd name="connsiteX2" fmla="*/ 5877373 w 6217767"/>
              <a:gd name="connsiteY2" fmla="*/ 440703 h 3377435"/>
              <a:gd name="connsiteX3" fmla="*/ 6217762 w 6217767"/>
              <a:gd name="connsiteY3" fmla="*/ 2502888 h 3377435"/>
              <a:gd name="connsiteX4" fmla="*/ 2490214 w 6217767"/>
              <a:gd name="connsiteY4" fmla="*/ 3377277 h 3377435"/>
              <a:gd name="connsiteX5" fmla="*/ 111205 w 6217767"/>
              <a:gd name="connsiteY5" fmla="*/ 1620527 h 3377435"/>
              <a:gd name="connsiteX6" fmla="*/ 464353 w 6217767"/>
              <a:gd name="connsiteY6" fmla="*/ 432489 h 3377435"/>
              <a:gd name="connsiteX0" fmla="*/ 353260 w 6106674"/>
              <a:gd name="connsiteY0" fmla="*/ 432489 h 3377439"/>
              <a:gd name="connsiteX1" fmla="*/ 3278668 w 6106674"/>
              <a:gd name="connsiteY1" fmla="*/ 0 h 3377439"/>
              <a:gd name="connsiteX2" fmla="*/ 5766280 w 6106674"/>
              <a:gd name="connsiteY2" fmla="*/ 440703 h 3377439"/>
              <a:gd name="connsiteX3" fmla="*/ 6106669 w 6106674"/>
              <a:gd name="connsiteY3" fmla="*/ 2502888 h 3377439"/>
              <a:gd name="connsiteX4" fmla="*/ 2379121 w 6106674"/>
              <a:gd name="connsiteY4" fmla="*/ 3377277 h 3377439"/>
              <a:gd name="connsiteX5" fmla="*/ 112 w 6106674"/>
              <a:gd name="connsiteY5" fmla="*/ 1620527 h 3377439"/>
              <a:gd name="connsiteX6" fmla="*/ 353260 w 6106674"/>
              <a:gd name="connsiteY6" fmla="*/ 432489 h 3377439"/>
              <a:gd name="connsiteX0" fmla="*/ 353204 w 6106618"/>
              <a:gd name="connsiteY0" fmla="*/ 432489 h 3377392"/>
              <a:gd name="connsiteX1" fmla="*/ 3278612 w 6106618"/>
              <a:gd name="connsiteY1" fmla="*/ 0 h 3377392"/>
              <a:gd name="connsiteX2" fmla="*/ 5766224 w 6106618"/>
              <a:gd name="connsiteY2" fmla="*/ 440703 h 3377392"/>
              <a:gd name="connsiteX3" fmla="*/ 6106613 w 6106618"/>
              <a:gd name="connsiteY3" fmla="*/ 2502888 h 3377392"/>
              <a:gd name="connsiteX4" fmla="*/ 2379065 w 6106618"/>
              <a:gd name="connsiteY4" fmla="*/ 3377277 h 3377392"/>
              <a:gd name="connsiteX5" fmla="*/ 56 w 6106618"/>
              <a:gd name="connsiteY5" fmla="*/ 1620527 h 3377392"/>
              <a:gd name="connsiteX6" fmla="*/ 353204 w 6106618"/>
              <a:gd name="connsiteY6" fmla="*/ 432489 h 3377392"/>
              <a:gd name="connsiteX0" fmla="*/ 353202 w 6106616"/>
              <a:gd name="connsiteY0" fmla="*/ 432489 h 3377392"/>
              <a:gd name="connsiteX1" fmla="*/ 3278610 w 6106616"/>
              <a:gd name="connsiteY1" fmla="*/ 0 h 3377392"/>
              <a:gd name="connsiteX2" fmla="*/ 5766222 w 6106616"/>
              <a:gd name="connsiteY2" fmla="*/ 440703 h 3377392"/>
              <a:gd name="connsiteX3" fmla="*/ 6106611 w 6106616"/>
              <a:gd name="connsiteY3" fmla="*/ 2502888 h 3377392"/>
              <a:gd name="connsiteX4" fmla="*/ 2379063 w 6106616"/>
              <a:gd name="connsiteY4" fmla="*/ 3377277 h 3377392"/>
              <a:gd name="connsiteX5" fmla="*/ 54 w 6106616"/>
              <a:gd name="connsiteY5" fmla="*/ 1620527 h 3377392"/>
              <a:gd name="connsiteX6" fmla="*/ 353202 w 6106616"/>
              <a:gd name="connsiteY6" fmla="*/ 432489 h 3377392"/>
              <a:gd name="connsiteX0" fmla="*/ 353202 w 6106616"/>
              <a:gd name="connsiteY0" fmla="*/ 600917 h 3545820"/>
              <a:gd name="connsiteX1" fmla="*/ 2919417 w 6106616"/>
              <a:gd name="connsiteY1" fmla="*/ 0 h 3545820"/>
              <a:gd name="connsiteX2" fmla="*/ 5766222 w 6106616"/>
              <a:gd name="connsiteY2" fmla="*/ 609131 h 3545820"/>
              <a:gd name="connsiteX3" fmla="*/ 6106611 w 6106616"/>
              <a:gd name="connsiteY3" fmla="*/ 2671316 h 3545820"/>
              <a:gd name="connsiteX4" fmla="*/ 2379063 w 6106616"/>
              <a:gd name="connsiteY4" fmla="*/ 3545705 h 3545820"/>
              <a:gd name="connsiteX5" fmla="*/ 54 w 6106616"/>
              <a:gd name="connsiteY5" fmla="*/ 1788955 h 3545820"/>
              <a:gd name="connsiteX6" fmla="*/ 353202 w 6106616"/>
              <a:gd name="connsiteY6" fmla="*/ 600917 h 3545820"/>
              <a:gd name="connsiteX0" fmla="*/ 353202 w 6116436"/>
              <a:gd name="connsiteY0" fmla="*/ 600917 h 3545820"/>
              <a:gd name="connsiteX1" fmla="*/ 2919417 w 6116436"/>
              <a:gd name="connsiteY1" fmla="*/ 0 h 3545820"/>
              <a:gd name="connsiteX2" fmla="*/ 6116436 w 6116436"/>
              <a:gd name="connsiteY2" fmla="*/ 1143288 h 3545820"/>
              <a:gd name="connsiteX3" fmla="*/ 6106611 w 6116436"/>
              <a:gd name="connsiteY3" fmla="*/ 2671316 h 3545820"/>
              <a:gd name="connsiteX4" fmla="*/ 2379063 w 6116436"/>
              <a:gd name="connsiteY4" fmla="*/ 3545705 h 3545820"/>
              <a:gd name="connsiteX5" fmla="*/ 54 w 6116436"/>
              <a:gd name="connsiteY5" fmla="*/ 1788955 h 3545820"/>
              <a:gd name="connsiteX6" fmla="*/ 353202 w 6116436"/>
              <a:gd name="connsiteY6" fmla="*/ 600917 h 3545820"/>
              <a:gd name="connsiteX0" fmla="*/ 353202 w 7085417"/>
              <a:gd name="connsiteY0" fmla="*/ 600917 h 4090923"/>
              <a:gd name="connsiteX1" fmla="*/ 2919417 w 7085417"/>
              <a:gd name="connsiteY1" fmla="*/ 0 h 4090923"/>
              <a:gd name="connsiteX2" fmla="*/ 6116436 w 7085417"/>
              <a:gd name="connsiteY2" fmla="*/ 1143288 h 4090923"/>
              <a:gd name="connsiteX3" fmla="*/ 7085414 w 7085417"/>
              <a:gd name="connsiteY3" fmla="*/ 4090923 h 4090923"/>
              <a:gd name="connsiteX4" fmla="*/ 2379063 w 7085417"/>
              <a:gd name="connsiteY4" fmla="*/ 3545705 h 4090923"/>
              <a:gd name="connsiteX5" fmla="*/ 54 w 7085417"/>
              <a:gd name="connsiteY5" fmla="*/ 1788955 h 4090923"/>
              <a:gd name="connsiteX6" fmla="*/ 353202 w 7085417"/>
              <a:gd name="connsiteY6" fmla="*/ 600917 h 4090923"/>
              <a:gd name="connsiteX0" fmla="*/ 479202 w 7211418"/>
              <a:gd name="connsiteY0" fmla="*/ 600917 h 4090923"/>
              <a:gd name="connsiteX1" fmla="*/ 3045417 w 7211418"/>
              <a:gd name="connsiteY1" fmla="*/ 0 h 4090923"/>
              <a:gd name="connsiteX2" fmla="*/ 6242436 w 7211418"/>
              <a:gd name="connsiteY2" fmla="*/ 1143288 h 4090923"/>
              <a:gd name="connsiteX3" fmla="*/ 7211414 w 7211418"/>
              <a:gd name="connsiteY3" fmla="*/ 4090923 h 4090923"/>
              <a:gd name="connsiteX4" fmla="*/ 3034876 w 7211418"/>
              <a:gd name="connsiteY4" fmla="*/ 4084674 h 4090923"/>
              <a:gd name="connsiteX5" fmla="*/ 126054 w 7211418"/>
              <a:gd name="connsiteY5" fmla="*/ 1788955 h 4090923"/>
              <a:gd name="connsiteX6" fmla="*/ 479202 w 7211418"/>
              <a:gd name="connsiteY6" fmla="*/ 600917 h 4090923"/>
              <a:gd name="connsiteX0" fmla="*/ 479202 w 7221240"/>
              <a:gd name="connsiteY0" fmla="*/ 1093785 h 4583791"/>
              <a:gd name="connsiteX1" fmla="*/ 3045417 w 7221240"/>
              <a:gd name="connsiteY1" fmla="*/ 492868 h 4583791"/>
              <a:gd name="connsiteX2" fmla="*/ 7221240 w 7221240"/>
              <a:gd name="connsiteY2" fmla="*/ 0 h 4583791"/>
              <a:gd name="connsiteX3" fmla="*/ 7211414 w 7221240"/>
              <a:gd name="connsiteY3" fmla="*/ 4583791 h 4583791"/>
              <a:gd name="connsiteX4" fmla="*/ 3034876 w 7221240"/>
              <a:gd name="connsiteY4" fmla="*/ 4577542 h 4583791"/>
              <a:gd name="connsiteX5" fmla="*/ 126054 w 7221240"/>
              <a:gd name="connsiteY5" fmla="*/ 2281823 h 4583791"/>
              <a:gd name="connsiteX6" fmla="*/ 479202 w 7221240"/>
              <a:gd name="connsiteY6" fmla="*/ 1093785 h 4583791"/>
              <a:gd name="connsiteX0" fmla="*/ 479202 w 7221240"/>
              <a:gd name="connsiteY0" fmla="*/ 1096576 h 4586582"/>
              <a:gd name="connsiteX1" fmla="*/ 3656047 w 7221240"/>
              <a:gd name="connsiteY1" fmla="*/ 0 h 4586582"/>
              <a:gd name="connsiteX2" fmla="*/ 7221240 w 7221240"/>
              <a:gd name="connsiteY2" fmla="*/ 2791 h 4586582"/>
              <a:gd name="connsiteX3" fmla="*/ 7211414 w 7221240"/>
              <a:gd name="connsiteY3" fmla="*/ 4586582 h 4586582"/>
              <a:gd name="connsiteX4" fmla="*/ 3034876 w 7221240"/>
              <a:gd name="connsiteY4" fmla="*/ 4580333 h 4586582"/>
              <a:gd name="connsiteX5" fmla="*/ 126054 w 7221240"/>
              <a:gd name="connsiteY5" fmla="*/ 2284614 h 4586582"/>
              <a:gd name="connsiteX6" fmla="*/ 479202 w 7221240"/>
              <a:gd name="connsiteY6" fmla="*/ 1096576 h 4586582"/>
              <a:gd name="connsiteX0" fmla="*/ 4967 w 6747005"/>
              <a:gd name="connsiteY0" fmla="*/ 1096576 h 4586582"/>
              <a:gd name="connsiteX1" fmla="*/ 3181812 w 6747005"/>
              <a:gd name="connsiteY1" fmla="*/ 0 h 4586582"/>
              <a:gd name="connsiteX2" fmla="*/ 6747005 w 6747005"/>
              <a:gd name="connsiteY2" fmla="*/ 2791 h 4586582"/>
              <a:gd name="connsiteX3" fmla="*/ 6737179 w 6747005"/>
              <a:gd name="connsiteY3" fmla="*/ 4586582 h 4586582"/>
              <a:gd name="connsiteX4" fmla="*/ 2560641 w 6747005"/>
              <a:gd name="connsiteY4" fmla="*/ 4580333 h 4586582"/>
              <a:gd name="connsiteX5" fmla="*/ 4967 w 6747005"/>
              <a:gd name="connsiteY5" fmla="*/ 1096576 h 4586582"/>
              <a:gd name="connsiteX0" fmla="*/ 146702 w 6888740"/>
              <a:gd name="connsiteY0" fmla="*/ 1096576 h 4586582"/>
              <a:gd name="connsiteX1" fmla="*/ 3323547 w 6888740"/>
              <a:gd name="connsiteY1" fmla="*/ 0 h 4586582"/>
              <a:gd name="connsiteX2" fmla="*/ 6888740 w 6888740"/>
              <a:gd name="connsiteY2" fmla="*/ 2791 h 4586582"/>
              <a:gd name="connsiteX3" fmla="*/ 6878914 w 6888740"/>
              <a:gd name="connsiteY3" fmla="*/ 4586582 h 4586582"/>
              <a:gd name="connsiteX4" fmla="*/ 2702376 w 6888740"/>
              <a:gd name="connsiteY4" fmla="*/ 4580333 h 4586582"/>
              <a:gd name="connsiteX5" fmla="*/ 146702 w 6888740"/>
              <a:gd name="connsiteY5" fmla="*/ 1096576 h 4586582"/>
              <a:gd name="connsiteX0" fmla="*/ 146702 w 6888740"/>
              <a:gd name="connsiteY0" fmla="*/ 1096576 h 4586582"/>
              <a:gd name="connsiteX1" fmla="*/ 3323547 w 6888740"/>
              <a:gd name="connsiteY1" fmla="*/ 0 h 4586582"/>
              <a:gd name="connsiteX2" fmla="*/ 6888740 w 6888740"/>
              <a:gd name="connsiteY2" fmla="*/ 2791 h 4586582"/>
              <a:gd name="connsiteX3" fmla="*/ 6878914 w 6888740"/>
              <a:gd name="connsiteY3" fmla="*/ 4586582 h 4586582"/>
              <a:gd name="connsiteX4" fmla="*/ 2702376 w 6888740"/>
              <a:gd name="connsiteY4" fmla="*/ 4580333 h 4586582"/>
              <a:gd name="connsiteX5" fmla="*/ 146702 w 6888740"/>
              <a:gd name="connsiteY5" fmla="*/ 1096576 h 4586582"/>
              <a:gd name="connsiteX0" fmla="*/ 49 w 6742087"/>
              <a:gd name="connsiteY0" fmla="*/ 1096576 h 4586582"/>
              <a:gd name="connsiteX1" fmla="*/ 3176894 w 6742087"/>
              <a:gd name="connsiteY1" fmla="*/ 0 h 4586582"/>
              <a:gd name="connsiteX2" fmla="*/ 6742087 w 6742087"/>
              <a:gd name="connsiteY2" fmla="*/ 2791 h 4586582"/>
              <a:gd name="connsiteX3" fmla="*/ 6732261 w 6742087"/>
              <a:gd name="connsiteY3" fmla="*/ 4586582 h 4586582"/>
              <a:gd name="connsiteX4" fmla="*/ 2555723 w 6742087"/>
              <a:gd name="connsiteY4" fmla="*/ 4580333 h 4586582"/>
              <a:gd name="connsiteX5" fmla="*/ 49 w 6742087"/>
              <a:gd name="connsiteY5" fmla="*/ 1096576 h 4586582"/>
              <a:gd name="connsiteX0" fmla="*/ 29 w 6742067"/>
              <a:gd name="connsiteY0" fmla="*/ 1096576 h 4586582"/>
              <a:gd name="connsiteX1" fmla="*/ 3176874 w 6742067"/>
              <a:gd name="connsiteY1" fmla="*/ 0 h 4586582"/>
              <a:gd name="connsiteX2" fmla="*/ 6742067 w 6742067"/>
              <a:gd name="connsiteY2" fmla="*/ 2791 h 4586582"/>
              <a:gd name="connsiteX3" fmla="*/ 6732241 w 6742067"/>
              <a:gd name="connsiteY3" fmla="*/ 4586582 h 4586582"/>
              <a:gd name="connsiteX4" fmla="*/ 2555703 w 6742067"/>
              <a:gd name="connsiteY4" fmla="*/ 4580333 h 4586582"/>
              <a:gd name="connsiteX5" fmla="*/ 29 w 6742067"/>
              <a:gd name="connsiteY5" fmla="*/ 1096576 h 4586582"/>
              <a:gd name="connsiteX0" fmla="*/ 35 w 6266141"/>
              <a:gd name="connsiteY0" fmla="*/ 1693292 h 4586582"/>
              <a:gd name="connsiteX1" fmla="*/ 2700948 w 6266141"/>
              <a:gd name="connsiteY1" fmla="*/ 0 h 4586582"/>
              <a:gd name="connsiteX2" fmla="*/ 6266141 w 6266141"/>
              <a:gd name="connsiteY2" fmla="*/ 2791 h 4586582"/>
              <a:gd name="connsiteX3" fmla="*/ 6256315 w 6266141"/>
              <a:gd name="connsiteY3" fmla="*/ 4586582 h 4586582"/>
              <a:gd name="connsiteX4" fmla="*/ 2079777 w 6266141"/>
              <a:gd name="connsiteY4" fmla="*/ 4580333 h 4586582"/>
              <a:gd name="connsiteX5" fmla="*/ 35 w 6266141"/>
              <a:gd name="connsiteY5" fmla="*/ 1693292 h 4586582"/>
              <a:gd name="connsiteX0" fmla="*/ 35 w 6266141"/>
              <a:gd name="connsiteY0" fmla="*/ 1690502 h 4583792"/>
              <a:gd name="connsiteX1" fmla="*/ 1892761 w 6266141"/>
              <a:gd name="connsiteY1" fmla="*/ 2022 h 4583792"/>
              <a:gd name="connsiteX2" fmla="*/ 6266141 w 6266141"/>
              <a:gd name="connsiteY2" fmla="*/ 1 h 4583792"/>
              <a:gd name="connsiteX3" fmla="*/ 6256315 w 6266141"/>
              <a:gd name="connsiteY3" fmla="*/ 4583792 h 4583792"/>
              <a:gd name="connsiteX4" fmla="*/ 2079777 w 6266141"/>
              <a:gd name="connsiteY4" fmla="*/ 4577543 h 4583792"/>
              <a:gd name="connsiteX5" fmla="*/ 35 w 6266141"/>
              <a:gd name="connsiteY5" fmla="*/ 1690502 h 4583792"/>
              <a:gd name="connsiteX0" fmla="*/ 53 w 6266159"/>
              <a:gd name="connsiteY0" fmla="*/ 1690502 h 4583792"/>
              <a:gd name="connsiteX1" fmla="*/ 1892779 w 6266159"/>
              <a:gd name="connsiteY1" fmla="*/ 2022 h 4583792"/>
              <a:gd name="connsiteX2" fmla="*/ 6266159 w 6266159"/>
              <a:gd name="connsiteY2" fmla="*/ 1 h 4583792"/>
              <a:gd name="connsiteX3" fmla="*/ 6256333 w 6266159"/>
              <a:gd name="connsiteY3" fmla="*/ 4583792 h 4583792"/>
              <a:gd name="connsiteX4" fmla="*/ 1316507 w 6266159"/>
              <a:gd name="connsiteY4" fmla="*/ 4577543 h 4583792"/>
              <a:gd name="connsiteX5" fmla="*/ 53 w 6266159"/>
              <a:gd name="connsiteY5" fmla="*/ 1690502 h 4583792"/>
              <a:gd name="connsiteX0" fmla="*/ 28 w 6266134"/>
              <a:gd name="connsiteY0" fmla="*/ 1690502 h 4583792"/>
              <a:gd name="connsiteX1" fmla="*/ 1892754 w 6266134"/>
              <a:gd name="connsiteY1" fmla="*/ 2022 h 4583792"/>
              <a:gd name="connsiteX2" fmla="*/ 6266134 w 6266134"/>
              <a:gd name="connsiteY2" fmla="*/ 1 h 4583792"/>
              <a:gd name="connsiteX3" fmla="*/ 6256308 w 6266134"/>
              <a:gd name="connsiteY3" fmla="*/ 4583792 h 4583792"/>
              <a:gd name="connsiteX4" fmla="*/ 2573660 w 6266134"/>
              <a:gd name="connsiteY4" fmla="*/ 4577543 h 4583792"/>
              <a:gd name="connsiteX5" fmla="*/ 28 w 6266134"/>
              <a:gd name="connsiteY5" fmla="*/ 1690502 h 4583792"/>
              <a:gd name="connsiteX0" fmla="*/ 50 w 5125717"/>
              <a:gd name="connsiteY0" fmla="*/ 1623131 h 4583792"/>
              <a:gd name="connsiteX1" fmla="*/ 752337 w 5125717"/>
              <a:gd name="connsiteY1" fmla="*/ 2022 h 4583792"/>
              <a:gd name="connsiteX2" fmla="*/ 5125717 w 5125717"/>
              <a:gd name="connsiteY2" fmla="*/ 1 h 4583792"/>
              <a:gd name="connsiteX3" fmla="*/ 5115891 w 5125717"/>
              <a:gd name="connsiteY3" fmla="*/ 4583792 h 4583792"/>
              <a:gd name="connsiteX4" fmla="*/ 1433243 w 5125717"/>
              <a:gd name="connsiteY4" fmla="*/ 4577543 h 4583792"/>
              <a:gd name="connsiteX5" fmla="*/ 50 w 5125717"/>
              <a:gd name="connsiteY5" fmla="*/ 1623131 h 4583792"/>
              <a:gd name="connsiteX0" fmla="*/ 50 w 5125717"/>
              <a:gd name="connsiteY0" fmla="*/ 1623131 h 4583792"/>
              <a:gd name="connsiteX1" fmla="*/ 1345007 w 5125717"/>
              <a:gd name="connsiteY1" fmla="*/ 2022 h 4583792"/>
              <a:gd name="connsiteX2" fmla="*/ 5125717 w 5125717"/>
              <a:gd name="connsiteY2" fmla="*/ 1 h 4583792"/>
              <a:gd name="connsiteX3" fmla="*/ 5115891 w 5125717"/>
              <a:gd name="connsiteY3" fmla="*/ 4583792 h 4583792"/>
              <a:gd name="connsiteX4" fmla="*/ 1433243 w 5125717"/>
              <a:gd name="connsiteY4" fmla="*/ 4577543 h 4583792"/>
              <a:gd name="connsiteX5" fmla="*/ 50 w 5125717"/>
              <a:gd name="connsiteY5" fmla="*/ 1623131 h 4583792"/>
              <a:gd name="connsiteX0" fmla="*/ 50 w 5115897"/>
              <a:gd name="connsiteY0" fmla="*/ 1621109 h 4581770"/>
              <a:gd name="connsiteX1" fmla="*/ 1345007 w 5115897"/>
              <a:gd name="connsiteY1" fmla="*/ 0 h 4581770"/>
              <a:gd name="connsiteX2" fmla="*/ 4146914 w 5115897"/>
              <a:gd name="connsiteY2" fmla="*/ 2791 h 4581770"/>
              <a:gd name="connsiteX3" fmla="*/ 5115891 w 5115897"/>
              <a:gd name="connsiteY3" fmla="*/ 4581770 h 4581770"/>
              <a:gd name="connsiteX4" fmla="*/ 1433243 w 5115897"/>
              <a:gd name="connsiteY4" fmla="*/ 4575521 h 4581770"/>
              <a:gd name="connsiteX5" fmla="*/ 50 w 5115897"/>
              <a:gd name="connsiteY5" fmla="*/ 1621109 h 4581770"/>
              <a:gd name="connsiteX0" fmla="*/ 50 w 4164035"/>
              <a:gd name="connsiteY0" fmla="*/ 1621109 h 4581770"/>
              <a:gd name="connsiteX1" fmla="*/ 1345007 w 4164035"/>
              <a:gd name="connsiteY1" fmla="*/ 0 h 4581770"/>
              <a:gd name="connsiteX2" fmla="*/ 4146914 w 4164035"/>
              <a:gd name="connsiteY2" fmla="*/ 2791 h 4581770"/>
              <a:gd name="connsiteX3" fmla="*/ 4164029 w 4164035"/>
              <a:gd name="connsiteY3" fmla="*/ 4581770 h 4581770"/>
              <a:gd name="connsiteX4" fmla="*/ 1433243 w 4164035"/>
              <a:gd name="connsiteY4" fmla="*/ 4575521 h 4581770"/>
              <a:gd name="connsiteX5" fmla="*/ 50 w 4164035"/>
              <a:gd name="connsiteY5" fmla="*/ 1621109 h 458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035" h="4581770">
                <a:moveTo>
                  <a:pt x="50" y="1621109"/>
                </a:moveTo>
                <a:lnTo>
                  <a:pt x="1345007" y="0"/>
                </a:lnTo>
                <a:lnTo>
                  <a:pt x="4146914" y="2791"/>
                </a:lnTo>
                <a:cubicBezTo>
                  <a:pt x="4138729" y="2011"/>
                  <a:pt x="4164249" y="4580225"/>
                  <a:pt x="4164029" y="4581770"/>
                </a:cubicBezTo>
                <a:cubicBezTo>
                  <a:pt x="4169408" y="4578284"/>
                  <a:pt x="1454240" y="4578214"/>
                  <a:pt x="1433243" y="4575521"/>
                </a:cubicBezTo>
                <a:cubicBezTo>
                  <a:pt x="1433688" y="4585756"/>
                  <a:pt x="-9778" y="1617424"/>
                  <a:pt x="50" y="1621109"/>
                </a:cubicBezTo>
                <a:close/>
              </a:path>
            </a:pathLst>
          </a:custGeom>
          <a:ln w="50800">
            <a:noFill/>
          </a:ln>
        </p:spPr>
        <p:txBody>
          <a:bodyPr/>
          <a:lstStyle/>
          <a:p>
            <a:pPr marL="304778" marR="0" lvl="0" indent="-304778" algn="l" defTabSz="1219108" rtl="0" eaLnBrk="1" fontAlgn="auto" latinLnBrk="0" hangingPunct="1">
              <a:lnSpc>
                <a:spcPct val="90000"/>
              </a:lnSpc>
              <a:spcBef>
                <a:spcPts val="1333"/>
              </a:spcBef>
              <a:spcAft>
                <a:spcPts val="0"/>
              </a:spcAft>
              <a:buClrTx/>
              <a:buSzTx/>
              <a:buFont typeface="Arial" panose="020B0604020202020204" pitchFamily="34" charset="0"/>
              <a:buNone/>
              <a:tabLst/>
              <a:defRPr/>
            </a:pPr>
            <a:r>
              <a:rPr lang="en-US" noProof="0"/>
              <a:t>Picture</a:t>
            </a:r>
          </a:p>
        </p:txBody>
      </p:sp>
      <p:sp>
        <p:nvSpPr>
          <p:cNvPr id="4" name="Marcador de texto 6">
            <a:extLst>
              <a:ext uri="{FF2B5EF4-FFF2-40B4-BE49-F238E27FC236}">
                <a16:creationId xmlns:a16="http://schemas.microsoft.com/office/drawing/2014/main" id="{0BCE6A4B-D244-F0AD-6255-C467761EBA7E}"/>
              </a:ext>
            </a:extLst>
          </p:cNvPr>
          <p:cNvSpPr>
            <a:spLocks noGrp="1"/>
          </p:cNvSpPr>
          <p:nvPr>
            <p:ph type="body" sz="quarter" idx="24" hasCustomPrompt="1"/>
          </p:nvPr>
        </p:nvSpPr>
        <p:spPr>
          <a:xfrm>
            <a:off x="0" y="4540384"/>
            <a:ext cx="3188677" cy="2317616"/>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2"/>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5" name="Título 1">
            <a:extLst>
              <a:ext uri="{FF2B5EF4-FFF2-40B4-BE49-F238E27FC236}">
                <a16:creationId xmlns:a16="http://schemas.microsoft.com/office/drawing/2014/main" id="{48423B44-A59B-CDA3-C538-9BAC0AEDF2E2}"/>
              </a:ext>
            </a:extLst>
          </p:cNvPr>
          <p:cNvSpPr>
            <a:spLocks noGrp="1"/>
          </p:cNvSpPr>
          <p:nvPr>
            <p:ph type="title" hasCustomPrompt="1"/>
          </p:nvPr>
        </p:nvSpPr>
        <p:spPr>
          <a:xfrm>
            <a:off x="768352" y="740835"/>
            <a:ext cx="3517937" cy="2130419"/>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3733" baseline="0">
                <a:solidFill>
                  <a:schemeClr val="accent2"/>
                </a:solidFill>
              </a:defRPr>
            </a:lvl1pPr>
          </a:lstStyle>
          <a:p>
            <a:r>
              <a:rPr lang="en-US" noProof="0"/>
              <a:t>Headline is Arial Reg. 28pt.</a:t>
            </a:r>
            <a:br>
              <a:rPr lang="en-US" noProof="0"/>
            </a:br>
            <a:r>
              <a:rPr lang="en-US" noProof="0"/>
              <a:t>Lorem ipsum </a:t>
            </a:r>
            <a:br>
              <a:rPr lang="en-US" noProof="0"/>
            </a:br>
            <a:r>
              <a:rPr lang="en-US" noProof="0"/>
              <a:t>dolor sit </a:t>
            </a:r>
            <a:r>
              <a:rPr lang="en-US" noProof="0" err="1"/>
              <a:t>amet</a:t>
            </a:r>
            <a:r>
              <a:rPr lang="en-US" noProof="0"/>
              <a:t>.</a:t>
            </a:r>
          </a:p>
        </p:txBody>
      </p:sp>
      <p:sp>
        <p:nvSpPr>
          <p:cNvPr id="6" name="Marcador de texto 5">
            <a:extLst>
              <a:ext uri="{FF2B5EF4-FFF2-40B4-BE49-F238E27FC236}">
                <a16:creationId xmlns:a16="http://schemas.microsoft.com/office/drawing/2014/main" id="{D7A2021B-890C-611F-A034-4FD4A0AAF370}"/>
              </a:ext>
            </a:extLst>
          </p:cNvPr>
          <p:cNvSpPr>
            <a:spLocks noGrp="1"/>
          </p:cNvSpPr>
          <p:nvPr>
            <p:ph type="body" sz="quarter" idx="12" hasCustomPrompt="1"/>
          </p:nvPr>
        </p:nvSpPr>
        <p:spPr>
          <a:xfrm>
            <a:off x="768352" y="2975398"/>
            <a:ext cx="3278816" cy="405357"/>
          </a:xfrm>
          <a:prstGeom prst="rect">
            <a:avLst/>
          </a:prstGeom>
        </p:spPr>
        <p:txBody>
          <a:bodyPr lIns="0" tIns="0" rIns="0" bIns="0">
            <a:noAutofit/>
          </a:bodyPr>
          <a:lstStyle>
            <a:lvl1pPr marL="0" indent="0">
              <a:lnSpc>
                <a:spcPct val="100000"/>
              </a:lnSpc>
              <a:spcBef>
                <a:spcPts val="0"/>
              </a:spcBef>
              <a:buNone/>
              <a:defRPr sz="1733" baseline="0">
                <a:solidFill>
                  <a:schemeClr val="accent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Subhead is Arial Regular 13/Simple pt.</a:t>
            </a:r>
          </a:p>
        </p:txBody>
      </p:sp>
      <p:sp>
        <p:nvSpPr>
          <p:cNvPr id="8" name="Marcador de texto 5">
            <a:extLst>
              <a:ext uri="{FF2B5EF4-FFF2-40B4-BE49-F238E27FC236}">
                <a16:creationId xmlns:a16="http://schemas.microsoft.com/office/drawing/2014/main" id="{FDE14C11-F38E-6F1F-9FE1-1E06A36AAC50}"/>
              </a:ext>
            </a:extLst>
          </p:cNvPr>
          <p:cNvSpPr>
            <a:spLocks noGrp="1"/>
          </p:cNvSpPr>
          <p:nvPr>
            <p:ph type="body" sz="quarter" idx="16" hasCustomPrompt="1"/>
          </p:nvPr>
        </p:nvSpPr>
        <p:spPr>
          <a:xfrm>
            <a:off x="4949187" y="740833"/>
            <a:ext cx="3157227" cy="5327651"/>
          </a:xfrm>
          <a:prstGeom prst="rect">
            <a:avLst/>
          </a:prstGeom>
        </p:spPr>
        <p:txBody>
          <a:bodyPr lIns="0" tIns="0" rIns="0" bIns="0">
            <a:noAutofit/>
          </a:bodyPr>
          <a:lstStyle>
            <a:lvl1pPr marL="0" indent="0">
              <a:lnSpc>
                <a:spcPct val="100000"/>
              </a:lnSpc>
              <a:spcBef>
                <a:spcPts val="0"/>
              </a:spcBef>
              <a:buNone/>
              <a:defRPr sz="1200" baseline="0">
                <a:solidFill>
                  <a:schemeClr val="accent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err="1"/>
              <a:t>Bodycopy</a:t>
            </a:r>
            <a:r>
              <a:rPr lang="en-US" noProof="0"/>
              <a:t> is Arial Regular 9/Simple p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noProof="0"/>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err="1"/>
              <a:t>Bodycopy</a:t>
            </a:r>
            <a:r>
              <a:rPr lang="en-US" noProof="0"/>
              <a:t> is Arial Regular 9/Simple pt. Lorem ipsum dolor si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noProof="0"/>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err="1"/>
              <a:t>Bodycopy</a:t>
            </a:r>
            <a:r>
              <a:rPr lang="en-US" noProof="0"/>
              <a:t> is Arial Regular 9/Simple pt. Lorem ipsum dolor si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noProof="0"/>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err="1"/>
              <a:t>Bodycopy</a:t>
            </a:r>
            <a:r>
              <a:rPr lang="en-US" noProof="0"/>
              <a:t> is Arial Regular 9/Simple pt. Lorem ipsum dolor si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noProof="0"/>
          </a:p>
          <a:p>
            <a:pPr lvl="0"/>
            <a:endParaRPr lang="en-US" noProof="0"/>
          </a:p>
        </p:txBody>
      </p:sp>
      <p:sp>
        <p:nvSpPr>
          <p:cNvPr id="3" name="Marcador de texto 5">
            <a:extLst>
              <a:ext uri="{FF2B5EF4-FFF2-40B4-BE49-F238E27FC236}">
                <a16:creationId xmlns:a16="http://schemas.microsoft.com/office/drawing/2014/main" id="{F3357388-E18D-3939-F98C-9FAB9B8FEBA9}"/>
              </a:ext>
            </a:extLst>
          </p:cNvPr>
          <p:cNvSpPr>
            <a:spLocks noGrp="1"/>
          </p:cNvSpPr>
          <p:nvPr>
            <p:ph type="body" sz="quarter" idx="25" hasCustomPrompt="1"/>
          </p:nvPr>
        </p:nvSpPr>
        <p:spPr>
          <a:xfrm>
            <a:off x="4039281" y="6417750"/>
            <a:ext cx="4113439" cy="195084"/>
          </a:xfrm>
          <a:prstGeom prst="rect">
            <a:avLst/>
          </a:prstGeom>
        </p:spPr>
        <p:txBody>
          <a:bodyPr/>
          <a:lstStyle>
            <a:lvl1pPr marL="0" indent="0" algn="ctr">
              <a:buNone/>
              <a:defRPr sz="933">
                <a:solidFill>
                  <a:schemeClr val="accent1"/>
                </a:solidFill>
              </a:defRPr>
            </a:lvl1pPr>
          </a:lstStyle>
          <a:p>
            <a:r>
              <a:rPr lang="es-ES" err="1"/>
              <a:t>Lorem</a:t>
            </a:r>
            <a:r>
              <a:rPr lang="es-ES"/>
              <a:t> </a:t>
            </a:r>
            <a:r>
              <a:rPr lang="es-ES" err="1"/>
              <a:t>ipsum</a:t>
            </a:r>
            <a:r>
              <a:rPr lang="es-ES"/>
              <a:t> dolor </a:t>
            </a:r>
            <a:r>
              <a:rPr lang="es-ES" err="1"/>
              <a:t>sit</a:t>
            </a:r>
            <a:r>
              <a:rPr lang="es-ES"/>
              <a:t> </a:t>
            </a:r>
            <a:r>
              <a:rPr lang="es-ES" err="1"/>
              <a:t>amet</a:t>
            </a:r>
            <a:r>
              <a:rPr lang="es-ES"/>
              <a:t>.</a:t>
            </a:r>
          </a:p>
        </p:txBody>
      </p:sp>
      <p:sp>
        <p:nvSpPr>
          <p:cNvPr id="9" name="Slide Number Placeholder 5">
            <a:extLst>
              <a:ext uri="{FF2B5EF4-FFF2-40B4-BE49-F238E27FC236}">
                <a16:creationId xmlns:a16="http://schemas.microsoft.com/office/drawing/2014/main" id="{4F6F5498-781F-BAD0-8F96-E6921627F8DE}"/>
              </a:ext>
            </a:extLst>
          </p:cNvPr>
          <p:cNvSpPr>
            <a:spLocks noGrp="1"/>
          </p:cNvSpPr>
          <p:nvPr>
            <p:ph type="sldNum" sz="quarter" idx="4"/>
          </p:nvPr>
        </p:nvSpPr>
        <p:spPr>
          <a:xfrm>
            <a:off x="10910403" y="6356351"/>
            <a:ext cx="1042415" cy="365125"/>
          </a:xfrm>
          <a:prstGeom prst="rect">
            <a:avLst/>
          </a:prstGeom>
        </p:spPr>
        <p:txBody>
          <a:bodyPr vert="horz" lIns="91440" tIns="45720" rIns="91440" bIns="45720" rtlCol="0" anchor="ctr"/>
          <a:lstStyle>
            <a:lvl1pPr algn="r">
              <a:defRPr sz="933">
                <a:solidFill>
                  <a:schemeClr val="accent1"/>
                </a:solidFill>
              </a:defRPr>
            </a:lvl1pPr>
          </a:lstStyle>
          <a:p>
            <a:fld id="{96F64DD7-E411-6141-89FE-121B5323FD5F}" type="slidenum">
              <a:rPr lang="en-US" smtClean="0"/>
              <a:pPr/>
              <a:t>‹Nº›</a:t>
            </a:fld>
            <a:endParaRPr lang="en-US"/>
          </a:p>
        </p:txBody>
      </p:sp>
    </p:spTree>
    <p:extLst>
      <p:ext uri="{BB962C8B-B14F-4D97-AF65-F5344CB8AC3E}">
        <p14:creationId xmlns:p14="http://schemas.microsoft.com/office/powerpoint/2010/main" val="58206628"/>
      </p:ext>
    </p:extLst>
  </p:cSld>
  <p:clrMapOvr>
    <a:masterClrMapping/>
  </p:clrMapOvr>
  <p:extLst>
    <p:ext uri="{DCECCB84-F9BA-43D5-87BE-67443E8EF086}">
      <p15:sldGuideLst xmlns:p15="http://schemas.microsoft.com/office/powerpoint/2012/main">
        <p15:guide id="1" orient="horz" pos="2867">
          <p15:clr>
            <a:srgbClr val="FBAE40"/>
          </p15:clr>
        </p15:guide>
        <p15:guide id="2" pos="2880">
          <p15:clr>
            <a:srgbClr val="FBAE40"/>
          </p15:clr>
        </p15:guide>
        <p15:guide id="3" orient="horz" pos="35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 Image 6">
    <p:bg>
      <p:bgPr>
        <a:solidFill>
          <a:schemeClr val="bg1"/>
        </a:solidFill>
        <a:effectLst/>
      </p:bgPr>
    </p:bg>
    <p:spTree>
      <p:nvGrpSpPr>
        <p:cNvPr id="1" name=""/>
        <p:cNvGrpSpPr/>
        <p:nvPr/>
      </p:nvGrpSpPr>
      <p:grpSpPr>
        <a:xfrm>
          <a:off x="0" y="0"/>
          <a:ext cx="0" cy="0"/>
          <a:chOff x="0" y="0"/>
          <a:chExt cx="0" cy="0"/>
        </a:xfrm>
      </p:grpSpPr>
      <p:sp>
        <p:nvSpPr>
          <p:cNvPr id="7" name="Marcador de imagen 7">
            <a:extLst>
              <a:ext uri="{FF2B5EF4-FFF2-40B4-BE49-F238E27FC236}">
                <a16:creationId xmlns:a16="http://schemas.microsoft.com/office/drawing/2014/main" id="{1CB64C5B-97F4-0D5F-B624-BC1B6A3C66FA}"/>
              </a:ext>
            </a:extLst>
          </p:cNvPr>
          <p:cNvSpPr>
            <a:spLocks noGrp="1"/>
          </p:cNvSpPr>
          <p:nvPr>
            <p:ph type="pic" sz="quarter" idx="20" hasCustomPrompt="1"/>
          </p:nvPr>
        </p:nvSpPr>
        <p:spPr>
          <a:xfrm>
            <a:off x="-2567" y="-9135"/>
            <a:ext cx="3347857" cy="6884065"/>
          </a:xfrm>
          <a:custGeom>
            <a:avLst/>
            <a:gdLst>
              <a:gd name="connsiteX0" fmla="*/ 0 w 8411266"/>
              <a:gd name="connsiteY0" fmla="*/ 0 h 2915921"/>
              <a:gd name="connsiteX1" fmla="*/ 8411266 w 8411266"/>
              <a:gd name="connsiteY1" fmla="*/ 0 h 2915921"/>
              <a:gd name="connsiteX2" fmla="*/ 8411266 w 8411266"/>
              <a:gd name="connsiteY2" fmla="*/ 2915921 h 2915921"/>
              <a:gd name="connsiteX3" fmla="*/ 0 w 8411266"/>
              <a:gd name="connsiteY3" fmla="*/ 2915921 h 2915921"/>
              <a:gd name="connsiteX4" fmla="*/ 0 w 8411266"/>
              <a:gd name="connsiteY4" fmla="*/ 0 h 2915921"/>
              <a:gd name="connsiteX0" fmla="*/ 0 w 8411266"/>
              <a:gd name="connsiteY0" fmla="*/ 0 h 2915922"/>
              <a:gd name="connsiteX1" fmla="*/ 8411266 w 8411266"/>
              <a:gd name="connsiteY1" fmla="*/ 0 h 2915922"/>
              <a:gd name="connsiteX2" fmla="*/ 8411266 w 8411266"/>
              <a:gd name="connsiteY2" fmla="*/ 2915921 h 2915922"/>
              <a:gd name="connsiteX3" fmla="*/ 7668987 w 8411266"/>
              <a:gd name="connsiteY3" fmla="*/ 2915922 h 2915922"/>
              <a:gd name="connsiteX4" fmla="*/ 0 w 8411266"/>
              <a:gd name="connsiteY4" fmla="*/ 2915921 h 2915922"/>
              <a:gd name="connsiteX5" fmla="*/ 0 w 8411266"/>
              <a:gd name="connsiteY5" fmla="*/ 0 h 2915922"/>
              <a:gd name="connsiteX0" fmla="*/ 0 w 8411266"/>
              <a:gd name="connsiteY0" fmla="*/ 0 h 2915922"/>
              <a:gd name="connsiteX1" fmla="*/ 8411266 w 8411266"/>
              <a:gd name="connsiteY1" fmla="*/ 0 h 2915922"/>
              <a:gd name="connsiteX2" fmla="*/ 8405886 w 8411266"/>
              <a:gd name="connsiteY2" fmla="*/ 2238189 h 2915922"/>
              <a:gd name="connsiteX3" fmla="*/ 8411266 w 8411266"/>
              <a:gd name="connsiteY3" fmla="*/ 2915921 h 2915922"/>
              <a:gd name="connsiteX4" fmla="*/ 7668987 w 8411266"/>
              <a:gd name="connsiteY4" fmla="*/ 2915922 h 2915922"/>
              <a:gd name="connsiteX5" fmla="*/ 0 w 8411266"/>
              <a:gd name="connsiteY5" fmla="*/ 2915921 h 2915922"/>
              <a:gd name="connsiteX6" fmla="*/ 0 w 8411266"/>
              <a:gd name="connsiteY6" fmla="*/ 0 h 2915922"/>
              <a:gd name="connsiteX0" fmla="*/ 0 w 8411782"/>
              <a:gd name="connsiteY0" fmla="*/ 0 h 2915922"/>
              <a:gd name="connsiteX1" fmla="*/ 8411266 w 8411782"/>
              <a:gd name="connsiteY1" fmla="*/ 0 h 2915922"/>
              <a:gd name="connsiteX2" fmla="*/ 8411265 w 8411782"/>
              <a:gd name="connsiteY2" fmla="*/ 2211294 h 2915922"/>
              <a:gd name="connsiteX3" fmla="*/ 8411266 w 8411782"/>
              <a:gd name="connsiteY3" fmla="*/ 2915921 h 2915922"/>
              <a:gd name="connsiteX4" fmla="*/ 7668987 w 8411782"/>
              <a:gd name="connsiteY4" fmla="*/ 2915922 h 2915922"/>
              <a:gd name="connsiteX5" fmla="*/ 0 w 8411782"/>
              <a:gd name="connsiteY5" fmla="*/ 2915921 h 2915922"/>
              <a:gd name="connsiteX6" fmla="*/ 0 w 8411782"/>
              <a:gd name="connsiteY6" fmla="*/ 0 h 2915922"/>
              <a:gd name="connsiteX0" fmla="*/ 0 w 8519559"/>
              <a:gd name="connsiteY0" fmla="*/ 0 h 2915922"/>
              <a:gd name="connsiteX1" fmla="*/ 8411266 w 8519559"/>
              <a:gd name="connsiteY1" fmla="*/ 0 h 2915922"/>
              <a:gd name="connsiteX2" fmla="*/ 8411265 w 8519559"/>
              <a:gd name="connsiteY2" fmla="*/ 2211294 h 2915922"/>
              <a:gd name="connsiteX3" fmla="*/ 7668987 w 8519559"/>
              <a:gd name="connsiteY3" fmla="*/ 2915922 h 2915922"/>
              <a:gd name="connsiteX4" fmla="*/ 0 w 8519559"/>
              <a:gd name="connsiteY4" fmla="*/ 2915921 h 2915922"/>
              <a:gd name="connsiteX5" fmla="*/ 0 w 8519559"/>
              <a:gd name="connsiteY5" fmla="*/ 0 h 2915922"/>
              <a:gd name="connsiteX0" fmla="*/ 0 w 8568374"/>
              <a:gd name="connsiteY0" fmla="*/ 0 h 2915922"/>
              <a:gd name="connsiteX1" fmla="*/ 8411266 w 8568374"/>
              <a:gd name="connsiteY1" fmla="*/ 0 h 2915922"/>
              <a:gd name="connsiteX2" fmla="*/ 8411265 w 8568374"/>
              <a:gd name="connsiteY2" fmla="*/ 2211294 h 2915922"/>
              <a:gd name="connsiteX3" fmla="*/ 7668987 w 8568374"/>
              <a:gd name="connsiteY3" fmla="*/ 2915922 h 2915922"/>
              <a:gd name="connsiteX4" fmla="*/ 0 w 8568374"/>
              <a:gd name="connsiteY4" fmla="*/ 2915921 h 2915922"/>
              <a:gd name="connsiteX5" fmla="*/ 0 w 8568374"/>
              <a:gd name="connsiteY5" fmla="*/ 0 h 2915922"/>
              <a:gd name="connsiteX0" fmla="*/ 0 w 8411782"/>
              <a:gd name="connsiteY0" fmla="*/ 0 h 2915922"/>
              <a:gd name="connsiteX1" fmla="*/ 8411266 w 8411782"/>
              <a:gd name="connsiteY1" fmla="*/ 0 h 2915922"/>
              <a:gd name="connsiteX2" fmla="*/ 8411265 w 8411782"/>
              <a:gd name="connsiteY2" fmla="*/ 2211294 h 2915922"/>
              <a:gd name="connsiteX3" fmla="*/ 7668987 w 8411782"/>
              <a:gd name="connsiteY3" fmla="*/ 2915922 h 2915922"/>
              <a:gd name="connsiteX4" fmla="*/ 0 w 8411782"/>
              <a:gd name="connsiteY4" fmla="*/ 2915921 h 2915922"/>
              <a:gd name="connsiteX5" fmla="*/ 0 w 8411782"/>
              <a:gd name="connsiteY5" fmla="*/ 0 h 2915922"/>
              <a:gd name="connsiteX0" fmla="*/ 0 w 8418465"/>
              <a:gd name="connsiteY0" fmla="*/ 0 h 2915922"/>
              <a:gd name="connsiteX1" fmla="*/ 8411266 w 8418465"/>
              <a:gd name="connsiteY1" fmla="*/ 0 h 2915922"/>
              <a:gd name="connsiteX2" fmla="*/ 8418046 w 8418465"/>
              <a:gd name="connsiteY2" fmla="*/ 2519966 h 2915922"/>
              <a:gd name="connsiteX3" fmla="*/ 7668987 w 8418465"/>
              <a:gd name="connsiteY3" fmla="*/ 2915922 h 2915922"/>
              <a:gd name="connsiteX4" fmla="*/ 0 w 8418465"/>
              <a:gd name="connsiteY4" fmla="*/ 2915921 h 2915922"/>
              <a:gd name="connsiteX5" fmla="*/ 0 w 8418465"/>
              <a:gd name="connsiteY5" fmla="*/ 0 h 2915922"/>
              <a:gd name="connsiteX0" fmla="*/ 0 w 8425205"/>
              <a:gd name="connsiteY0" fmla="*/ 0 h 2915922"/>
              <a:gd name="connsiteX1" fmla="*/ 8411266 w 8425205"/>
              <a:gd name="connsiteY1" fmla="*/ 0 h 2915922"/>
              <a:gd name="connsiteX2" fmla="*/ 8424827 w 8425205"/>
              <a:gd name="connsiteY2" fmla="*/ 2522560 h 2915922"/>
              <a:gd name="connsiteX3" fmla="*/ 7668987 w 8425205"/>
              <a:gd name="connsiteY3" fmla="*/ 2915922 h 2915922"/>
              <a:gd name="connsiteX4" fmla="*/ 0 w 8425205"/>
              <a:gd name="connsiteY4" fmla="*/ 2915921 h 2915922"/>
              <a:gd name="connsiteX5" fmla="*/ 0 w 8425205"/>
              <a:gd name="connsiteY5" fmla="*/ 0 h 2915922"/>
              <a:gd name="connsiteX0" fmla="*/ 0 w 8411783"/>
              <a:gd name="connsiteY0" fmla="*/ 0 h 2915922"/>
              <a:gd name="connsiteX1" fmla="*/ 8411266 w 8411783"/>
              <a:gd name="connsiteY1" fmla="*/ 0 h 2915922"/>
              <a:gd name="connsiteX2" fmla="*/ 8411265 w 8411783"/>
              <a:gd name="connsiteY2" fmla="*/ 2506997 h 2915922"/>
              <a:gd name="connsiteX3" fmla="*/ 7668987 w 8411783"/>
              <a:gd name="connsiteY3" fmla="*/ 2915922 h 2915922"/>
              <a:gd name="connsiteX4" fmla="*/ 0 w 8411783"/>
              <a:gd name="connsiteY4" fmla="*/ 2915921 h 2915922"/>
              <a:gd name="connsiteX5" fmla="*/ 0 w 8411783"/>
              <a:gd name="connsiteY5" fmla="*/ 0 h 2915922"/>
              <a:gd name="connsiteX0" fmla="*/ 0 w 8411781"/>
              <a:gd name="connsiteY0" fmla="*/ 0 h 2918516"/>
              <a:gd name="connsiteX1" fmla="*/ 8411266 w 8411781"/>
              <a:gd name="connsiteY1" fmla="*/ 0 h 2918516"/>
              <a:gd name="connsiteX2" fmla="*/ 8411265 w 8411781"/>
              <a:gd name="connsiteY2" fmla="*/ 2506997 h 2918516"/>
              <a:gd name="connsiteX3" fmla="*/ 7431649 w 8411781"/>
              <a:gd name="connsiteY3" fmla="*/ 2918516 h 2918516"/>
              <a:gd name="connsiteX4" fmla="*/ 0 w 8411781"/>
              <a:gd name="connsiteY4" fmla="*/ 2915921 h 2918516"/>
              <a:gd name="connsiteX5" fmla="*/ 0 w 8411781"/>
              <a:gd name="connsiteY5" fmla="*/ 0 h 2918516"/>
              <a:gd name="connsiteX0" fmla="*/ 0 w 8411783"/>
              <a:gd name="connsiteY0" fmla="*/ 0 h 2921109"/>
              <a:gd name="connsiteX1" fmla="*/ 8411266 w 8411783"/>
              <a:gd name="connsiteY1" fmla="*/ 0 h 2921109"/>
              <a:gd name="connsiteX2" fmla="*/ 8411265 w 8411783"/>
              <a:gd name="connsiteY2" fmla="*/ 2506997 h 2921109"/>
              <a:gd name="connsiteX3" fmla="*/ 7431649 w 8411783"/>
              <a:gd name="connsiteY3" fmla="*/ 2918516 h 2921109"/>
              <a:gd name="connsiteX4" fmla="*/ 0 w 8411783"/>
              <a:gd name="connsiteY4" fmla="*/ 2921109 h 2921109"/>
              <a:gd name="connsiteX5" fmla="*/ 0 w 8411783"/>
              <a:gd name="connsiteY5" fmla="*/ 0 h 2921109"/>
              <a:gd name="connsiteX0" fmla="*/ 0 w 8412159"/>
              <a:gd name="connsiteY0" fmla="*/ 0 h 2921109"/>
              <a:gd name="connsiteX1" fmla="*/ 8411266 w 8412159"/>
              <a:gd name="connsiteY1" fmla="*/ 0 h 2921109"/>
              <a:gd name="connsiteX2" fmla="*/ 8411265 w 8412159"/>
              <a:gd name="connsiteY2" fmla="*/ 2506997 h 2921109"/>
              <a:gd name="connsiteX3" fmla="*/ 7431649 w 8412159"/>
              <a:gd name="connsiteY3" fmla="*/ 2918516 h 2921109"/>
              <a:gd name="connsiteX4" fmla="*/ 0 w 8412159"/>
              <a:gd name="connsiteY4" fmla="*/ 2921109 h 2921109"/>
              <a:gd name="connsiteX5" fmla="*/ 0 w 8412159"/>
              <a:gd name="connsiteY5" fmla="*/ 0 h 2921109"/>
              <a:gd name="connsiteX0" fmla="*/ 13562 w 8412159"/>
              <a:gd name="connsiteY0" fmla="*/ 0 h 2921109"/>
              <a:gd name="connsiteX1" fmla="*/ 8411266 w 8412159"/>
              <a:gd name="connsiteY1" fmla="*/ 0 h 2921109"/>
              <a:gd name="connsiteX2" fmla="*/ 8411265 w 8412159"/>
              <a:gd name="connsiteY2" fmla="*/ 2506997 h 2921109"/>
              <a:gd name="connsiteX3" fmla="*/ 7431649 w 8412159"/>
              <a:gd name="connsiteY3" fmla="*/ 2918516 h 2921109"/>
              <a:gd name="connsiteX4" fmla="*/ 0 w 8412159"/>
              <a:gd name="connsiteY4" fmla="*/ 2921109 h 2921109"/>
              <a:gd name="connsiteX5" fmla="*/ 13562 w 8412159"/>
              <a:gd name="connsiteY5" fmla="*/ 0 h 2921109"/>
              <a:gd name="connsiteX0" fmla="*/ 13562 w 8415929"/>
              <a:gd name="connsiteY0" fmla="*/ 0 h 2922720"/>
              <a:gd name="connsiteX1" fmla="*/ 8411266 w 8415929"/>
              <a:gd name="connsiteY1" fmla="*/ 0 h 2922720"/>
              <a:gd name="connsiteX2" fmla="*/ 8411265 w 8415929"/>
              <a:gd name="connsiteY2" fmla="*/ 2506997 h 2922720"/>
              <a:gd name="connsiteX3" fmla="*/ 7514079 w 8415929"/>
              <a:gd name="connsiteY3" fmla="*/ 2922720 h 2922720"/>
              <a:gd name="connsiteX4" fmla="*/ 0 w 8415929"/>
              <a:gd name="connsiteY4" fmla="*/ 2921109 h 2922720"/>
              <a:gd name="connsiteX5" fmla="*/ 13562 w 8415929"/>
              <a:gd name="connsiteY5" fmla="*/ 0 h 2922720"/>
              <a:gd name="connsiteX0" fmla="*/ 13562 w 8415929"/>
              <a:gd name="connsiteY0" fmla="*/ 0 h 2922720"/>
              <a:gd name="connsiteX1" fmla="*/ 8411266 w 8415929"/>
              <a:gd name="connsiteY1" fmla="*/ 0 h 2922720"/>
              <a:gd name="connsiteX2" fmla="*/ 8411265 w 8415929"/>
              <a:gd name="connsiteY2" fmla="*/ 2481772 h 2922720"/>
              <a:gd name="connsiteX3" fmla="*/ 7514079 w 8415929"/>
              <a:gd name="connsiteY3" fmla="*/ 2922720 h 2922720"/>
              <a:gd name="connsiteX4" fmla="*/ 0 w 8415929"/>
              <a:gd name="connsiteY4" fmla="*/ 2921109 h 2922720"/>
              <a:gd name="connsiteX5" fmla="*/ 13562 w 8415929"/>
              <a:gd name="connsiteY5" fmla="*/ 0 h 2922720"/>
              <a:gd name="connsiteX0" fmla="*/ 13562 w 8414282"/>
              <a:gd name="connsiteY0" fmla="*/ 0 h 2922720"/>
              <a:gd name="connsiteX1" fmla="*/ 8411266 w 8414282"/>
              <a:gd name="connsiteY1" fmla="*/ 0 h 2922720"/>
              <a:gd name="connsiteX2" fmla="*/ 8411265 w 8414282"/>
              <a:gd name="connsiteY2" fmla="*/ 2481772 h 2922720"/>
              <a:gd name="connsiteX3" fmla="*/ 7514079 w 8414282"/>
              <a:gd name="connsiteY3" fmla="*/ 2922720 h 2922720"/>
              <a:gd name="connsiteX4" fmla="*/ 0 w 8414282"/>
              <a:gd name="connsiteY4" fmla="*/ 2921109 h 2922720"/>
              <a:gd name="connsiteX5" fmla="*/ 13562 w 8414282"/>
              <a:gd name="connsiteY5" fmla="*/ 0 h 2922720"/>
              <a:gd name="connsiteX0" fmla="*/ 13562 w 8418988"/>
              <a:gd name="connsiteY0" fmla="*/ 0 h 2926924"/>
              <a:gd name="connsiteX1" fmla="*/ 8411266 w 8418988"/>
              <a:gd name="connsiteY1" fmla="*/ 0 h 2926924"/>
              <a:gd name="connsiteX2" fmla="*/ 8411265 w 8418988"/>
              <a:gd name="connsiteY2" fmla="*/ 2481772 h 2926924"/>
              <a:gd name="connsiteX3" fmla="*/ 7567541 w 8418988"/>
              <a:gd name="connsiteY3" fmla="*/ 2926924 h 2926924"/>
              <a:gd name="connsiteX4" fmla="*/ 0 w 8418988"/>
              <a:gd name="connsiteY4" fmla="*/ 2921109 h 2926924"/>
              <a:gd name="connsiteX5" fmla="*/ 13562 w 8418988"/>
              <a:gd name="connsiteY5" fmla="*/ 0 h 2926924"/>
              <a:gd name="connsiteX0" fmla="*/ 13562 w 8411933"/>
              <a:gd name="connsiteY0" fmla="*/ 0 h 2926924"/>
              <a:gd name="connsiteX1" fmla="*/ 8411266 w 8411933"/>
              <a:gd name="connsiteY1" fmla="*/ 0 h 2926924"/>
              <a:gd name="connsiteX2" fmla="*/ 8411265 w 8411933"/>
              <a:gd name="connsiteY2" fmla="*/ 2481772 h 2926924"/>
              <a:gd name="connsiteX3" fmla="*/ 7567541 w 8411933"/>
              <a:gd name="connsiteY3" fmla="*/ 2926924 h 2926924"/>
              <a:gd name="connsiteX4" fmla="*/ 0 w 8411933"/>
              <a:gd name="connsiteY4" fmla="*/ 2921109 h 2926924"/>
              <a:gd name="connsiteX5" fmla="*/ 13562 w 8411933"/>
              <a:gd name="connsiteY5" fmla="*/ 0 h 2926924"/>
              <a:gd name="connsiteX0" fmla="*/ 2313266 w 8411933"/>
              <a:gd name="connsiteY0" fmla="*/ 0 h 3278300"/>
              <a:gd name="connsiteX1" fmla="*/ 8411266 w 8411933"/>
              <a:gd name="connsiteY1" fmla="*/ 351376 h 3278300"/>
              <a:gd name="connsiteX2" fmla="*/ 8411265 w 8411933"/>
              <a:gd name="connsiteY2" fmla="*/ 2833148 h 3278300"/>
              <a:gd name="connsiteX3" fmla="*/ 7567541 w 8411933"/>
              <a:gd name="connsiteY3" fmla="*/ 3278300 h 3278300"/>
              <a:gd name="connsiteX4" fmla="*/ 0 w 8411933"/>
              <a:gd name="connsiteY4" fmla="*/ 3272485 h 3278300"/>
              <a:gd name="connsiteX5" fmla="*/ 2313266 w 8411933"/>
              <a:gd name="connsiteY5" fmla="*/ 0 h 3278300"/>
              <a:gd name="connsiteX0" fmla="*/ 1267 w 6099934"/>
              <a:gd name="connsiteY0" fmla="*/ 0 h 3278300"/>
              <a:gd name="connsiteX1" fmla="*/ 6099267 w 6099934"/>
              <a:gd name="connsiteY1" fmla="*/ 351376 h 3278300"/>
              <a:gd name="connsiteX2" fmla="*/ 6099266 w 6099934"/>
              <a:gd name="connsiteY2" fmla="*/ 2833148 h 3278300"/>
              <a:gd name="connsiteX3" fmla="*/ 5255542 w 6099934"/>
              <a:gd name="connsiteY3" fmla="*/ 3278300 h 3278300"/>
              <a:gd name="connsiteX4" fmla="*/ 1602 w 6099934"/>
              <a:gd name="connsiteY4" fmla="*/ 3276184 h 3278300"/>
              <a:gd name="connsiteX5" fmla="*/ 1267 w 6099934"/>
              <a:gd name="connsiteY5" fmla="*/ 0 h 3278300"/>
              <a:gd name="connsiteX0" fmla="*/ 1267 w 6099934"/>
              <a:gd name="connsiteY0" fmla="*/ 0 h 3278300"/>
              <a:gd name="connsiteX1" fmla="*/ 6099267 w 6099934"/>
              <a:gd name="connsiteY1" fmla="*/ 3698 h 3278300"/>
              <a:gd name="connsiteX2" fmla="*/ 6099266 w 6099934"/>
              <a:gd name="connsiteY2" fmla="*/ 2833148 h 3278300"/>
              <a:gd name="connsiteX3" fmla="*/ 5255542 w 6099934"/>
              <a:gd name="connsiteY3" fmla="*/ 3278300 h 3278300"/>
              <a:gd name="connsiteX4" fmla="*/ 1602 w 6099934"/>
              <a:gd name="connsiteY4" fmla="*/ 3276184 h 3278300"/>
              <a:gd name="connsiteX5" fmla="*/ 1267 w 6099934"/>
              <a:gd name="connsiteY5" fmla="*/ 0 h 3278300"/>
              <a:gd name="connsiteX0" fmla="*/ -1 w 6098666"/>
              <a:gd name="connsiteY0" fmla="*/ 0 h 3278300"/>
              <a:gd name="connsiteX1" fmla="*/ 6097999 w 6098666"/>
              <a:gd name="connsiteY1" fmla="*/ 3698 h 3278300"/>
              <a:gd name="connsiteX2" fmla="*/ 6097998 w 6098666"/>
              <a:gd name="connsiteY2" fmla="*/ 2833148 h 3278300"/>
              <a:gd name="connsiteX3" fmla="*/ 5254274 w 6098666"/>
              <a:gd name="connsiteY3" fmla="*/ 3278300 h 3278300"/>
              <a:gd name="connsiteX4" fmla="*/ 334 w 6098666"/>
              <a:gd name="connsiteY4" fmla="*/ 3276184 h 3278300"/>
              <a:gd name="connsiteX5" fmla="*/ -1 w 6098666"/>
              <a:gd name="connsiteY5" fmla="*/ 0 h 3278300"/>
              <a:gd name="connsiteX0" fmla="*/ 1 w 6098668"/>
              <a:gd name="connsiteY0" fmla="*/ 0 h 3278300"/>
              <a:gd name="connsiteX1" fmla="*/ 6098001 w 6098668"/>
              <a:gd name="connsiteY1" fmla="*/ 3698 h 3278300"/>
              <a:gd name="connsiteX2" fmla="*/ 6098000 w 6098668"/>
              <a:gd name="connsiteY2" fmla="*/ 2833148 h 3278300"/>
              <a:gd name="connsiteX3" fmla="*/ 5254276 w 6098668"/>
              <a:gd name="connsiteY3" fmla="*/ 3278300 h 3278300"/>
              <a:gd name="connsiteX4" fmla="*/ 336 w 6098668"/>
              <a:gd name="connsiteY4" fmla="*/ 3276184 h 3278300"/>
              <a:gd name="connsiteX5" fmla="*/ 1 w 6098668"/>
              <a:gd name="connsiteY5" fmla="*/ 0 h 3278300"/>
              <a:gd name="connsiteX0" fmla="*/ -1 w 6098666"/>
              <a:gd name="connsiteY0" fmla="*/ 0 h 3278300"/>
              <a:gd name="connsiteX1" fmla="*/ 6097999 w 6098666"/>
              <a:gd name="connsiteY1" fmla="*/ 3698 h 3278300"/>
              <a:gd name="connsiteX2" fmla="*/ 6097998 w 6098666"/>
              <a:gd name="connsiteY2" fmla="*/ 2833148 h 3278300"/>
              <a:gd name="connsiteX3" fmla="*/ 5254274 w 6098666"/>
              <a:gd name="connsiteY3" fmla="*/ 3278300 h 3278300"/>
              <a:gd name="connsiteX4" fmla="*/ 334 w 6098666"/>
              <a:gd name="connsiteY4" fmla="*/ 3276184 h 3278300"/>
              <a:gd name="connsiteX5" fmla="*/ -1 w 6098666"/>
              <a:gd name="connsiteY5" fmla="*/ 0 h 3278300"/>
              <a:gd name="connsiteX0" fmla="*/ 1 w 6098796"/>
              <a:gd name="connsiteY0" fmla="*/ 0 h 3278300"/>
              <a:gd name="connsiteX1" fmla="*/ 6098001 w 6098796"/>
              <a:gd name="connsiteY1" fmla="*/ 3698 h 3278300"/>
              <a:gd name="connsiteX2" fmla="*/ 6098000 w 6098796"/>
              <a:gd name="connsiteY2" fmla="*/ 2833148 h 3278300"/>
              <a:gd name="connsiteX3" fmla="*/ 5254276 w 6098796"/>
              <a:gd name="connsiteY3" fmla="*/ 3278300 h 3278300"/>
              <a:gd name="connsiteX4" fmla="*/ 336 w 6098796"/>
              <a:gd name="connsiteY4" fmla="*/ 3276184 h 3278300"/>
              <a:gd name="connsiteX5" fmla="*/ 1 w 6098796"/>
              <a:gd name="connsiteY5" fmla="*/ 0 h 3278300"/>
              <a:gd name="connsiteX0" fmla="*/ -1 w 6098794"/>
              <a:gd name="connsiteY0" fmla="*/ 0 h 3276184"/>
              <a:gd name="connsiteX1" fmla="*/ 6097999 w 6098794"/>
              <a:gd name="connsiteY1" fmla="*/ 3698 h 3276184"/>
              <a:gd name="connsiteX2" fmla="*/ 6097998 w 6098794"/>
              <a:gd name="connsiteY2" fmla="*/ 2833148 h 3276184"/>
              <a:gd name="connsiteX3" fmla="*/ 3259278 w 6098794"/>
              <a:gd name="connsiteY3" fmla="*/ 3273473 h 3276184"/>
              <a:gd name="connsiteX4" fmla="*/ 334 w 6098794"/>
              <a:gd name="connsiteY4" fmla="*/ 3276184 h 3276184"/>
              <a:gd name="connsiteX5" fmla="*/ -1 w 6098794"/>
              <a:gd name="connsiteY5" fmla="*/ 0 h 3276184"/>
              <a:gd name="connsiteX0" fmla="*/ 1 w 6098000"/>
              <a:gd name="connsiteY0" fmla="*/ 0 h 3276184"/>
              <a:gd name="connsiteX1" fmla="*/ 6098001 w 6098000"/>
              <a:gd name="connsiteY1" fmla="*/ 3698 h 3276184"/>
              <a:gd name="connsiteX2" fmla="*/ 6079864 w 6098000"/>
              <a:gd name="connsiteY2" fmla="*/ 2529014 h 3276184"/>
              <a:gd name="connsiteX3" fmla="*/ 3259280 w 6098000"/>
              <a:gd name="connsiteY3" fmla="*/ 3273473 h 3276184"/>
              <a:gd name="connsiteX4" fmla="*/ 336 w 6098000"/>
              <a:gd name="connsiteY4" fmla="*/ 3276184 h 3276184"/>
              <a:gd name="connsiteX5" fmla="*/ 1 w 6098000"/>
              <a:gd name="connsiteY5" fmla="*/ 0 h 3276184"/>
              <a:gd name="connsiteX0" fmla="*/ 8737 w 6106737"/>
              <a:gd name="connsiteY0" fmla="*/ 0 h 3273473"/>
              <a:gd name="connsiteX1" fmla="*/ 6106737 w 6106737"/>
              <a:gd name="connsiteY1" fmla="*/ 3698 h 3273473"/>
              <a:gd name="connsiteX2" fmla="*/ 6088600 w 6106737"/>
              <a:gd name="connsiteY2" fmla="*/ 2529014 h 3273473"/>
              <a:gd name="connsiteX3" fmla="*/ 3268016 w 6106737"/>
              <a:gd name="connsiteY3" fmla="*/ 3273473 h 3273473"/>
              <a:gd name="connsiteX4" fmla="*/ 3 w 6106737"/>
              <a:gd name="connsiteY4" fmla="*/ 2329989 h 3273473"/>
              <a:gd name="connsiteX5" fmla="*/ 8737 w 6106737"/>
              <a:gd name="connsiteY5" fmla="*/ 0 h 3273473"/>
              <a:gd name="connsiteX0" fmla="*/ 335189 w 6106735"/>
              <a:gd name="connsiteY0" fmla="*/ 454917 h 3269775"/>
              <a:gd name="connsiteX1" fmla="*/ 6106735 w 6106735"/>
              <a:gd name="connsiteY1" fmla="*/ 0 h 3269775"/>
              <a:gd name="connsiteX2" fmla="*/ 6088598 w 6106735"/>
              <a:gd name="connsiteY2" fmla="*/ 2525316 h 3269775"/>
              <a:gd name="connsiteX3" fmla="*/ 3268014 w 6106735"/>
              <a:gd name="connsiteY3" fmla="*/ 3269775 h 3269775"/>
              <a:gd name="connsiteX4" fmla="*/ 1 w 6106735"/>
              <a:gd name="connsiteY4" fmla="*/ 2326291 h 3269775"/>
              <a:gd name="connsiteX5" fmla="*/ 335189 w 6106735"/>
              <a:gd name="connsiteY5" fmla="*/ 454917 h 3269775"/>
              <a:gd name="connsiteX0" fmla="*/ 335189 w 6106735"/>
              <a:gd name="connsiteY0" fmla="*/ 454917 h 3269775"/>
              <a:gd name="connsiteX1" fmla="*/ 3432891 w 6106735"/>
              <a:gd name="connsiteY1" fmla="*/ 205873 h 3269775"/>
              <a:gd name="connsiteX2" fmla="*/ 6106735 w 6106735"/>
              <a:gd name="connsiteY2" fmla="*/ 0 h 3269775"/>
              <a:gd name="connsiteX3" fmla="*/ 6088598 w 6106735"/>
              <a:gd name="connsiteY3" fmla="*/ 2525316 h 3269775"/>
              <a:gd name="connsiteX4" fmla="*/ 3268014 w 6106735"/>
              <a:gd name="connsiteY4" fmla="*/ 3269775 h 3269775"/>
              <a:gd name="connsiteX5" fmla="*/ 1 w 6106735"/>
              <a:gd name="connsiteY5" fmla="*/ 2326291 h 3269775"/>
              <a:gd name="connsiteX6" fmla="*/ 335189 w 6106735"/>
              <a:gd name="connsiteY6" fmla="*/ 454917 h 3269775"/>
              <a:gd name="connsiteX0" fmla="*/ 335189 w 6106735"/>
              <a:gd name="connsiteY0" fmla="*/ 454917 h 3269775"/>
              <a:gd name="connsiteX1" fmla="*/ 3260597 w 6106735"/>
              <a:gd name="connsiteY1" fmla="*/ 22428 h 3269775"/>
              <a:gd name="connsiteX2" fmla="*/ 6106735 w 6106735"/>
              <a:gd name="connsiteY2" fmla="*/ 0 h 3269775"/>
              <a:gd name="connsiteX3" fmla="*/ 6088598 w 6106735"/>
              <a:gd name="connsiteY3" fmla="*/ 2525316 h 3269775"/>
              <a:gd name="connsiteX4" fmla="*/ 3268014 w 6106735"/>
              <a:gd name="connsiteY4" fmla="*/ 3269775 h 3269775"/>
              <a:gd name="connsiteX5" fmla="*/ 1 w 6106735"/>
              <a:gd name="connsiteY5" fmla="*/ 2326291 h 3269775"/>
              <a:gd name="connsiteX6" fmla="*/ 335189 w 6106735"/>
              <a:gd name="connsiteY6" fmla="*/ 454917 h 3269775"/>
              <a:gd name="connsiteX0" fmla="*/ 335189 w 6124871"/>
              <a:gd name="connsiteY0" fmla="*/ 432489 h 3247347"/>
              <a:gd name="connsiteX1" fmla="*/ 3260597 w 6124871"/>
              <a:gd name="connsiteY1" fmla="*/ 0 h 3247347"/>
              <a:gd name="connsiteX2" fmla="*/ 6124871 w 6124871"/>
              <a:gd name="connsiteY2" fmla="*/ 281705 h 3247347"/>
              <a:gd name="connsiteX3" fmla="*/ 6088598 w 6124871"/>
              <a:gd name="connsiteY3" fmla="*/ 2502888 h 3247347"/>
              <a:gd name="connsiteX4" fmla="*/ 3268014 w 6124871"/>
              <a:gd name="connsiteY4" fmla="*/ 3247347 h 3247347"/>
              <a:gd name="connsiteX5" fmla="*/ 1 w 6124871"/>
              <a:gd name="connsiteY5" fmla="*/ 2303863 h 3247347"/>
              <a:gd name="connsiteX6" fmla="*/ 335189 w 6124871"/>
              <a:gd name="connsiteY6" fmla="*/ 432489 h 3247347"/>
              <a:gd name="connsiteX0" fmla="*/ 618041 w 6407723"/>
              <a:gd name="connsiteY0" fmla="*/ 432489 h 3247347"/>
              <a:gd name="connsiteX1" fmla="*/ 3543449 w 6407723"/>
              <a:gd name="connsiteY1" fmla="*/ 0 h 3247347"/>
              <a:gd name="connsiteX2" fmla="*/ 6407723 w 6407723"/>
              <a:gd name="connsiteY2" fmla="*/ 281705 h 3247347"/>
              <a:gd name="connsiteX3" fmla="*/ 6371450 w 6407723"/>
              <a:gd name="connsiteY3" fmla="*/ 2502888 h 3247347"/>
              <a:gd name="connsiteX4" fmla="*/ 3550866 w 6407723"/>
              <a:gd name="connsiteY4" fmla="*/ 3247347 h 3247347"/>
              <a:gd name="connsiteX5" fmla="*/ 282853 w 6407723"/>
              <a:gd name="connsiteY5" fmla="*/ 2303863 h 3247347"/>
              <a:gd name="connsiteX6" fmla="*/ 618041 w 6407723"/>
              <a:gd name="connsiteY6" fmla="*/ 432489 h 3247347"/>
              <a:gd name="connsiteX0" fmla="*/ 512943 w 6302625"/>
              <a:gd name="connsiteY0" fmla="*/ 432489 h 3247347"/>
              <a:gd name="connsiteX1" fmla="*/ 3438351 w 6302625"/>
              <a:gd name="connsiteY1" fmla="*/ 0 h 3247347"/>
              <a:gd name="connsiteX2" fmla="*/ 6302625 w 6302625"/>
              <a:gd name="connsiteY2" fmla="*/ 281705 h 3247347"/>
              <a:gd name="connsiteX3" fmla="*/ 6266352 w 6302625"/>
              <a:gd name="connsiteY3" fmla="*/ 2502888 h 3247347"/>
              <a:gd name="connsiteX4" fmla="*/ 3445768 w 6302625"/>
              <a:gd name="connsiteY4" fmla="*/ 3247347 h 3247347"/>
              <a:gd name="connsiteX5" fmla="*/ 177755 w 6302625"/>
              <a:gd name="connsiteY5" fmla="*/ 2303863 h 3247347"/>
              <a:gd name="connsiteX6" fmla="*/ 512943 w 6302625"/>
              <a:gd name="connsiteY6" fmla="*/ 432489 h 3247347"/>
              <a:gd name="connsiteX0" fmla="*/ 512943 w 6302625"/>
              <a:gd name="connsiteY0" fmla="*/ 432489 h 3283326"/>
              <a:gd name="connsiteX1" fmla="*/ 3438351 w 6302625"/>
              <a:gd name="connsiteY1" fmla="*/ 0 h 3283326"/>
              <a:gd name="connsiteX2" fmla="*/ 6302625 w 6302625"/>
              <a:gd name="connsiteY2" fmla="*/ 281705 h 3283326"/>
              <a:gd name="connsiteX3" fmla="*/ 6266352 w 6302625"/>
              <a:gd name="connsiteY3" fmla="*/ 2502888 h 3283326"/>
              <a:gd name="connsiteX4" fmla="*/ 3445768 w 6302625"/>
              <a:gd name="connsiteY4" fmla="*/ 3247347 h 3283326"/>
              <a:gd name="connsiteX5" fmla="*/ 177755 w 6302625"/>
              <a:gd name="connsiteY5" fmla="*/ 2303863 h 3283326"/>
              <a:gd name="connsiteX6" fmla="*/ 512943 w 6302625"/>
              <a:gd name="connsiteY6" fmla="*/ 432489 h 3283326"/>
              <a:gd name="connsiteX0" fmla="*/ 512943 w 6302625"/>
              <a:gd name="connsiteY0" fmla="*/ 432489 h 3283326"/>
              <a:gd name="connsiteX1" fmla="*/ 3438351 w 6302625"/>
              <a:gd name="connsiteY1" fmla="*/ 0 h 3283326"/>
              <a:gd name="connsiteX2" fmla="*/ 6302625 w 6302625"/>
              <a:gd name="connsiteY2" fmla="*/ 281705 h 3283326"/>
              <a:gd name="connsiteX3" fmla="*/ 6266352 w 6302625"/>
              <a:gd name="connsiteY3" fmla="*/ 2502888 h 3283326"/>
              <a:gd name="connsiteX4" fmla="*/ 3445768 w 6302625"/>
              <a:gd name="connsiteY4" fmla="*/ 3247347 h 3283326"/>
              <a:gd name="connsiteX5" fmla="*/ 177755 w 6302625"/>
              <a:gd name="connsiteY5" fmla="*/ 2303863 h 3283326"/>
              <a:gd name="connsiteX6" fmla="*/ 512943 w 6302625"/>
              <a:gd name="connsiteY6" fmla="*/ 432489 h 3283326"/>
              <a:gd name="connsiteX0" fmla="*/ 512943 w 6424948"/>
              <a:gd name="connsiteY0" fmla="*/ 432489 h 3283326"/>
              <a:gd name="connsiteX1" fmla="*/ 3438351 w 6424948"/>
              <a:gd name="connsiteY1" fmla="*/ 0 h 3283326"/>
              <a:gd name="connsiteX2" fmla="*/ 6302625 w 6424948"/>
              <a:gd name="connsiteY2" fmla="*/ 281705 h 3283326"/>
              <a:gd name="connsiteX3" fmla="*/ 6266352 w 6424948"/>
              <a:gd name="connsiteY3" fmla="*/ 2502888 h 3283326"/>
              <a:gd name="connsiteX4" fmla="*/ 3445768 w 6424948"/>
              <a:gd name="connsiteY4" fmla="*/ 3247347 h 3283326"/>
              <a:gd name="connsiteX5" fmla="*/ 177755 w 6424948"/>
              <a:gd name="connsiteY5" fmla="*/ 2303863 h 3283326"/>
              <a:gd name="connsiteX6" fmla="*/ 512943 w 642494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47782"/>
              <a:gd name="connsiteX1" fmla="*/ 3438351 w 6506888"/>
              <a:gd name="connsiteY1" fmla="*/ 0 h 3247782"/>
              <a:gd name="connsiteX2" fmla="*/ 6302625 w 6506888"/>
              <a:gd name="connsiteY2" fmla="*/ 281705 h 3247782"/>
              <a:gd name="connsiteX3" fmla="*/ 6266352 w 6506888"/>
              <a:gd name="connsiteY3" fmla="*/ 2502888 h 3247782"/>
              <a:gd name="connsiteX4" fmla="*/ 3445768 w 6506888"/>
              <a:gd name="connsiteY4" fmla="*/ 3247347 h 3247782"/>
              <a:gd name="connsiteX5" fmla="*/ 177755 w 6506888"/>
              <a:gd name="connsiteY5" fmla="*/ 2303863 h 3247782"/>
              <a:gd name="connsiteX6" fmla="*/ 512943 w 6506888"/>
              <a:gd name="connsiteY6" fmla="*/ 432489 h 3247782"/>
              <a:gd name="connsiteX0" fmla="*/ 512943 w 6640245"/>
              <a:gd name="connsiteY0" fmla="*/ 464431 h 3279724"/>
              <a:gd name="connsiteX1" fmla="*/ 3438351 w 6640245"/>
              <a:gd name="connsiteY1" fmla="*/ 31942 h 3279724"/>
              <a:gd name="connsiteX2" fmla="*/ 6302625 w 6640245"/>
              <a:gd name="connsiteY2" fmla="*/ 313647 h 3279724"/>
              <a:gd name="connsiteX3" fmla="*/ 6266352 w 6640245"/>
              <a:gd name="connsiteY3" fmla="*/ 2534830 h 3279724"/>
              <a:gd name="connsiteX4" fmla="*/ 3445768 w 6640245"/>
              <a:gd name="connsiteY4" fmla="*/ 3279289 h 3279724"/>
              <a:gd name="connsiteX5" fmla="*/ 177755 w 6640245"/>
              <a:gd name="connsiteY5" fmla="*/ 2335805 h 3279724"/>
              <a:gd name="connsiteX6" fmla="*/ 512943 w 6640245"/>
              <a:gd name="connsiteY6" fmla="*/ 464431 h 3279724"/>
              <a:gd name="connsiteX0" fmla="*/ 512943 w 6640245"/>
              <a:gd name="connsiteY0" fmla="*/ 435033 h 3250326"/>
              <a:gd name="connsiteX1" fmla="*/ 3438351 w 6640245"/>
              <a:gd name="connsiteY1" fmla="*/ 2544 h 3250326"/>
              <a:gd name="connsiteX2" fmla="*/ 6302625 w 6640245"/>
              <a:gd name="connsiteY2" fmla="*/ 284249 h 3250326"/>
              <a:gd name="connsiteX3" fmla="*/ 6266352 w 6640245"/>
              <a:gd name="connsiteY3" fmla="*/ 2505432 h 3250326"/>
              <a:gd name="connsiteX4" fmla="*/ 3445768 w 6640245"/>
              <a:gd name="connsiteY4" fmla="*/ 3249891 h 3250326"/>
              <a:gd name="connsiteX5" fmla="*/ 177755 w 6640245"/>
              <a:gd name="connsiteY5" fmla="*/ 2306407 h 3250326"/>
              <a:gd name="connsiteX6" fmla="*/ 512943 w 6640245"/>
              <a:gd name="connsiteY6" fmla="*/ 435033 h 3250326"/>
              <a:gd name="connsiteX0" fmla="*/ 512943 w 6481361"/>
              <a:gd name="connsiteY0" fmla="*/ 435033 h 3250326"/>
              <a:gd name="connsiteX1" fmla="*/ 3438351 w 6481361"/>
              <a:gd name="connsiteY1" fmla="*/ 2544 h 3250326"/>
              <a:gd name="connsiteX2" fmla="*/ 6302625 w 6481361"/>
              <a:gd name="connsiteY2" fmla="*/ 284249 h 3250326"/>
              <a:gd name="connsiteX3" fmla="*/ 6266352 w 6481361"/>
              <a:gd name="connsiteY3" fmla="*/ 2505432 h 3250326"/>
              <a:gd name="connsiteX4" fmla="*/ 3445768 w 6481361"/>
              <a:gd name="connsiteY4" fmla="*/ 3249891 h 3250326"/>
              <a:gd name="connsiteX5" fmla="*/ 177755 w 6481361"/>
              <a:gd name="connsiteY5" fmla="*/ 2306407 h 3250326"/>
              <a:gd name="connsiteX6" fmla="*/ 512943 w 6481361"/>
              <a:gd name="connsiteY6" fmla="*/ 435033 h 3250326"/>
              <a:gd name="connsiteX0" fmla="*/ 512943 w 6481363"/>
              <a:gd name="connsiteY0" fmla="*/ 435033 h 3250326"/>
              <a:gd name="connsiteX1" fmla="*/ 3438351 w 6481363"/>
              <a:gd name="connsiteY1" fmla="*/ 2544 h 3250326"/>
              <a:gd name="connsiteX2" fmla="*/ 6302625 w 6481363"/>
              <a:gd name="connsiteY2" fmla="*/ 284249 h 3250326"/>
              <a:gd name="connsiteX3" fmla="*/ 6266352 w 6481363"/>
              <a:gd name="connsiteY3" fmla="*/ 2505432 h 3250326"/>
              <a:gd name="connsiteX4" fmla="*/ 3445768 w 6481363"/>
              <a:gd name="connsiteY4" fmla="*/ 3249891 h 3250326"/>
              <a:gd name="connsiteX5" fmla="*/ 177755 w 6481363"/>
              <a:gd name="connsiteY5" fmla="*/ 2306407 h 3250326"/>
              <a:gd name="connsiteX6" fmla="*/ 512943 w 6481363"/>
              <a:gd name="connsiteY6" fmla="*/ 435033 h 3250326"/>
              <a:gd name="connsiteX0" fmla="*/ 512943 w 6481361"/>
              <a:gd name="connsiteY0" fmla="*/ 434187 h 3249480"/>
              <a:gd name="connsiteX1" fmla="*/ 3438351 w 6481361"/>
              <a:gd name="connsiteY1" fmla="*/ 1698 h 3249480"/>
              <a:gd name="connsiteX2" fmla="*/ 6302625 w 6481361"/>
              <a:gd name="connsiteY2" fmla="*/ 283403 h 3249480"/>
              <a:gd name="connsiteX3" fmla="*/ 6266352 w 6481361"/>
              <a:gd name="connsiteY3" fmla="*/ 2504586 h 3249480"/>
              <a:gd name="connsiteX4" fmla="*/ 3445768 w 6481361"/>
              <a:gd name="connsiteY4" fmla="*/ 3249045 h 3249480"/>
              <a:gd name="connsiteX5" fmla="*/ 177755 w 6481361"/>
              <a:gd name="connsiteY5" fmla="*/ 2305561 h 3249480"/>
              <a:gd name="connsiteX6" fmla="*/ 512943 w 6481361"/>
              <a:gd name="connsiteY6" fmla="*/ 434187 h 3249480"/>
              <a:gd name="connsiteX0" fmla="*/ 512943 w 6481363"/>
              <a:gd name="connsiteY0" fmla="*/ 435032 h 3250325"/>
              <a:gd name="connsiteX1" fmla="*/ 3438351 w 6481363"/>
              <a:gd name="connsiteY1" fmla="*/ 2543 h 3250325"/>
              <a:gd name="connsiteX2" fmla="*/ 6302625 w 6481363"/>
              <a:gd name="connsiteY2" fmla="*/ 284248 h 3250325"/>
              <a:gd name="connsiteX3" fmla="*/ 6266352 w 6481363"/>
              <a:gd name="connsiteY3" fmla="*/ 2505431 h 3250325"/>
              <a:gd name="connsiteX4" fmla="*/ 3445768 w 6481363"/>
              <a:gd name="connsiteY4" fmla="*/ 3249890 h 3250325"/>
              <a:gd name="connsiteX5" fmla="*/ 177755 w 6481363"/>
              <a:gd name="connsiteY5" fmla="*/ 2306406 h 3250325"/>
              <a:gd name="connsiteX6" fmla="*/ 512943 w 6481363"/>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356750 w 6146432"/>
              <a:gd name="connsiteY0" fmla="*/ 435032 h 3250325"/>
              <a:gd name="connsiteX1" fmla="*/ 3282158 w 6146432"/>
              <a:gd name="connsiteY1" fmla="*/ 2543 h 3250325"/>
              <a:gd name="connsiteX2" fmla="*/ 6146432 w 6146432"/>
              <a:gd name="connsiteY2" fmla="*/ 284248 h 3250325"/>
              <a:gd name="connsiteX3" fmla="*/ 6110159 w 6146432"/>
              <a:gd name="connsiteY3" fmla="*/ 2505431 h 3250325"/>
              <a:gd name="connsiteX4" fmla="*/ 3289575 w 6146432"/>
              <a:gd name="connsiteY4" fmla="*/ 3249890 h 3250325"/>
              <a:gd name="connsiteX5" fmla="*/ 21562 w 6146432"/>
              <a:gd name="connsiteY5" fmla="*/ 2306406 h 3250325"/>
              <a:gd name="connsiteX6" fmla="*/ 356750 w 6146432"/>
              <a:gd name="connsiteY6" fmla="*/ 435032 h 3250325"/>
              <a:gd name="connsiteX0" fmla="*/ 335225 w 6124907"/>
              <a:gd name="connsiteY0" fmla="*/ 435032 h 3250325"/>
              <a:gd name="connsiteX1" fmla="*/ 3260633 w 6124907"/>
              <a:gd name="connsiteY1" fmla="*/ 2543 h 3250325"/>
              <a:gd name="connsiteX2" fmla="*/ 6124907 w 6124907"/>
              <a:gd name="connsiteY2" fmla="*/ 284248 h 3250325"/>
              <a:gd name="connsiteX3" fmla="*/ 6088634 w 6124907"/>
              <a:gd name="connsiteY3" fmla="*/ 2505431 h 3250325"/>
              <a:gd name="connsiteX4" fmla="*/ 3268050 w 6124907"/>
              <a:gd name="connsiteY4" fmla="*/ 3249890 h 3250325"/>
              <a:gd name="connsiteX5" fmla="*/ 37 w 6124907"/>
              <a:gd name="connsiteY5" fmla="*/ 2306406 h 3250325"/>
              <a:gd name="connsiteX6" fmla="*/ 335225 w 6124907"/>
              <a:gd name="connsiteY6" fmla="*/ 435032 h 3250325"/>
              <a:gd name="connsiteX0" fmla="*/ 335225 w 6124907"/>
              <a:gd name="connsiteY0" fmla="*/ 515501 h 3330794"/>
              <a:gd name="connsiteX1" fmla="*/ 3260633 w 6124907"/>
              <a:gd name="connsiteY1" fmla="*/ 83012 h 3330794"/>
              <a:gd name="connsiteX2" fmla="*/ 6124907 w 6124907"/>
              <a:gd name="connsiteY2" fmla="*/ 364717 h 3330794"/>
              <a:gd name="connsiteX3" fmla="*/ 6088634 w 6124907"/>
              <a:gd name="connsiteY3" fmla="*/ 2585900 h 3330794"/>
              <a:gd name="connsiteX4" fmla="*/ 3268050 w 6124907"/>
              <a:gd name="connsiteY4" fmla="*/ 3330359 h 3330794"/>
              <a:gd name="connsiteX5" fmla="*/ 37 w 6124907"/>
              <a:gd name="connsiteY5" fmla="*/ 2386875 h 3330794"/>
              <a:gd name="connsiteX6" fmla="*/ 335225 w 6124907"/>
              <a:gd name="connsiteY6" fmla="*/ 515501 h 3330794"/>
              <a:gd name="connsiteX0" fmla="*/ 335225 w 6124907"/>
              <a:gd name="connsiteY0" fmla="*/ 432489 h 3247782"/>
              <a:gd name="connsiteX1" fmla="*/ 3260633 w 6124907"/>
              <a:gd name="connsiteY1" fmla="*/ 0 h 3247782"/>
              <a:gd name="connsiteX2" fmla="*/ 6124907 w 6124907"/>
              <a:gd name="connsiteY2" fmla="*/ 281705 h 3247782"/>
              <a:gd name="connsiteX3" fmla="*/ 6088634 w 6124907"/>
              <a:gd name="connsiteY3" fmla="*/ 2502888 h 3247782"/>
              <a:gd name="connsiteX4" fmla="*/ 3268050 w 6124907"/>
              <a:gd name="connsiteY4" fmla="*/ 3247347 h 3247782"/>
              <a:gd name="connsiteX5" fmla="*/ 37 w 6124907"/>
              <a:gd name="connsiteY5" fmla="*/ 2303863 h 3247782"/>
              <a:gd name="connsiteX6" fmla="*/ 335225 w 6124907"/>
              <a:gd name="connsiteY6" fmla="*/ 432489 h 3247782"/>
              <a:gd name="connsiteX0" fmla="*/ 335225 w 6223855"/>
              <a:gd name="connsiteY0" fmla="*/ 434186 h 3249479"/>
              <a:gd name="connsiteX1" fmla="*/ 3260633 w 6223855"/>
              <a:gd name="connsiteY1" fmla="*/ 1697 h 3249479"/>
              <a:gd name="connsiteX2" fmla="*/ 6124907 w 6223855"/>
              <a:gd name="connsiteY2" fmla="*/ 283402 h 3249479"/>
              <a:gd name="connsiteX3" fmla="*/ 6088634 w 6223855"/>
              <a:gd name="connsiteY3" fmla="*/ 2504585 h 3249479"/>
              <a:gd name="connsiteX4" fmla="*/ 3268050 w 6223855"/>
              <a:gd name="connsiteY4" fmla="*/ 3249044 h 3249479"/>
              <a:gd name="connsiteX5" fmla="*/ 37 w 6223855"/>
              <a:gd name="connsiteY5" fmla="*/ 2305560 h 3249479"/>
              <a:gd name="connsiteX6" fmla="*/ 335225 w 6223855"/>
              <a:gd name="connsiteY6" fmla="*/ 434186 h 3249479"/>
              <a:gd name="connsiteX0" fmla="*/ 335225 w 6124907"/>
              <a:gd name="connsiteY0" fmla="*/ 435032 h 3250325"/>
              <a:gd name="connsiteX1" fmla="*/ 3260633 w 6124907"/>
              <a:gd name="connsiteY1" fmla="*/ 2543 h 3250325"/>
              <a:gd name="connsiteX2" fmla="*/ 6124907 w 6124907"/>
              <a:gd name="connsiteY2" fmla="*/ 284248 h 3250325"/>
              <a:gd name="connsiteX3" fmla="*/ 6088634 w 6124907"/>
              <a:gd name="connsiteY3" fmla="*/ 2505431 h 3250325"/>
              <a:gd name="connsiteX4" fmla="*/ 3268050 w 6124907"/>
              <a:gd name="connsiteY4" fmla="*/ 3249890 h 3250325"/>
              <a:gd name="connsiteX5" fmla="*/ 37 w 6124907"/>
              <a:gd name="connsiteY5" fmla="*/ 2306406 h 3250325"/>
              <a:gd name="connsiteX6" fmla="*/ 335225 w 6124907"/>
              <a:gd name="connsiteY6" fmla="*/ 435032 h 3250325"/>
              <a:gd name="connsiteX0" fmla="*/ 335225 w 6124907"/>
              <a:gd name="connsiteY0" fmla="*/ 515501 h 3330794"/>
              <a:gd name="connsiteX1" fmla="*/ 3260633 w 6124907"/>
              <a:gd name="connsiteY1" fmla="*/ 83012 h 3330794"/>
              <a:gd name="connsiteX2" fmla="*/ 6124907 w 6124907"/>
              <a:gd name="connsiteY2" fmla="*/ 364717 h 3330794"/>
              <a:gd name="connsiteX3" fmla="*/ 6088634 w 6124907"/>
              <a:gd name="connsiteY3" fmla="*/ 2585900 h 3330794"/>
              <a:gd name="connsiteX4" fmla="*/ 3268050 w 6124907"/>
              <a:gd name="connsiteY4" fmla="*/ 3330359 h 3330794"/>
              <a:gd name="connsiteX5" fmla="*/ 37 w 6124907"/>
              <a:gd name="connsiteY5" fmla="*/ 2386875 h 3330794"/>
              <a:gd name="connsiteX6" fmla="*/ 335225 w 6124907"/>
              <a:gd name="connsiteY6" fmla="*/ 515501 h 3330794"/>
              <a:gd name="connsiteX0" fmla="*/ 335225 w 6124907"/>
              <a:gd name="connsiteY0" fmla="*/ 432489 h 3247782"/>
              <a:gd name="connsiteX1" fmla="*/ 3260633 w 6124907"/>
              <a:gd name="connsiteY1" fmla="*/ 0 h 3247782"/>
              <a:gd name="connsiteX2" fmla="*/ 6124907 w 6124907"/>
              <a:gd name="connsiteY2" fmla="*/ 281705 h 3247782"/>
              <a:gd name="connsiteX3" fmla="*/ 6088634 w 6124907"/>
              <a:gd name="connsiteY3" fmla="*/ 2502888 h 3247782"/>
              <a:gd name="connsiteX4" fmla="*/ 3268050 w 6124907"/>
              <a:gd name="connsiteY4" fmla="*/ 3247347 h 3247782"/>
              <a:gd name="connsiteX5" fmla="*/ 37 w 6124907"/>
              <a:gd name="connsiteY5" fmla="*/ 2303863 h 3247782"/>
              <a:gd name="connsiteX6" fmla="*/ 335225 w 6124907"/>
              <a:gd name="connsiteY6" fmla="*/ 432489 h 3247782"/>
              <a:gd name="connsiteX0" fmla="*/ 335225 w 6223855"/>
              <a:gd name="connsiteY0" fmla="*/ 434186 h 3249479"/>
              <a:gd name="connsiteX1" fmla="*/ 3260633 w 6223855"/>
              <a:gd name="connsiteY1" fmla="*/ 1697 h 3249479"/>
              <a:gd name="connsiteX2" fmla="*/ 6124907 w 6223855"/>
              <a:gd name="connsiteY2" fmla="*/ 283402 h 3249479"/>
              <a:gd name="connsiteX3" fmla="*/ 6088634 w 6223855"/>
              <a:gd name="connsiteY3" fmla="*/ 2504585 h 3249479"/>
              <a:gd name="connsiteX4" fmla="*/ 3268050 w 6223855"/>
              <a:gd name="connsiteY4" fmla="*/ 3249044 h 3249479"/>
              <a:gd name="connsiteX5" fmla="*/ 37 w 6223855"/>
              <a:gd name="connsiteY5" fmla="*/ 2305560 h 3249479"/>
              <a:gd name="connsiteX6" fmla="*/ 335225 w 6223855"/>
              <a:gd name="connsiteY6" fmla="*/ 434186 h 3249479"/>
              <a:gd name="connsiteX0" fmla="*/ 335225 w 6124907"/>
              <a:gd name="connsiteY0" fmla="*/ 435032 h 3250325"/>
              <a:gd name="connsiteX1" fmla="*/ 3260633 w 6124907"/>
              <a:gd name="connsiteY1" fmla="*/ 2543 h 3250325"/>
              <a:gd name="connsiteX2" fmla="*/ 6124907 w 6124907"/>
              <a:gd name="connsiteY2" fmla="*/ 284248 h 3250325"/>
              <a:gd name="connsiteX3" fmla="*/ 6088634 w 6124907"/>
              <a:gd name="connsiteY3" fmla="*/ 2505431 h 3250325"/>
              <a:gd name="connsiteX4" fmla="*/ 3268050 w 6124907"/>
              <a:gd name="connsiteY4" fmla="*/ 3249890 h 3250325"/>
              <a:gd name="connsiteX5" fmla="*/ 37 w 6124907"/>
              <a:gd name="connsiteY5" fmla="*/ 2306406 h 3250325"/>
              <a:gd name="connsiteX6" fmla="*/ 335225 w 6124907"/>
              <a:gd name="connsiteY6" fmla="*/ 435032 h 3250325"/>
              <a:gd name="connsiteX0" fmla="*/ 335225 w 6124907"/>
              <a:gd name="connsiteY0" fmla="*/ 434001 h 3249294"/>
              <a:gd name="connsiteX1" fmla="*/ 3260633 w 6124907"/>
              <a:gd name="connsiteY1" fmla="*/ 1512 h 3249294"/>
              <a:gd name="connsiteX2" fmla="*/ 6124907 w 6124907"/>
              <a:gd name="connsiteY2" fmla="*/ 283217 h 3249294"/>
              <a:gd name="connsiteX3" fmla="*/ 6088634 w 6124907"/>
              <a:gd name="connsiteY3" fmla="*/ 2504400 h 3249294"/>
              <a:gd name="connsiteX4" fmla="*/ 3268050 w 6124907"/>
              <a:gd name="connsiteY4" fmla="*/ 3248859 h 3249294"/>
              <a:gd name="connsiteX5" fmla="*/ 37 w 6124907"/>
              <a:gd name="connsiteY5" fmla="*/ 2305375 h 3249294"/>
              <a:gd name="connsiteX6" fmla="*/ 335225 w 6124907"/>
              <a:gd name="connsiteY6" fmla="*/ 434001 h 3249294"/>
              <a:gd name="connsiteX0" fmla="*/ 335225 w 6124907"/>
              <a:gd name="connsiteY0" fmla="*/ 432489 h 3247782"/>
              <a:gd name="connsiteX1" fmla="*/ 3260633 w 6124907"/>
              <a:gd name="connsiteY1" fmla="*/ 0 h 3247782"/>
              <a:gd name="connsiteX2" fmla="*/ 6124907 w 6124907"/>
              <a:gd name="connsiteY2" fmla="*/ 281705 h 3247782"/>
              <a:gd name="connsiteX3" fmla="*/ 6088634 w 6124907"/>
              <a:gd name="connsiteY3" fmla="*/ 2502888 h 3247782"/>
              <a:gd name="connsiteX4" fmla="*/ 3268050 w 6124907"/>
              <a:gd name="connsiteY4" fmla="*/ 3247347 h 3247782"/>
              <a:gd name="connsiteX5" fmla="*/ 37 w 6124907"/>
              <a:gd name="connsiteY5" fmla="*/ 2303863 h 3247782"/>
              <a:gd name="connsiteX6" fmla="*/ 335225 w 6124907"/>
              <a:gd name="connsiteY6" fmla="*/ 432489 h 3247782"/>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512181 h 3327474"/>
              <a:gd name="connsiteX1" fmla="*/ 3260633 w 6088641"/>
              <a:gd name="connsiteY1" fmla="*/ 79692 h 3327474"/>
              <a:gd name="connsiteX2" fmla="*/ 5816589 w 6088641"/>
              <a:gd name="connsiteY2" fmla="*/ 361397 h 3327474"/>
              <a:gd name="connsiteX3" fmla="*/ 6088634 w 6088641"/>
              <a:gd name="connsiteY3" fmla="*/ 2582580 h 3327474"/>
              <a:gd name="connsiteX4" fmla="*/ 3268050 w 6088641"/>
              <a:gd name="connsiteY4" fmla="*/ 3327039 h 3327474"/>
              <a:gd name="connsiteX5" fmla="*/ 37 w 6088641"/>
              <a:gd name="connsiteY5" fmla="*/ 2383555 h 3327474"/>
              <a:gd name="connsiteX6" fmla="*/ 335225 w 6088641"/>
              <a:gd name="connsiteY6" fmla="*/ 512181 h 3327474"/>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434186 h 3249479"/>
              <a:gd name="connsiteX1" fmla="*/ 3260633 w 6088641"/>
              <a:gd name="connsiteY1" fmla="*/ 1697 h 3249479"/>
              <a:gd name="connsiteX2" fmla="*/ 5816589 w 6088641"/>
              <a:gd name="connsiteY2" fmla="*/ 283402 h 3249479"/>
              <a:gd name="connsiteX3" fmla="*/ 6088634 w 6088641"/>
              <a:gd name="connsiteY3" fmla="*/ 2504585 h 3249479"/>
              <a:gd name="connsiteX4" fmla="*/ 3268050 w 6088641"/>
              <a:gd name="connsiteY4" fmla="*/ 3249044 h 3249479"/>
              <a:gd name="connsiteX5" fmla="*/ 37 w 6088641"/>
              <a:gd name="connsiteY5" fmla="*/ 2305560 h 3249479"/>
              <a:gd name="connsiteX6" fmla="*/ 335225 w 6088641"/>
              <a:gd name="connsiteY6" fmla="*/ 434186 h 3249479"/>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434692 h 3249985"/>
              <a:gd name="connsiteX1" fmla="*/ 3260633 w 6088641"/>
              <a:gd name="connsiteY1" fmla="*/ 2203 h 3249985"/>
              <a:gd name="connsiteX2" fmla="*/ 5816589 w 6088641"/>
              <a:gd name="connsiteY2" fmla="*/ 283908 h 3249985"/>
              <a:gd name="connsiteX3" fmla="*/ 6088634 w 6088641"/>
              <a:gd name="connsiteY3" fmla="*/ 2505091 h 3249985"/>
              <a:gd name="connsiteX4" fmla="*/ 3268050 w 6088641"/>
              <a:gd name="connsiteY4" fmla="*/ 3249550 h 3249985"/>
              <a:gd name="connsiteX5" fmla="*/ 37 w 6088641"/>
              <a:gd name="connsiteY5" fmla="*/ 2306066 h 3249985"/>
              <a:gd name="connsiteX6" fmla="*/ 335225 w 6088641"/>
              <a:gd name="connsiteY6" fmla="*/ 434692 h 3249985"/>
              <a:gd name="connsiteX0" fmla="*/ 335225 w 6088641"/>
              <a:gd name="connsiteY0" fmla="*/ 434455 h 3249748"/>
              <a:gd name="connsiteX1" fmla="*/ 3260633 w 6088641"/>
              <a:gd name="connsiteY1" fmla="*/ 1966 h 3249748"/>
              <a:gd name="connsiteX2" fmla="*/ 5816589 w 6088641"/>
              <a:gd name="connsiteY2" fmla="*/ 283671 h 3249748"/>
              <a:gd name="connsiteX3" fmla="*/ 6088634 w 6088641"/>
              <a:gd name="connsiteY3" fmla="*/ 2504854 h 3249748"/>
              <a:gd name="connsiteX4" fmla="*/ 3268050 w 6088641"/>
              <a:gd name="connsiteY4" fmla="*/ 3249313 h 3249748"/>
              <a:gd name="connsiteX5" fmla="*/ 37 w 6088641"/>
              <a:gd name="connsiteY5" fmla="*/ 2305829 h 3249748"/>
              <a:gd name="connsiteX6" fmla="*/ 335225 w 6088641"/>
              <a:gd name="connsiteY6" fmla="*/ 434455 h 3249748"/>
              <a:gd name="connsiteX0" fmla="*/ 335225 w 6088641"/>
              <a:gd name="connsiteY0" fmla="*/ 478129 h 3293422"/>
              <a:gd name="connsiteX1" fmla="*/ 3260633 w 6088641"/>
              <a:gd name="connsiteY1" fmla="*/ 45640 h 3293422"/>
              <a:gd name="connsiteX2" fmla="*/ 4969580 w 6088641"/>
              <a:gd name="connsiteY2" fmla="*/ 22169 h 3293422"/>
              <a:gd name="connsiteX3" fmla="*/ 5816589 w 6088641"/>
              <a:gd name="connsiteY3" fmla="*/ 327345 h 3293422"/>
              <a:gd name="connsiteX4" fmla="*/ 6088634 w 6088641"/>
              <a:gd name="connsiteY4" fmla="*/ 2548528 h 3293422"/>
              <a:gd name="connsiteX5" fmla="*/ 3268050 w 6088641"/>
              <a:gd name="connsiteY5" fmla="*/ 3292987 h 3293422"/>
              <a:gd name="connsiteX6" fmla="*/ 37 w 6088641"/>
              <a:gd name="connsiteY6" fmla="*/ 2349503 h 3293422"/>
              <a:gd name="connsiteX7" fmla="*/ 335225 w 6088641"/>
              <a:gd name="connsiteY7" fmla="*/ 478129 h 3293422"/>
              <a:gd name="connsiteX0" fmla="*/ 335225 w 6088641"/>
              <a:gd name="connsiteY0" fmla="*/ 464432 h 3279725"/>
              <a:gd name="connsiteX1" fmla="*/ 3260633 w 6088641"/>
              <a:gd name="connsiteY1" fmla="*/ 31943 h 3279725"/>
              <a:gd name="connsiteX2" fmla="*/ 5816589 w 6088641"/>
              <a:gd name="connsiteY2" fmla="*/ 313648 h 3279725"/>
              <a:gd name="connsiteX3" fmla="*/ 6088634 w 6088641"/>
              <a:gd name="connsiteY3" fmla="*/ 2534831 h 3279725"/>
              <a:gd name="connsiteX4" fmla="*/ 3268050 w 6088641"/>
              <a:gd name="connsiteY4" fmla="*/ 3279290 h 3279725"/>
              <a:gd name="connsiteX5" fmla="*/ 37 w 6088641"/>
              <a:gd name="connsiteY5" fmla="*/ 2335806 h 3279725"/>
              <a:gd name="connsiteX6" fmla="*/ 335225 w 6088641"/>
              <a:gd name="connsiteY6" fmla="*/ 464432 h 3279725"/>
              <a:gd name="connsiteX0" fmla="*/ 335225 w 6088641"/>
              <a:gd name="connsiteY0" fmla="*/ 434187 h 3249480"/>
              <a:gd name="connsiteX1" fmla="*/ 3260633 w 6088641"/>
              <a:gd name="connsiteY1" fmla="*/ 1698 h 3249480"/>
              <a:gd name="connsiteX2" fmla="*/ 5816589 w 6088641"/>
              <a:gd name="connsiteY2" fmla="*/ 283403 h 3249480"/>
              <a:gd name="connsiteX3" fmla="*/ 6088634 w 6088641"/>
              <a:gd name="connsiteY3" fmla="*/ 2504586 h 3249480"/>
              <a:gd name="connsiteX4" fmla="*/ 3268050 w 6088641"/>
              <a:gd name="connsiteY4" fmla="*/ 3249045 h 3249480"/>
              <a:gd name="connsiteX5" fmla="*/ 37 w 6088641"/>
              <a:gd name="connsiteY5" fmla="*/ 2305561 h 3249480"/>
              <a:gd name="connsiteX6" fmla="*/ 335225 w 6088641"/>
              <a:gd name="connsiteY6" fmla="*/ 434187 h 3249480"/>
              <a:gd name="connsiteX0" fmla="*/ 335225 w 6088641"/>
              <a:gd name="connsiteY0" fmla="*/ 434187 h 3249480"/>
              <a:gd name="connsiteX1" fmla="*/ 3260633 w 6088641"/>
              <a:gd name="connsiteY1" fmla="*/ 1698 h 3249480"/>
              <a:gd name="connsiteX2" fmla="*/ 5816589 w 6088641"/>
              <a:gd name="connsiteY2" fmla="*/ 283403 h 3249480"/>
              <a:gd name="connsiteX3" fmla="*/ 6088634 w 6088641"/>
              <a:gd name="connsiteY3" fmla="*/ 2504586 h 3249480"/>
              <a:gd name="connsiteX4" fmla="*/ 3268050 w 6088641"/>
              <a:gd name="connsiteY4" fmla="*/ 3249045 h 3249480"/>
              <a:gd name="connsiteX5" fmla="*/ 37 w 6088641"/>
              <a:gd name="connsiteY5" fmla="*/ 2305561 h 3249480"/>
              <a:gd name="connsiteX6" fmla="*/ 335225 w 6088641"/>
              <a:gd name="connsiteY6" fmla="*/ 434187 h 3249480"/>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512181 h 3327474"/>
              <a:gd name="connsiteX1" fmla="*/ 3260633 w 6088641"/>
              <a:gd name="connsiteY1" fmla="*/ 79692 h 3327474"/>
              <a:gd name="connsiteX2" fmla="*/ 5816589 w 6088641"/>
              <a:gd name="connsiteY2" fmla="*/ 361397 h 3327474"/>
              <a:gd name="connsiteX3" fmla="*/ 6088634 w 6088641"/>
              <a:gd name="connsiteY3" fmla="*/ 2582580 h 3327474"/>
              <a:gd name="connsiteX4" fmla="*/ 3268050 w 6088641"/>
              <a:gd name="connsiteY4" fmla="*/ 3327039 h 3327474"/>
              <a:gd name="connsiteX5" fmla="*/ 37 w 6088641"/>
              <a:gd name="connsiteY5" fmla="*/ 2383555 h 3327474"/>
              <a:gd name="connsiteX6" fmla="*/ 335225 w 6088641"/>
              <a:gd name="connsiteY6" fmla="*/ 512181 h 3327474"/>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434186 h 3249479"/>
              <a:gd name="connsiteX1" fmla="*/ 3260633 w 6088641"/>
              <a:gd name="connsiteY1" fmla="*/ 1697 h 3249479"/>
              <a:gd name="connsiteX2" fmla="*/ 5816589 w 6088641"/>
              <a:gd name="connsiteY2" fmla="*/ 283402 h 3249479"/>
              <a:gd name="connsiteX3" fmla="*/ 6088634 w 6088641"/>
              <a:gd name="connsiteY3" fmla="*/ 2504585 h 3249479"/>
              <a:gd name="connsiteX4" fmla="*/ 3268050 w 6088641"/>
              <a:gd name="connsiteY4" fmla="*/ 3249044 h 3249479"/>
              <a:gd name="connsiteX5" fmla="*/ 37 w 6088641"/>
              <a:gd name="connsiteY5" fmla="*/ 2305560 h 3249479"/>
              <a:gd name="connsiteX6" fmla="*/ 335225 w 6088641"/>
              <a:gd name="connsiteY6" fmla="*/ 434186 h 3249479"/>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433957 h 3249250"/>
              <a:gd name="connsiteX1" fmla="*/ 3260633 w 6088641"/>
              <a:gd name="connsiteY1" fmla="*/ 1468 h 3249250"/>
              <a:gd name="connsiteX2" fmla="*/ 5816589 w 6088641"/>
              <a:gd name="connsiteY2" fmla="*/ 283173 h 3249250"/>
              <a:gd name="connsiteX3" fmla="*/ 6088634 w 6088641"/>
              <a:gd name="connsiteY3" fmla="*/ 2504356 h 3249250"/>
              <a:gd name="connsiteX4" fmla="*/ 3268050 w 6088641"/>
              <a:gd name="connsiteY4" fmla="*/ 3248815 h 3249250"/>
              <a:gd name="connsiteX5" fmla="*/ 37 w 6088641"/>
              <a:gd name="connsiteY5" fmla="*/ 2305331 h 3249250"/>
              <a:gd name="connsiteX6" fmla="*/ 335225 w 6088641"/>
              <a:gd name="connsiteY6" fmla="*/ 433957 h 3249250"/>
              <a:gd name="connsiteX0" fmla="*/ 335225 w 6088641"/>
              <a:gd name="connsiteY0" fmla="*/ 433944 h 3249237"/>
              <a:gd name="connsiteX1" fmla="*/ 3260633 w 6088641"/>
              <a:gd name="connsiteY1" fmla="*/ 1455 h 3249237"/>
              <a:gd name="connsiteX2" fmla="*/ 5816589 w 6088641"/>
              <a:gd name="connsiteY2" fmla="*/ 283160 h 3249237"/>
              <a:gd name="connsiteX3" fmla="*/ 6088634 w 6088641"/>
              <a:gd name="connsiteY3" fmla="*/ 2504343 h 3249237"/>
              <a:gd name="connsiteX4" fmla="*/ 3268050 w 6088641"/>
              <a:gd name="connsiteY4" fmla="*/ 3248802 h 3249237"/>
              <a:gd name="connsiteX5" fmla="*/ 37 w 6088641"/>
              <a:gd name="connsiteY5" fmla="*/ 2305318 h 3249237"/>
              <a:gd name="connsiteX6" fmla="*/ 335225 w 6088641"/>
              <a:gd name="connsiteY6" fmla="*/ 433944 h 3249237"/>
              <a:gd name="connsiteX0" fmla="*/ 335225 w 6088641"/>
              <a:gd name="connsiteY0" fmla="*/ 433390 h 3248683"/>
              <a:gd name="connsiteX1" fmla="*/ 3260633 w 6088641"/>
              <a:gd name="connsiteY1" fmla="*/ 901 h 3248683"/>
              <a:gd name="connsiteX2" fmla="*/ 5816589 w 6088641"/>
              <a:gd name="connsiteY2" fmla="*/ 282606 h 3248683"/>
              <a:gd name="connsiteX3" fmla="*/ 6088634 w 6088641"/>
              <a:gd name="connsiteY3" fmla="*/ 2503789 h 3248683"/>
              <a:gd name="connsiteX4" fmla="*/ 3268050 w 6088641"/>
              <a:gd name="connsiteY4" fmla="*/ 3248248 h 3248683"/>
              <a:gd name="connsiteX5" fmla="*/ 37 w 6088641"/>
              <a:gd name="connsiteY5" fmla="*/ 2304764 h 3248683"/>
              <a:gd name="connsiteX6" fmla="*/ 335225 w 6088641"/>
              <a:gd name="connsiteY6" fmla="*/ 433390 h 3248683"/>
              <a:gd name="connsiteX0" fmla="*/ 335225 w 6088641"/>
              <a:gd name="connsiteY0" fmla="*/ 512181 h 3327474"/>
              <a:gd name="connsiteX1" fmla="*/ 3260633 w 6088641"/>
              <a:gd name="connsiteY1" fmla="*/ 79692 h 3327474"/>
              <a:gd name="connsiteX2" fmla="*/ 5816589 w 6088641"/>
              <a:gd name="connsiteY2" fmla="*/ 361397 h 3327474"/>
              <a:gd name="connsiteX3" fmla="*/ 6088634 w 6088641"/>
              <a:gd name="connsiteY3" fmla="*/ 2582580 h 3327474"/>
              <a:gd name="connsiteX4" fmla="*/ 3268050 w 6088641"/>
              <a:gd name="connsiteY4" fmla="*/ 3327039 h 3327474"/>
              <a:gd name="connsiteX5" fmla="*/ 37 w 6088641"/>
              <a:gd name="connsiteY5" fmla="*/ 2383555 h 3327474"/>
              <a:gd name="connsiteX6" fmla="*/ 335225 w 6088641"/>
              <a:gd name="connsiteY6" fmla="*/ 512181 h 3327474"/>
              <a:gd name="connsiteX0" fmla="*/ 335225 w 6088641"/>
              <a:gd name="connsiteY0" fmla="*/ 516824 h 3332117"/>
              <a:gd name="connsiteX1" fmla="*/ 3260633 w 6088641"/>
              <a:gd name="connsiteY1" fmla="*/ 84335 h 3332117"/>
              <a:gd name="connsiteX2" fmla="*/ 5816589 w 6088641"/>
              <a:gd name="connsiteY2" fmla="*/ 366040 h 3332117"/>
              <a:gd name="connsiteX3" fmla="*/ 6088634 w 6088641"/>
              <a:gd name="connsiteY3" fmla="*/ 2587223 h 3332117"/>
              <a:gd name="connsiteX4" fmla="*/ 3268050 w 6088641"/>
              <a:gd name="connsiteY4" fmla="*/ 3331682 h 3332117"/>
              <a:gd name="connsiteX5" fmla="*/ 37 w 6088641"/>
              <a:gd name="connsiteY5" fmla="*/ 2388198 h 3332117"/>
              <a:gd name="connsiteX6" fmla="*/ 335225 w 6088641"/>
              <a:gd name="connsiteY6" fmla="*/ 516824 h 3332117"/>
              <a:gd name="connsiteX0" fmla="*/ 335225 w 6088641"/>
              <a:gd name="connsiteY0" fmla="*/ 512182 h 3327475"/>
              <a:gd name="connsiteX1" fmla="*/ 3260633 w 6088641"/>
              <a:gd name="connsiteY1" fmla="*/ 79693 h 3327475"/>
              <a:gd name="connsiteX2" fmla="*/ 5816589 w 6088641"/>
              <a:gd name="connsiteY2" fmla="*/ 361398 h 3327475"/>
              <a:gd name="connsiteX3" fmla="*/ 6088634 w 6088641"/>
              <a:gd name="connsiteY3" fmla="*/ 2582581 h 3327475"/>
              <a:gd name="connsiteX4" fmla="*/ 3268050 w 6088641"/>
              <a:gd name="connsiteY4" fmla="*/ 3327040 h 3327475"/>
              <a:gd name="connsiteX5" fmla="*/ 37 w 6088641"/>
              <a:gd name="connsiteY5" fmla="*/ 2383556 h 3327475"/>
              <a:gd name="connsiteX6" fmla="*/ 335225 w 6088641"/>
              <a:gd name="connsiteY6" fmla="*/ 512182 h 3327475"/>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433961 h 3249254"/>
              <a:gd name="connsiteX1" fmla="*/ 3260633 w 6088641"/>
              <a:gd name="connsiteY1" fmla="*/ 1472 h 3249254"/>
              <a:gd name="connsiteX2" fmla="*/ 5816589 w 6088641"/>
              <a:gd name="connsiteY2" fmla="*/ 283177 h 3249254"/>
              <a:gd name="connsiteX3" fmla="*/ 6088634 w 6088641"/>
              <a:gd name="connsiteY3" fmla="*/ 2504360 h 3249254"/>
              <a:gd name="connsiteX4" fmla="*/ 3268050 w 6088641"/>
              <a:gd name="connsiteY4" fmla="*/ 3248819 h 3249254"/>
              <a:gd name="connsiteX5" fmla="*/ 37 w 6088641"/>
              <a:gd name="connsiteY5" fmla="*/ 2305335 h 3249254"/>
              <a:gd name="connsiteX6" fmla="*/ 335225 w 6088641"/>
              <a:gd name="connsiteY6" fmla="*/ 433961 h 3249254"/>
              <a:gd name="connsiteX0" fmla="*/ 335225 w 6088641"/>
              <a:gd name="connsiteY0" fmla="*/ 434186 h 3249479"/>
              <a:gd name="connsiteX1" fmla="*/ 3260633 w 6088641"/>
              <a:gd name="connsiteY1" fmla="*/ 1697 h 3249479"/>
              <a:gd name="connsiteX2" fmla="*/ 5816589 w 6088641"/>
              <a:gd name="connsiteY2" fmla="*/ 283402 h 3249479"/>
              <a:gd name="connsiteX3" fmla="*/ 6088634 w 6088641"/>
              <a:gd name="connsiteY3" fmla="*/ 2504585 h 3249479"/>
              <a:gd name="connsiteX4" fmla="*/ 3268050 w 6088641"/>
              <a:gd name="connsiteY4" fmla="*/ 3249044 h 3249479"/>
              <a:gd name="connsiteX5" fmla="*/ 37 w 6088641"/>
              <a:gd name="connsiteY5" fmla="*/ 2305560 h 3249479"/>
              <a:gd name="connsiteX6" fmla="*/ 335225 w 6088641"/>
              <a:gd name="connsiteY6" fmla="*/ 434186 h 3249479"/>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509718 h 3325011"/>
              <a:gd name="connsiteX1" fmla="*/ 3260633 w 6088641"/>
              <a:gd name="connsiteY1" fmla="*/ 77229 h 3325011"/>
              <a:gd name="connsiteX2" fmla="*/ 5816589 w 6088641"/>
              <a:gd name="connsiteY2" fmla="*/ 358934 h 3325011"/>
              <a:gd name="connsiteX3" fmla="*/ 6088634 w 6088641"/>
              <a:gd name="connsiteY3" fmla="*/ 2580117 h 3325011"/>
              <a:gd name="connsiteX4" fmla="*/ 3268050 w 6088641"/>
              <a:gd name="connsiteY4" fmla="*/ 3324576 h 3325011"/>
              <a:gd name="connsiteX5" fmla="*/ 37 w 6088641"/>
              <a:gd name="connsiteY5" fmla="*/ 2381092 h 3325011"/>
              <a:gd name="connsiteX6" fmla="*/ 335225 w 6088641"/>
              <a:gd name="connsiteY6" fmla="*/ 509718 h 3325011"/>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088641"/>
              <a:gd name="connsiteY0" fmla="*/ 440004 h 3255297"/>
              <a:gd name="connsiteX1" fmla="*/ 3260633 w 6088641"/>
              <a:gd name="connsiteY1" fmla="*/ 7515 h 3255297"/>
              <a:gd name="connsiteX2" fmla="*/ 6088634 w 6088641"/>
              <a:gd name="connsiteY2" fmla="*/ 2510403 h 3255297"/>
              <a:gd name="connsiteX3" fmla="*/ 3268050 w 6088641"/>
              <a:gd name="connsiteY3" fmla="*/ 3254862 h 3255297"/>
              <a:gd name="connsiteX4" fmla="*/ 37 w 6088641"/>
              <a:gd name="connsiteY4" fmla="*/ 2311378 h 3255297"/>
              <a:gd name="connsiteX5" fmla="*/ 335225 w 6088641"/>
              <a:gd name="connsiteY5" fmla="*/ 440004 h 3255297"/>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123026"/>
              <a:gd name="connsiteY0" fmla="*/ 432489 h 3247782"/>
              <a:gd name="connsiteX1" fmla="*/ 3260633 w 6123026"/>
              <a:gd name="connsiteY1" fmla="*/ 0 h 3247782"/>
              <a:gd name="connsiteX2" fmla="*/ 4736515 w 6123026"/>
              <a:gd name="connsiteY2" fmla="*/ 1160782 h 3247782"/>
              <a:gd name="connsiteX3" fmla="*/ 6088634 w 6123026"/>
              <a:gd name="connsiteY3" fmla="*/ 2502888 h 3247782"/>
              <a:gd name="connsiteX4" fmla="*/ 3268050 w 6123026"/>
              <a:gd name="connsiteY4" fmla="*/ 3247347 h 3247782"/>
              <a:gd name="connsiteX5" fmla="*/ 37 w 6123026"/>
              <a:gd name="connsiteY5" fmla="*/ 2303863 h 3247782"/>
              <a:gd name="connsiteX6" fmla="*/ 335225 w 6123026"/>
              <a:gd name="connsiteY6" fmla="*/ 432489 h 3247782"/>
              <a:gd name="connsiteX0" fmla="*/ 335225 w 6213970"/>
              <a:gd name="connsiteY0" fmla="*/ 432489 h 3247782"/>
              <a:gd name="connsiteX1" fmla="*/ 3260633 w 6213970"/>
              <a:gd name="connsiteY1" fmla="*/ 0 h 3247782"/>
              <a:gd name="connsiteX2" fmla="*/ 5748245 w 6213970"/>
              <a:gd name="connsiteY2" fmla="*/ 440703 h 3247782"/>
              <a:gd name="connsiteX3" fmla="*/ 6088634 w 6213970"/>
              <a:gd name="connsiteY3" fmla="*/ 2502888 h 3247782"/>
              <a:gd name="connsiteX4" fmla="*/ 3268050 w 6213970"/>
              <a:gd name="connsiteY4" fmla="*/ 3247347 h 3247782"/>
              <a:gd name="connsiteX5" fmla="*/ 37 w 6213970"/>
              <a:gd name="connsiteY5" fmla="*/ 2303863 h 3247782"/>
              <a:gd name="connsiteX6" fmla="*/ 335225 w 6213970"/>
              <a:gd name="connsiteY6" fmla="*/ 432489 h 3247782"/>
              <a:gd name="connsiteX0" fmla="*/ 335225 w 6213972"/>
              <a:gd name="connsiteY0" fmla="*/ 432489 h 3247782"/>
              <a:gd name="connsiteX1" fmla="*/ 3260633 w 6213972"/>
              <a:gd name="connsiteY1" fmla="*/ 0 h 3247782"/>
              <a:gd name="connsiteX2" fmla="*/ 5748245 w 6213972"/>
              <a:gd name="connsiteY2" fmla="*/ 440703 h 3247782"/>
              <a:gd name="connsiteX3" fmla="*/ 6088634 w 6213972"/>
              <a:gd name="connsiteY3" fmla="*/ 2502888 h 3247782"/>
              <a:gd name="connsiteX4" fmla="*/ 3268050 w 6213972"/>
              <a:gd name="connsiteY4" fmla="*/ 3247347 h 3247782"/>
              <a:gd name="connsiteX5" fmla="*/ 37 w 6213972"/>
              <a:gd name="connsiteY5" fmla="*/ 2303863 h 3247782"/>
              <a:gd name="connsiteX6" fmla="*/ 335225 w 6213972"/>
              <a:gd name="connsiteY6" fmla="*/ 432489 h 3247782"/>
              <a:gd name="connsiteX0" fmla="*/ 335225 w 6213970"/>
              <a:gd name="connsiteY0" fmla="*/ 432489 h 3247782"/>
              <a:gd name="connsiteX1" fmla="*/ 3260633 w 6213970"/>
              <a:gd name="connsiteY1" fmla="*/ 0 h 3247782"/>
              <a:gd name="connsiteX2" fmla="*/ 5748245 w 6213970"/>
              <a:gd name="connsiteY2" fmla="*/ 440703 h 3247782"/>
              <a:gd name="connsiteX3" fmla="*/ 6088634 w 6213970"/>
              <a:gd name="connsiteY3" fmla="*/ 2502888 h 3247782"/>
              <a:gd name="connsiteX4" fmla="*/ 3268050 w 6213970"/>
              <a:gd name="connsiteY4" fmla="*/ 3247347 h 3247782"/>
              <a:gd name="connsiteX5" fmla="*/ 37 w 6213970"/>
              <a:gd name="connsiteY5" fmla="*/ 2303863 h 3247782"/>
              <a:gd name="connsiteX6" fmla="*/ 335225 w 6213970"/>
              <a:gd name="connsiteY6" fmla="*/ 432489 h 3247782"/>
              <a:gd name="connsiteX0" fmla="*/ 335225 w 6147867"/>
              <a:gd name="connsiteY0" fmla="*/ 432489 h 3247782"/>
              <a:gd name="connsiteX1" fmla="*/ 3260633 w 6147867"/>
              <a:gd name="connsiteY1" fmla="*/ 0 h 3247782"/>
              <a:gd name="connsiteX2" fmla="*/ 5748245 w 6147867"/>
              <a:gd name="connsiteY2" fmla="*/ 440703 h 3247782"/>
              <a:gd name="connsiteX3" fmla="*/ 6088634 w 6147867"/>
              <a:gd name="connsiteY3" fmla="*/ 2502888 h 3247782"/>
              <a:gd name="connsiteX4" fmla="*/ 3268050 w 6147867"/>
              <a:gd name="connsiteY4" fmla="*/ 3247347 h 3247782"/>
              <a:gd name="connsiteX5" fmla="*/ 37 w 6147867"/>
              <a:gd name="connsiteY5" fmla="*/ 2303863 h 3247782"/>
              <a:gd name="connsiteX6" fmla="*/ 335225 w 6147867"/>
              <a:gd name="connsiteY6" fmla="*/ 432489 h 3247782"/>
              <a:gd name="connsiteX0" fmla="*/ 335225 w 6088640"/>
              <a:gd name="connsiteY0" fmla="*/ 432489 h 3247782"/>
              <a:gd name="connsiteX1" fmla="*/ 3260633 w 6088640"/>
              <a:gd name="connsiteY1" fmla="*/ 0 h 3247782"/>
              <a:gd name="connsiteX2" fmla="*/ 5748245 w 6088640"/>
              <a:gd name="connsiteY2" fmla="*/ 440703 h 3247782"/>
              <a:gd name="connsiteX3" fmla="*/ 6088634 w 6088640"/>
              <a:gd name="connsiteY3" fmla="*/ 2502888 h 3247782"/>
              <a:gd name="connsiteX4" fmla="*/ 3268050 w 6088640"/>
              <a:gd name="connsiteY4" fmla="*/ 3247347 h 3247782"/>
              <a:gd name="connsiteX5" fmla="*/ 37 w 6088640"/>
              <a:gd name="connsiteY5" fmla="*/ 2303863 h 3247782"/>
              <a:gd name="connsiteX6" fmla="*/ 335225 w 6088640"/>
              <a:gd name="connsiteY6" fmla="*/ 432489 h 3247782"/>
              <a:gd name="connsiteX0" fmla="*/ 335225 w 6088642"/>
              <a:gd name="connsiteY0" fmla="*/ 432489 h 3247782"/>
              <a:gd name="connsiteX1" fmla="*/ 3260633 w 6088642"/>
              <a:gd name="connsiteY1" fmla="*/ 0 h 3247782"/>
              <a:gd name="connsiteX2" fmla="*/ 5748245 w 6088642"/>
              <a:gd name="connsiteY2" fmla="*/ 440703 h 3247782"/>
              <a:gd name="connsiteX3" fmla="*/ 6088634 w 6088642"/>
              <a:gd name="connsiteY3" fmla="*/ 2502888 h 3247782"/>
              <a:gd name="connsiteX4" fmla="*/ 3268050 w 6088642"/>
              <a:gd name="connsiteY4" fmla="*/ 3247347 h 3247782"/>
              <a:gd name="connsiteX5" fmla="*/ 37 w 6088642"/>
              <a:gd name="connsiteY5" fmla="*/ 2303863 h 3247782"/>
              <a:gd name="connsiteX6" fmla="*/ 335225 w 6088642"/>
              <a:gd name="connsiteY6" fmla="*/ 432489 h 3247782"/>
              <a:gd name="connsiteX0" fmla="*/ 335225 w 6088640"/>
              <a:gd name="connsiteY0" fmla="*/ 432489 h 3247782"/>
              <a:gd name="connsiteX1" fmla="*/ 3260633 w 6088640"/>
              <a:gd name="connsiteY1" fmla="*/ 0 h 3247782"/>
              <a:gd name="connsiteX2" fmla="*/ 5748245 w 6088640"/>
              <a:gd name="connsiteY2" fmla="*/ 440703 h 3247782"/>
              <a:gd name="connsiteX3" fmla="*/ 6088634 w 6088640"/>
              <a:gd name="connsiteY3" fmla="*/ 2502888 h 3247782"/>
              <a:gd name="connsiteX4" fmla="*/ 3268050 w 6088640"/>
              <a:gd name="connsiteY4" fmla="*/ 3247347 h 3247782"/>
              <a:gd name="connsiteX5" fmla="*/ 37 w 6088640"/>
              <a:gd name="connsiteY5" fmla="*/ 2303863 h 3247782"/>
              <a:gd name="connsiteX6" fmla="*/ 335225 w 6088640"/>
              <a:gd name="connsiteY6" fmla="*/ 432489 h 3247782"/>
              <a:gd name="connsiteX0" fmla="*/ 335225 w 6088642"/>
              <a:gd name="connsiteY0" fmla="*/ 432489 h 3247782"/>
              <a:gd name="connsiteX1" fmla="*/ 3260633 w 6088642"/>
              <a:gd name="connsiteY1" fmla="*/ 0 h 3247782"/>
              <a:gd name="connsiteX2" fmla="*/ 5748245 w 6088642"/>
              <a:gd name="connsiteY2" fmla="*/ 440703 h 3247782"/>
              <a:gd name="connsiteX3" fmla="*/ 6088634 w 6088642"/>
              <a:gd name="connsiteY3" fmla="*/ 2502888 h 3247782"/>
              <a:gd name="connsiteX4" fmla="*/ 3268050 w 6088642"/>
              <a:gd name="connsiteY4" fmla="*/ 3247347 h 3247782"/>
              <a:gd name="connsiteX5" fmla="*/ 37 w 6088642"/>
              <a:gd name="connsiteY5" fmla="*/ 2303863 h 3247782"/>
              <a:gd name="connsiteX6" fmla="*/ 335225 w 6088642"/>
              <a:gd name="connsiteY6" fmla="*/ 432489 h 3247782"/>
              <a:gd name="connsiteX0" fmla="*/ 353201 w 6106621"/>
              <a:gd name="connsiteY0" fmla="*/ 432489 h 3263671"/>
              <a:gd name="connsiteX1" fmla="*/ 3278609 w 6106621"/>
              <a:gd name="connsiteY1" fmla="*/ 0 h 3263671"/>
              <a:gd name="connsiteX2" fmla="*/ 5766221 w 6106621"/>
              <a:gd name="connsiteY2" fmla="*/ 440703 h 3263671"/>
              <a:gd name="connsiteX3" fmla="*/ 6106610 w 6106621"/>
              <a:gd name="connsiteY3" fmla="*/ 2502888 h 3263671"/>
              <a:gd name="connsiteX4" fmla="*/ 3286026 w 6106621"/>
              <a:gd name="connsiteY4" fmla="*/ 3247347 h 3263671"/>
              <a:gd name="connsiteX5" fmla="*/ 53 w 6106621"/>
              <a:gd name="connsiteY5" fmla="*/ 1620527 h 3263671"/>
              <a:gd name="connsiteX6" fmla="*/ 353201 w 6106621"/>
              <a:gd name="connsiteY6" fmla="*/ 432489 h 3263671"/>
              <a:gd name="connsiteX0" fmla="*/ 353201 w 6106621"/>
              <a:gd name="connsiteY0" fmla="*/ 432489 h 3263671"/>
              <a:gd name="connsiteX1" fmla="*/ 3278609 w 6106621"/>
              <a:gd name="connsiteY1" fmla="*/ 0 h 3263671"/>
              <a:gd name="connsiteX2" fmla="*/ 5766221 w 6106621"/>
              <a:gd name="connsiteY2" fmla="*/ 440703 h 3263671"/>
              <a:gd name="connsiteX3" fmla="*/ 6106610 w 6106621"/>
              <a:gd name="connsiteY3" fmla="*/ 2502888 h 3263671"/>
              <a:gd name="connsiteX4" fmla="*/ 3286026 w 6106621"/>
              <a:gd name="connsiteY4" fmla="*/ 3247347 h 3263671"/>
              <a:gd name="connsiteX5" fmla="*/ 53 w 6106621"/>
              <a:gd name="connsiteY5" fmla="*/ 1620527 h 3263671"/>
              <a:gd name="connsiteX6" fmla="*/ 353201 w 6106621"/>
              <a:gd name="connsiteY6" fmla="*/ 432489 h 3263671"/>
              <a:gd name="connsiteX0" fmla="*/ 353201 w 6106621"/>
              <a:gd name="connsiteY0" fmla="*/ 432489 h 3263671"/>
              <a:gd name="connsiteX1" fmla="*/ 3278609 w 6106621"/>
              <a:gd name="connsiteY1" fmla="*/ 0 h 3263671"/>
              <a:gd name="connsiteX2" fmla="*/ 5766221 w 6106621"/>
              <a:gd name="connsiteY2" fmla="*/ 440703 h 3263671"/>
              <a:gd name="connsiteX3" fmla="*/ 6106610 w 6106621"/>
              <a:gd name="connsiteY3" fmla="*/ 2502888 h 3263671"/>
              <a:gd name="connsiteX4" fmla="*/ 3286026 w 6106621"/>
              <a:gd name="connsiteY4" fmla="*/ 3247347 h 3263671"/>
              <a:gd name="connsiteX5" fmla="*/ 53 w 6106621"/>
              <a:gd name="connsiteY5" fmla="*/ 1620527 h 3263671"/>
              <a:gd name="connsiteX6" fmla="*/ 353201 w 6106621"/>
              <a:gd name="connsiteY6" fmla="*/ 432489 h 3263671"/>
              <a:gd name="connsiteX0" fmla="*/ 464353 w 6217770"/>
              <a:gd name="connsiteY0" fmla="*/ 432489 h 3391714"/>
              <a:gd name="connsiteX1" fmla="*/ 3389761 w 6217770"/>
              <a:gd name="connsiteY1" fmla="*/ 0 h 3391714"/>
              <a:gd name="connsiteX2" fmla="*/ 5877373 w 6217770"/>
              <a:gd name="connsiteY2" fmla="*/ 440703 h 3391714"/>
              <a:gd name="connsiteX3" fmla="*/ 6217762 w 6217770"/>
              <a:gd name="connsiteY3" fmla="*/ 2502888 h 3391714"/>
              <a:gd name="connsiteX4" fmla="*/ 2490214 w 6217770"/>
              <a:gd name="connsiteY4" fmla="*/ 3377277 h 3391714"/>
              <a:gd name="connsiteX5" fmla="*/ 111205 w 6217770"/>
              <a:gd name="connsiteY5" fmla="*/ 1620527 h 3391714"/>
              <a:gd name="connsiteX6" fmla="*/ 464353 w 6217770"/>
              <a:gd name="connsiteY6" fmla="*/ 432489 h 3391714"/>
              <a:gd name="connsiteX0" fmla="*/ 464353 w 6217767"/>
              <a:gd name="connsiteY0" fmla="*/ 432489 h 3377283"/>
              <a:gd name="connsiteX1" fmla="*/ 3389761 w 6217767"/>
              <a:gd name="connsiteY1" fmla="*/ 0 h 3377283"/>
              <a:gd name="connsiteX2" fmla="*/ 5877373 w 6217767"/>
              <a:gd name="connsiteY2" fmla="*/ 440703 h 3377283"/>
              <a:gd name="connsiteX3" fmla="*/ 6217762 w 6217767"/>
              <a:gd name="connsiteY3" fmla="*/ 2502888 h 3377283"/>
              <a:gd name="connsiteX4" fmla="*/ 2490214 w 6217767"/>
              <a:gd name="connsiteY4" fmla="*/ 3377277 h 3377283"/>
              <a:gd name="connsiteX5" fmla="*/ 111205 w 6217767"/>
              <a:gd name="connsiteY5" fmla="*/ 1620527 h 3377283"/>
              <a:gd name="connsiteX6" fmla="*/ 464353 w 6217767"/>
              <a:gd name="connsiteY6" fmla="*/ 432489 h 3377283"/>
              <a:gd name="connsiteX0" fmla="*/ 464353 w 6217767"/>
              <a:gd name="connsiteY0" fmla="*/ 432489 h 3377435"/>
              <a:gd name="connsiteX1" fmla="*/ 3389761 w 6217767"/>
              <a:gd name="connsiteY1" fmla="*/ 0 h 3377435"/>
              <a:gd name="connsiteX2" fmla="*/ 5877373 w 6217767"/>
              <a:gd name="connsiteY2" fmla="*/ 440703 h 3377435"/>
              <a:gd name="connsiteX3" fmla="*/ 6217762 w 6217767"/>
              <a:gd name="connsiteY3" fmla="*/ 2502888 h 3377435"/>
              <a:gd name="connsiteX4" fmla="*/ 2490214 w 6217767"/>
              <a:gd name="connsiteY4" fmla="*/ 3377277 h 3377435"/>
              <a:gd name="connsiteX5" fmla="*/ 111205 w 6217767"/>
              <a:gd name="connsiteY5" fmla="*/ 1620527 h 3377435"/>
              <a:gd name="connsiteX6" fmla="*/ 464353 w 6217767"/>
              <a:gd name="connsiteY6" fmla="*/ 432489 h 3377435"/>
              <a:gd name="connsiteX0" fmla="*/ 464353 w 6217767"/>
              <a:gd name="connsiteY0" fmla="*/ 432489 h 3377435"/>
              <a:gd name="connsiteX1" fmla="*/ 3389761 w 6217767"/>
              <a:gd name="connsiteY1" fmla="*/ 0 h 3377435"/>
              <a:gd name="connsiteX2" fmla="*/ 5877373 w 6217767"/>
              <a:gd name="connsiteY2" fmla="*/ 440703 h 3377435"/>
              <a:gd name="connsiteX3" fmla="*/ 6217762 w 6217767"/>
              <a:gd name="connsiteY3" fmla="*/ 2502888 h 3377435"/>
              <a:gd name="connsiteX4" fmla="*/ 2490214 w 6217767"/>
              <a:gd name="connsiteY4" fmla="*/ 3377277 h 3377435"/>
              <a:gd name="connsiteX5" fmla="*/ 111205 w 6217767"/>
              <a:gd name="connsiteY5" fmla="*/ 1620527 h 3377435"/>
              <a:gd name="connsiteX6" fmla="*/ 464353 w 6217767"/>
              <a:gd name="connsiteY6" fmla="*/ 432489 h 3377435"/>
              <a:gd name="connsiteX0" fmla="*/ 464353 w 6217767"/>
              <a:gd name="connsiteY0" fmla="*/ 432489 h 3377435"/>
              <a:gd name="connsiteX1" fmla="*/ 3389761 w 6217767"/>
              <a:gd name="connsiteY1" fmla="*/ 0 h 3377435"/>
              <a:gd name="connsiteX2" fmla="*/ 5877373 w 6217767"/>
              <a:gd name="connsiteY2" fmla="*/ 440703 h 3377435"/>
              <a:gd name="connsiteX3" fmla="*/ 6217762 w 6217767"/>
              <a:gd name="connsiteY3" fmla="*/ 2502888 h 3377435"/>
              <a:gd name="connsiteX4" fmla="*/ 2490214 w 6217767"/>
              <a:gd name="connsiteY4" fmla="*/ 3377277 h 3377435"/>
              <a:gd name="connsiteX5" fmla="*/ 111205 w 6217767"/>
              <a:gd name="connsiteY5" fmla="*/ 1620527 h 3377435"/>
              <a:gd name="connsiteX6" fmla="*/ 464353 w 6217767"/>
              <a:gd name="connsiteY6" fmla="*/ 432489 h 3377435"/>
              <a:gd name="connsiteX0" fmla="*/ 464353 w 6217767"/>
              <a:gd name="connsiteY0" fmla="*/ 432489 h 3377435"/>
              <a:gd name="connsiteX1" fmla="*/ 3389761 w 6217767"/>
              <a:gd name="connsiteY1" fmla="*/ 0 h 3377435"/>
              <a:gd name="connsiteX2" fmla="*/ 5877373 w 6217767"/>
              <a:gd name="connsiteY2" fmla="*/ 440703 h 3377435"/>
              <a:gd name="connsiteX3" fmla="*/ 6217762 w 6217767"/>
              <a:gd name="connsiteY3" fmla="*/ 2502888 h 3377435"/>
              <a:gd name="connsiteX4" fmla="*/ 2490214 w 6217767"/>
              <a:gd name="connsiteY4" fmla="*/ 3377277 h 3377435"/>
              <a:gd name="connsiteX5" fmla="*/ 111205 w 6217767"/>
              <a:gd name="connsiteY5" fmla="*/ 1620527 h 3377435"/>
              <a:gd name="connsiteX6" fmla="*/ 464353 w 6217767"/>
              <a:gd name="connsiteY6" fmla="*/ 432489 h 3377435"/>
              <a:gd name="connsiteX0" fmla="*/ 353260 w 6106674"/>
              <a:gd name="connsiteY0" fmla="*/ 432489 h 3377439"/>
              <a:gd name="connsiteX1" fmla="*/ 3278668 w 6106674"/>
              <a:gd name="connsiteY1" fmla="*/ 0 h 3377439"/>
              <a:gd name="connsiteX2" fmla="*/ 5766280 w 6106674"/>
              <a:gd name="connsiteY2" fmla="*/ 440703 h 3377439"/>
              <a:gd name="connsiteX3" fmla="*/ 6106669 w 6106674"/>
              <a:gd name="connsiteY3" fmla="*/ 2502888 h 3377439"/>
              <a:gd name="connsiteX4" fmla="*/ 2379121 w 6106674"/>
              <a:gd name="connsiteY4" fmla="*/ 3377277 h 3377439"/>
              <a:gd name="connsiteX5" fmla="*/ 112 w 6106674"/>
              <a:gd name="connsiteY5" fmla="*/ 1620527 h 3377439"/>
              <a:gd name="connsiteX6" fmla="*/ 353260 w 6106674"/>
              <a:gd name="connsiteY6" fmla="*/ 432489 h 3377439"/>
              <a:gd name="connsiteX0" fmla="*/ 353204 w 6106618"/>
              <a:gd name="connsiteY0" fmla="*/ 432489 h 3377392"/>
              <a:gd name="connsiteX1" fmla="*/ 3278612 w 6106618"/>
              <a:gd name="connsiteY1" fmla="*/ 0 h 3377392"/>
              <a:gd name="connsiteX2" fmla="*/ 5766224 w 6106618"/>
              <a:gd name="connsiteY2" fmla="*/ 440703 h 3377392"/>
              <a:gd name="connsiteX3" fmla="*/ 6106613 w 6106618"/>
              <a:gd name="connsiteY3" fmla="*/ 2502888 h 3377392"/>
              <a:gd name="connsiteX4" fmla="*/ 2379065 w 6106618"/>
              <a:gd name="connsiteY4" fmla="*/ 3377277 h 3377392"/>
              <a:gd name="connsiteX5" fmla="*/ 56 w 6106618"/>
              <a:gd name="connsiteY5" fmla="*/ 1620527 h 3377392"/>
              <a:gd name="connsiteX6" fmla="*/ 353204 w 6106618"/>
              <a:gd name="connsiteY6" fmla="*/ 432489 h 3377392"/>
              <a:gd name="connsiteX0" fmla="*/ 353202 w 6106616"/>
              <a:gd name="connsiteY0" fmla="*/ 432489 h 3377392"/>
              <a:gd name="connsiteX1" fmla="*/ 3278610 w 6106616"/>
              <a:gd name="connsiteY1" fmla="*/ 0 h 3377392"/>
              <a:gd name="connsiteX2" fmla="*/ 5766222 w 6106616"/>
              <a:gd name="connsiteY2" fmla="*/ 440703 h 3377392"/>
              <a:gd name="connsiteX3" fmla="*/ 6106611 w 6106616"/>
              <a:gd name="connsiteY3" fmla="*/ 2502888 h 3377392"/>
              <a:gd name="connsiteX4" fmla="*/ 2379063 w 6106616"/>
              <a:gd name="connsiteY4" fmla="*/ 3377277 h 3377392"/>
              <a:gd name="connsiteX5" fmla="*/ 54 w 6106616"/>
              <a:gd name="connsiteY5" fmla="*/ 1620527 h 3377392"/>
              <a:gd name="connsiteX6" fmla="*/ 353202 w 6106616"/>
              <a:gd name="connsiteY6" fmla="*/ 432489 h 3377392"/>
              <a:gd name="connsiteX0" fmla="*/ 353202 w 6106616"/>
              <a:gd name="connsiteY0" fmla="*/ 600917 h 3545820"/>
              <a:gd name="connsiteX1" fmla="*/ 2919417 w 6106616"/>
              <a:gd name="connsiteY1" fmla="*/ 0 h 3545820"/>
              <a:gd name="connsiteX2" fmla="*/ 5766222 w 6106616"/>
              <a:gd name="connsiteY2" fmla="*/ 609131 h 3545820"/>
              <a:gd name="connsiteX3" fmla="*/ 6106611 w 6106616"/>
              <a:gd name="connsiteY3" fmla="*/ 2671316 h 3545820"/>
              <a:gd name="connsiteX4" fmla="*/ 2379063 w 6106616"/>
              <a:gd name="connsiteY4" fmla="*/ 3545705 h 3545820"/>
              <a:gd name="connsiteX5" fmla="*/ 54 w 6106616"/>
              <a:gd name="connsiteY5" fmla="*/ 1788955 h 3545820"/>
              <a:gd name="connsiteX6" fmla="*/ 353202 w 6106616"/>
              <a:gd name="connsiteY6" fmla="*/ 600917 h 3545820"/>
              <a:gd name="connsiteX0" fmla="*/ 353202 w 6116436"/>
              <a:gd name="connsiteY0" fmla="*/ 600917 h 3545820"/>
              <a:gd name="connsiteX1" fmla="*/ 2919417 w 6116436"/>
              <a:gd name="connsiteY1" fmla="*/ 0 h 3545820"/>
              <a:gd name="connsiteX2" fmla="*/ 6116436 w 6116436"/>
              <a:gd name="connsiteY2" fmla="*/ 1143288 h 3545820"/>
              <a:gd name="connsiteX3" fmla="*/ 6106611 w 6116436"/>
              <a:gd name="connsiteY3" fmla="*/ 2671316 h 3545820"/>
              <a:gd name="connsiteX4" fmla="*/ 2379063 w 6116436"/>
              <a:gd name="connsiteY4" fmla="*/ 3545705 h 3545820"/>
              <a:gd name="connsiteX5" fmla="*/ 54 w 6116436"/>
              <a:gd name="connsiteY5" fmla="*/ 1788955 h 3545820"/>
              <a:gd name="connsiteX6" fmla="*/ 353202 w 6116436"/>
              <a:gd name="connsiteY6" fmla="*/ 600917 h 3545820"/>
              <a:gd name="connsiteX0" fmla="*/ 353202 w 7085417"/>
              <a:gd name="connsiteY0" fmla="*/ 600917 h 4090923"/>
              <a:gd name="connsiteX1" fmla="*/ 2919417 w 7085417"/>
              <a:gd name="connsiteY1" fmla="*/ 0 h 4090923"/>
              <a:gd name="connsiteX2" fmla="*/ 6116436 w 7085417"/>
              <a:gd name="connsiteY2" fmla="*/ 1143288 h 4090923"/>
              <a:gd name="connsiteX3" fmla="*/ 7085414 w 7085417"/>
              <a:gd name="connsiteY3" fmla="*/ 4090923 h 4090923"/>
              <a:gd name="connsiteX4" fmla="*/ 2379063 w 7085417"/>
              <a:gd name="connsiteY4" fmla="*/ 3545705 h 4090923"/>
              <a:gd name="connsiteX5" fmla="*/ 54 w 7085417"/>
              <a:gd name="connsiteY5" fmla="*/ 1788955 h 4090923"/>
              <a:gd name="connsiteX6" fmla="*/ 353202 w 7085417"/>
              <a:gd name="connsiteY6" fmla="*/ 600917 h 4090923"/>
              <a:gd name="connsiteX0" fmla="*/ 479202 w 7211418"/>
              <a:gd name="connsiteY0" fmla="*/ 600917 h 4090923"/>
              <a:gd name="connsiteX1" fmla="*/ 3045417 w 7211418"/>
              <a:gd name="connsiteY1" fmla="*/ 0 h 4090923"/>
              <a:gd name="connsiteX2" fmla="*/ 6242436 w 7211418"/>
              <a:gd name="connsiteY2" fmla="*/ 1143288 h 4090923"/>
              <a:gd name="connsiteX3" fmla="*/ 7211414 w 7211418"/>
              <a:gd name="connsiteY3" fmla="*/ 4090923 h 4090923"/>
              <a:gd name="connsiteX4" fmla="*/ 3034876 w 7211418"/>
              <a:gd name="connsiteY4" fmla="*/ 4084674 h 4090923"/>
              <a:gd name="connsiteX5" fmla="*/ 126054 w 7211418"/>
              <a:gd name="connsiteY5" fmla="*/ 1788955 h 4090923"/>
              <a:gd name="connsiteX6" fmla="*/ 479202 w 7211418"/>
              <a:gd name="connsiteY6" fmla="*/ 600917 h 4090923"/>
              <a:gd name="connsiteX0" fmla="*/ 479202 w 7221240"/>
              <a:gd name="connsiteY0" fmla="*/ 1093785 h 4583791"/>
              <a:gd name="connsiteX1" fmla="*/ 3045417 w 7221240"/>
              <a:gd name="connsiteY1" fmla="*/ 492868 h 4583791"/>
              <a:gd name="connsiteX2" fmla="*/ 7221240 w 7221240"/>
              <a:gd name="connsiteY2" fmla="*/ 0 h 4583791"/>
              <a:gd name="connsiteX3" fmla="*/ 7211414 w 7221240"/>
              <a:gd name="connsiteY3" fmla="*/ 4583791 h 4583791"/>
              <a:gd name="connsiteX4" fmla="*/ 3034876 w 7221240"/>
              <a:gd name="connsiteY4" fmla="*/ 4577542 h 4583791"/>
              <a:gd name="connsiteX5" fmla="*/ 126054 w 7221240"/>
              <a:gd name="connsiteY5" fmla="*/ 2281823 h 4583791"/>
              <a:gd name="connsiteX6" fmla="*/ 479202 w 7221240"/>
              <a:gd name="connsiteY6" fmla="*/ 1093785 h 4583791"/>
              <a:gd name="connsiteX0" fmla="*/ 479202 w 7221240"/>
              <a:gd name="connsiteY0" fmla="*/ 1096576 h 4586582"/>
              <a:gd name="connsiteX1" fmla="*/ 3656047 w 7221240"/>
              <a:gd name="connsiteY1" fmla="*/ 0 h 4586582"/>
              <a:gd name="connsiteX2" fmla="*/ 7221240 w 7221240"/>
              <a:gd name="connsiteY2" fmla="*/ 2791 h 4586582"/>
              <a:gd name="connsiteX3" fmla="*/ 7211414 w 7221240"/>
              <a:gd name="connsiteY3" fmla="*/ 4586582 h 4586582"/>
              <a:gd name="connsiteX4" fmla="*/ 3034876 w 7221240"/>
              <a:gd name="connsiteY4" fmla="*/ 4580333 h 4586582"/>
              <a:gd name="connsiteX5" fmla="*/ 126054 w 7221240"/>
              <a:gd name="connsiteY5" fmla="*/ 2284614 h 4586582"/>
              <a:gd name="connsiteX6" fmla="*/ 479202 w 7221240"/>
              <a:gd name="connsiteY6" fmla="*/ 1096576 h 4586582"/>
              <a:gd name="connsiteX0" fmla="*/ 4967 w 6747005"/>
              <a:gd name="connsiteY0" fmla="*/ 1096576 h 4586582"/>
              <a:gd name="connsiteX1" fmla="*/ 3181812 w 6747005"/>
              <a:gd name="connsiteY1" fmla="*/ 0 h 4586582"/>
              <a:gd name="connsiteX2" fmla="*/ 6747005 w 6747005"/>
              <a:gd name="connsiteY2" fmla="*/ 2791 h 4586582"/>
              <a:gd name="connsiteX3" fmla="*/ 6737179 w 6747005"/>
              <a:gd name="connsiteY3" fmla="*/ 4586582 h 4586582"/>
              <a:gd name="connsiteX4" fmla="*/ 2560641 w 6747005"/>
              <a:gd name="connsiteY4" fmla="*/ 4580333 h 4586582"/>
              <a:gd name="connsiteX5" fmla="*/ 4967 w 6747005"/>
              <a:gd name="connsiteY5" fmla="*/ 1096576 h 4586582"/>
              <a:gd name="connsiteX0" fmla="*/ 146702 w 6888740"/>
              <a:gd name="connsiteY0" fmla="*/ 1096576 h 4586582"/>
              <a:gd name="connsiteX1" fmla="*/ 3323547 w 6888740"/>
              <a:gd name="connsiteY1" fmla="*/ 0 h 4586582"/>
              <a:gd name="connsiteX2" fmla="*/ 6888740 w 6888740"/>
              <a:gd name="connsiteY2" fmla="*/ 2791 h 4586582"/>
              <a:gd name="connsiteX3" fmla="*/ 6878914 w 6888740"/>
              <a:gd name="connsiteY3" fmla="*/ 4586582 h 4586582"/>
              <a:gd name="connsiteX4" fmla="*/ 2702376 w 6888740"/>
              <a:gd name="connsiteY4" fmla="*/ 4580333 h 4586582"/>
              <a:gd name="connsiteX5" fmla="*/ 146702 w 6888740"/>
              <a:gd name="connsiteY5" fmla="*/ 1096576 h 4586582"/>
              <a:gd name="connsiteX0" fmla="*/ 146702 w 6888740"/>
              <a:gd name="connsiteY0" fmla="*/ 1096576 h 4586582"/>
              <a:gd name="connsiteX1" fmla="*/ 3323547 w 6888740"/>
              <a:gd name="connsiteY1" fmla="*/ 0 h 4586582"/>
              <a:gd name="connsiteX2" fmla="*/ 6888740 w 6888740"/>
              <a:gd name="connsiteY2" fmla="*/ 2791 h 4586582"/>
              <a:gd name="connsiteX3" fmla="*/ 6878914 w 6888740"/>
              <a:gd name="connsiteY3" fmla="*/ 4586582 h 4586582"/>
              <a:gd name="connsiteX4" fmla="*/ 2702376 w 6888740"/>
              <a:gd name="connsiteY4" fmla="*/ 4580333 h 4586582"/>
              <a:gd name="connsiteX5" fmla="*/ 146702 w 6888740"/>
              <a:gd name="connsiteY5" fmla="*/ 1096576 h 4586582"/>
              <a:gd name="connsiteX0" fmla="*/ 49 w 6742087"/>
              <a:gd name="connsiteY0" fmla="*/ 1096576 h 4586582"/>
              <a:gd name="connsiteX1" fmla="*/ 3176894 w 6742087"/>
              <a:gd name="connsiteY1" fmla="*/ 0 h 4586582"/>
              <a:gd name="connsiteX2" fmla="*/ 6742087 w 6742087"/>
              <a:gd name="connsiteY2" fmla="*/ 2791 h 4586582"/>
              <a:gd name="connsiteX3" fmla="*/ 6732261 w 6742087"/>
              <a:gd name="connsiteY3" fmla="*/ 4586582 h 4586582"/>
              <a:gd name="connsiteX4" fmla="*/ 2555723 w 6742087"/>
              <a:gd name="connsiteY4" fmla="*/ 4580333 h 4586582"/>
              <a:gd name="connsiteX5" fmla="*/ 49 w 6742087"/>
              <a:gd name="connsiteY5" fmla="*/ 1096576 h 4586582"/>
              <a:gd name="connsiteX0" fmla="*/ 29 w 6742067"/>
              <a:gd name="connsiteY0" fmla="*/ 1096576 h 4586582"/>
              <a:gd name="connsiteX1" fmla="*/ 3176874 w 6742067"/>
              <a:gd name="connsiteY1" fmla="*/ 0 h 4586582"/>
              <a:gd name="connsiteX2" fmla="*/ 6742067 w 6742067"/>
              <a:gd name="connsiteY2" fmla="*/ 2791 h 4586582"/>
              <a:gd name="connsiteX3" fmla="*/ 6732241 w 6742067"/>
              <a:gd name="connsiteY3" fmla="*/ 4586582 h 4586582"/>
              <a:gd name="connsiteX4" fmla="*/ 2555703 w 6742067"/>
              <a:gd name="connsiteY4" fmla="*/ 4580333 h 4586582"/>
              <a:gd name="connsiteX5" fmla="*/ 29 w 6742067"/>
              <a:gd name="connsiteY5" fmla="*/ 1096576 h 4586582"/>
              <a:gd name="connsiteX0" fmla="*/ 35 w 6266141"/>
              <a:gd name="connsiteY0" fmla="*/ 1693292 h 4586582"/>
              <a:gd name="connsiteX1" fmla="*/ 2700948 w 6266141"/>
              <a:gd name="connsiteY1" fmla="*/ 0 h 4586582"/>
              <a:gd name="connsiteX2" fmla="*/ 6266141 w 6266141"/>
              <a:gd name="connsiteY2" fmla="*/ 2791 h 4586582"/>
              <a:gd name="connsiteX3" fmla="*/ 6256315 w 6266141"/>
              <a:gd name="connsiteY3" fmla="*/ 4586582 h 4586582"/>
              <a:gd name="connsiteX4" fmla="*/ 2079777 w 6266141"/>
              <a:gd name="connsiteY4" fmla="*/ 4580333 h 4586582"/>
              <a:gd name="connsiteX5" fmla="*/ 35 w 6266141"/>
              <a:gd name="connsiteY5" fmla="*/ 1693292 h 4586582"/>
              <a:gd name="connsiteX0" fmla="*/ 35 w 6266141"/>
              <a:gd name="connsiteY0" fmla="*/ 1690502 h 4583792"/>
              <a:gd name="connsiteX1" fmla="*/ 1892761 w 6266141"/>
              <a:gd name="connsiteY1" fmla="*/ 2022 h 4583792"/>
              <a:gd name="connsiteX2" fmla="*/ 6266141 w 6266141"/>
              <a:gd name="connsiteY2" fmla="*/ 1 h 4583792"/>
              <a:gd name="connsiteX3" fmla="*/ 6256315 w 6266141"/>
              <a:gd name="connsiteY3" fmla="*/ 4583792 h 4583792"/>
              <a:gd name="connsiteX4" fmla="*/ 2079777 w 6266141"/>
              <a:gd name="connsiteY4" fmla="*/ 4577543 h 4583792"/>
              <a:gd name="connsiteX5" fmla="*/ 35 w 6266141"/>
              <a:gd name="connsiteY5" fmla="*/ 1690502 h 4583792"/>
              <a:gd name="connsiteX0" fmla="*/ 53 w 6266159"/>
              <a:gd name="connsiteY0" fmla="*/ 1690502 h 4583792"/>
              <a:gd name="connsiteX1" fmla="*/ 1892779 w 6266159"/>
              <a:gd name="connsiteY1" fmla="*/ 2022 h 4583792"/>
              <a:gd name="connsiteX2" fmla="*/ 6266159 w 6266159"/>
              <a:gd name="connsiteY2" fmla="*/ 1 h 4583792"/>
              <a:gd name="connsiteX3" fmla="*/ 6256333 w 6266159"/>
              <a:gd name="connsiteY3" fmla="*/ 4583792 h 4583792"/>
              <a:gd name="connsiteX4" fmla="*/ 1316507 w 6266159"/>
              <a:gd name="connsiteY4" fmla="*/ 4577543 h 4583792"/>
              <a:gd name="connsiteX5" fmla="*/ 53 w 6266159"/>
              <a:gd name="connsiteY5" fmla="*/ 1690502 h 4583792"/>
              <a:gd name="connsiteX0" fmla="*/ 28 w 6266134"/>
              <a:gd name="connsiteY0" fmla="*/ 1690502 h 4583792"/>
              <a:gd name="connsiteX1" fmla="*/ 1892754 w 6266134"/>
              <a:gd name="connsiteY1" fmla="*/ 2022 h 4583792"/>
              <a:gd name="connsiteX2" fmla="*/ 6266134 w 6266134"/>
              <a:gd name="connsiteY2" fmla="*/ 1 h 4583792"/>
              <a:gd name="connsiteX3" fmla="*/ 6256308 w 6266134"/>
              <a:gd name="connsiteY3" fmla="*/ 4583792 h 4583792"/>
              <a:gd name="connsiteX4" fmla="*/ 2573660 w 6266134"/>
              <a:gd name="connsiteY4" fmla="*/ 4577543 h 4583792"/>
              <a:gd name="connsiteX5" fmla="*/ 28 w 6266134"/>
              <a:gd name="connsiteY5" fmla="*/ 1690502 h 4583792"/>
              <a:gd name="connsiteX0" fmla="*/ 50 w 5125717"/>
              <a:gd name="connsiteY0" fmla="*/ 1623131 h 4583792"/>
              <a:gd name="connsiteX1" fmla="*/ 752337 w 5125717"/>
              <a:gd name="connsiteY1" fmla="*/ 2022 h 4583792"/>
              <a:gd name="connsiteX2" fmla="*/ 5125717 w 5125717"/>
              <a:gd name="connsiteY2" fmla="*/ 1 h 4583792"/>
              <a:gd name="connsiteX3" fmla="*/ 5115891 w 5125717"/>
              <a:gd name="connsiteY3" fmla="*/ 4583792 h 4583792"/>
              <a:gd name="connsiteX4" fmla="*/ 1433243 w 5125717"/>
              <a:gd name="connsiteY4" fmla="*/ 4577543 h 4583792"/>
              <a:gd name="connsiteX5" fmla="*/ 50 w 5125717"/>
              <a:gd name="connsiteY5" fmla="*/ 1623131 h 4583792"/>
              <a:gd name="connsiteX0" fmla="*/ 50 w 5125717"/>
              <a:gd name="connsiteY0" fmla="*/ 1623131 h 4583792"/>
              <a:gd name="connsiteX1" fmla="*/ 1345007 w 5125717"/>
              <a:gd name="connsiteY1" fmla="*/ 2022 h 4583792"/>
              <a:gd name="connsiteX2" fmla="*/ 5125717 w 5125717"/>
              <a:gd name="connsiteY2" fmla="*/ 1 h 4583792"/>
              <a:gd name="connsiteX3" fmla="*/ 5115891 w 5125717"/>
              <a:gd name="connsiteY3" fmla="*/ 4583792 h 4583792"/>
              <a:gd name="connsiteX4" fmla="*/ 1433243 w 5125717"/>
              <a:gd name="connsiteY4" fmla="*/ 4577543 h 4583792"/>
              <a:gd name="connsiteX5" fmla="*/ 50 w 5125717"/>
              <a:gd name="connsiteY5" fmla="*/ 1623131 h 4583792"/>
              <a:gd name="connsiteX0" fmla="*/ 50 w 5115897"/>
              <a:gd name="connsiteY0" fmla="*/ 1621109 h 4581770"/>
              <a:gd name="connsiteX1" fmla="*/ 1345007 w 5115897"/>
              <a:gd name="connsiteY1" fmla="*/ 0 h 4581770"/>
              <a:gd name="connsiteX2" fmla="*/ 4146914 w 5115897"/>
              <a:gd name="connsiteY2" fmla="*/ 2791 h 4581770"/>
              <a:gd name="connsiteX3" fmla="*/ 5115891 w 5115897"/>
              <a:gd name="connsiteY3" fmla="*/ 4581770 h 4581770"/>
              <a:gd name="connsiteX4" fmla="*/ 1433243 w 5115897"/>
              <a:gd name="connsiteY4" fmla="*/ 4575521 h 4581770"/>
              <a:gd name="connsiteX5" fmla="*/ 50 w 5115897"/>
              <a:gd name="connsiteY5" fmla="*/ 1621109 h 4581770"/>
              <a:gd name="connsiteX0" fmla="*/ 50 w 4164035"/>
              <a:gd name="connsiteY0" fmla="*/ 1621109 h 4581770"/>
              <a:gd name="connsiteX1" fmla="*/ 1345007 w 4164035"/>
              <a:gd name="connsiteY1" fmla="*/ 0 h 4581770"/>
              <a:gd name="connsiteX2" fmla="*/ 4146914 w 4164035"/>
              <a:gd name="connsiteY2" fmla="*/ 2791 h 4581770"/>
              <a:gd name="connsiteX3" fmla="*/ 4164029 w 4164035"/>
              <a:gd name="connsiteY3" fmla="*/ 4581770 h 4581770"/>
              <a:gd name="connsiteX4" fmla="*/ 1433243 w 4164035"/>
              <a:gd name="connsiteY4" fmla="*/ 4575521 h 4581770"/>
              <a:gd name="connsiteX5" fmla="*/ 50 w 4164035"/>
              <a:gd name="connsiteY5" fmla="*/ 1621109 h 4581770"/>
              <a:gd name="connsiteX0" fmla="*/ 3245 w 4167228"/>
              <a:gd name="connsiteY0" fmla="*/ 1621109 h 4581770"/>
              <a:gd name="connsiteX1" fmla="*/ 1348202 w 4167228"/>
              <a:gd name="connsiteY1" fmla="*/ 0 h 4581770"/>
              <a:gd name="connsiteX2" fmla="*/ 4150109 w 4167228"/>
              <a:gd name="connsiteY2" fmla="*/ 2791 h 4581770"/>
              <a:gd name="connsiteX3" fmla="*/ 4167224 w 4167228"/>
              <a:gd name="connsiteY3" fmla="*/ 4581770 h 4581770"/>
              <a:gd name="connsiteX4" fmla="*/ 8644 w 4167228"/>
              <a:gd name="connsiteY4" fmla="*/ 4575521 h 4581770"/>
              <a:gd name="connsiteX5" fmla="*/ 3245 w 4167228"/>
              <a:gd name="connsiteY5" fmla="*/ 1621109 h 4581770"/>
              <a:gd name="connsiteX0" fmla="*/ 3245 w 4167230"/>
              <a:gd name="connsiteY0" fmla="*/ 1618319 h 4578980"/>
              <a:gd name="connsiteX1" fmla="*/ 3144170 w 4167230"/>
              <a:gd name="connsiteY1" fmla="*/ 54956 h 4578980"/>
              <a:gd name="connsiteX2" fmla="*/ 4150109 w 4167230"/>
              <a:gd name="connsiteY2" fmla="*/ 1 h 4578980"/>
              <a:gd name="connsiteX3" fmla="*/ 4167224 w 4167230"/>
              <a:gd name="connsiteY3" fmla="*/ 4578980 h 4578980"/>
              <a:gd name="connsiteX4" fmla="*/ 8644 w 4167230"/>
              <a:gd name="connsiteY4" fmla="*/ 4572731 h 4578980"/>
              <a:gd name="connsiteX5" fmla="*/ 3245 w 4167230"/>
              <a:gd name="connsiteY5" fmla="*/ 1618319 h 4578980"/>
              <a:gd name="connsiteX0" fmla="*/ 3245 w 4167228"/>
              <a:gd name="connsiteY0" fmla="*/ 2 h 4592007"/>
              <a:gd name="connsiteX1" fmla="*/ 3144170 w 4167228"/>
              <a:gd name="connsiteY1" fmla="*/ 67983 h 4592007"/>
              <a:gd name="connsiteX2" fmla="*/ 4150109 w 4167228"/>
              <a:gd name="connsiteY2" fmla="*/ 13028 h 4592007"/>
              <a:gd name="connsiteX3" fmla="*/ 4167224 w 4167228"/>
              <a:gd name="connsiteY3" fmla="*/ 4592007 h 4592007"/>
              <a:gd name="connsiteX4" fmla="*/ 8644 w 4167228"/>
              <a:gd name="connsiteY4" fmla="*/ 4585758 h 4592007"/>
              <a:gd name="connsiteX5" fmla="*/ 3245 w 4167228"/>
              <a:gd name="connsiteY5" fmla="*/ 2 h 4592007"/>
              <a:gd name="connsiteX0" fmla="*/ 3245 w 4167230"/>
              <a:gd name="connsiteY0" fmla="*/ 2 h 4592007"/>
              <a:gd name="connsiteX1" fmla="*/ 3144170 w 4167230"/>
              <a:gd name="connsiteY1" fmla="*/ 67983 h 4592007"/>
              <a:gd name="connsiteX2" fmla="*/ 2812112 w 4167230"/>
              <a:gd name="connsiteY2" fmla="*/ 2294022 h 4592007"/>
              <a:gd name="connsiteX3" fmla="*/ 4167224 w 4167230"/>
              <a:gd name="connsiteY3" fmla="*/ 4592007 h 4592007"/>
              <a:gd name="connsiteX4" fmla="*/ 8644 w 4167230"/>
              <a:gd name="connsiteY4" fmla="*/ 4585758 h 4592007"/>
              <a:gd name="connsiteX5" fmla="*/ 3245 w 4167230"/>
              <a:gd name="connsiteY5" fmla="*/ 2 h 4592007"/>
              <a:gd name="connsiteX0" fmla="*/ 3245 w 4167228"/>
              <a:gd name="connsiteY0" fmla="*/ 2 h 4592007"/>
              <a:gd name="connsiteX1" fmla="*/ 3790719 w 4167228"/>
              <a:gd name="connsiteY1" fmla="*/ 5424 h 4592007"/>
              <a:gd name="connsiteX2" fmla="*/ 2812112 w 4167228"/>
              <a:gd name="connsiteY2" fmla="*/ 2294022 h 4592007"/>
              <a:gd name="connsiteX3" fmla="*/ 4167224 w 4167228"/>
              <a:gd name="connsiteY3" fmla="*/ 4592007 h 4592007"/>
              <a:gd name="connsiteX4" fmla="*/ 8644 w 4167228"/>
              <a:gd name="connsiteY4" fmla="*/ 4585758 h 4592007"/>
              <a:gd name="connsiteX5" fmla="*/ 3245 w 4167228"/>
              <a:gd name="connsiteY5" fmla="*/ 2 h 4592007"/>
              <a:gd name="connsiteX0" fmla="*/ 3245 w 4167230"/>
              <a:gd name="connsiteY0" fmla="*/ 2 h 4592007"/>
              <a:gd name="connsiteX1" fmla="*/ 3790719 w 4167230"/>
              <a:gd name="connsiteY1" fmla="*/ 5424 h 4592007"/>
              <a:gd name="connsiteX2" fmla="*/ 3252124 w 4167230"/>
              <a:gd name="connsiteY2" fmla="*/ 1461508 h 4592007"/>
              <a:gd name="connsiteX3" fmla="*/ 4167224 w 4167230"/>
              <a:gd name="connsiteY3" fmla="*/ 4592007 h 4592007"/>
              <a:gd name="connsiteX4" fmla="*/ 8644 w 4167230"/>
              <a:gd name="connsiteY4" fmla="*/ 4585758 h 4592007"/>
              <a:gd name="connsiteX5" fmla="*/ 3245 w 4167230"/>
              <a:gd name="connsiteY5" fmla="*/ 2 h 4592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7230" h="4592007">
                <a:moveTo>
                  <a:pt x="3245" y="2"/>
                </a:moveTo>
                <a:lnTo>
                  <a:pt x="3790719" y="5424"/>
                </a:lnTo>
                <a:lnTo>
                  <a:pt x="3252124" y="1461508"/>
                </a:lnTo>
                <a:cubicBezTo>
                  <a:pt x="3243939" y="1460728"/>
                  <a:pt x="4167444" y="4590462"/>
                  <a:pt x="4167224" y="4592007"/>
                </a:cubicBezTo>
                <a:cubicBezTo>
                  <a:pt x="4172603" y="4588521"/>
                  <a:pt x="29641" y="4588451"/>
                  <a:pt x="8644" y="4585758"/>
                </a:cubicBezTo>
                <a:cubicBezTo>
                  <a:pt x="9089" y="4595993"/>
                  <a:pt x="-6583" y="-3683"/>
                  <a:pt x="3245" y="2"/>
                </a:cubicBezTo>
                <a:close/>
              </a:path>
            </a:pathLst>
          </a:custGeom>
          <a:ln w="50800">
            <a:noFill/>
          </a:ln>
        </p:spPr>
        <p:txBody>
          <a:bodyPr/>
          <a:lstStyle/>
          <a:p>
            <a:pPr marL="304778" marR="0" lvl="0" indent="-304778" algn="l" defTabSz="1219108" rtl="0" eaLnBrk="1" fontAlgn="auto" latinLnBrk="0" hangingPunct="1">
              <a:lnSpc>
                <a:spcPct val="90000"/>
              </a:lnSpc>
              <a:spcBef>
                <a:spcPts val="1333"/>
              </a:spcBef>
              <a:spcAft>
                <a:spcPts val="0"/>
              </a:spcAft>
              <a:buClrTx/>
              <a:buSzTx/>
              <a:buFont typeface="Arial" panose="020B0604020202020204" pitchFamily="34" charset="0"/>
              <a:buNone/>
              <a:tabLst/>
              <a:defRPr/>
            </a:pPr>
            <a:r>
              <a:rPr lang="en-US" noProof="0"/>
              <a:t>Picture</a:t>
            </a:r>
          </a:p>
        </p:txBody>
      </p:sp>
      <p:sp>
        <p:nvSpPr>
          <p:cNvPr id="4" name="Marcador de texto 6">
            <a:extLst>
              <a:ext uri="{FF2B5EF4-FFF2-40B4-BE49-F238E27FC236}">
                <a16:creationId xmlns:a16="http://schemas.microsoft.com/office/drawing/2014/main" id="{0BCE6A4B-D244-F0AD-6255-C467761EBA7E}"/>
              </a:ext>
            </a:extLst>
          </p:cNvPr>
          <p:cNvSpPr>
            <a:spLocks noGrp="1"/>
          </p:cNvSpPr>
          <p:nvPr>
            <p:ph type="body" sz="quarter" idx="24" hasCustomPrompt="1"/>
          </p:nvPr>
        </p:nvSpPr>
        <p:spPr>
          <a:xfrm>
            <a:off x="4501662" y="4544947"/>
            <a:ext cx="3188677" cy="2317616"/>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2"/>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5" name="Título 1">
            <a:extLst>
              <a:ext uri="{FF2B5EF4-FFF2-40B4-BE49-F238E27FC236}">
                <a16:creationId xmlns:a16="http://schemas.microsoft.com/office/drawing/2014/main" id="{48423B44-A59B-CDA3-C538-9BAC0AEDF2E2}"/>
              </a:ext>
            </a:extLst>
          </p:cNvPr>
          <p:cNvSpPr>
            <a:spLocks noGrp="1"/>
          </p:cNvSpPr>
          <p:nvPr>
            <p:ph type="title" hasCustomPrompt="1"/>
          </p:nvPr>
        </p:nvSpPr>
        <p:spPr>
          <a:xfrm>
            <a:off x="4337032" y="740835"/>
            <a:ext cx="3517937" cy="2130419"/>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3733" baseline="0">
                <a:solidFill>
                  <a:schemeClr val="accent2"/>
                </a:solidFill>
              </a:defRPr>
            </a:lvl1pPr>
          </a:lstStyle>
          <a:p>
            <a:r>
              <a:rPr lang="en-US" noProof="0"/>
              <a:t>Headline is Arial Reg. 28pt.</a:t>
            </a:r>
            <a:br>
              <a:rPr lang="en-US" noProof="0"/>
            </a:br>
            <a:r>
              <a:rPr lang="en-US" noProof="0"/>
              <a:t>Lorem ipsum </a:t>
            </a:r>
            <a:br>
              <a:rPr lang="en-US" noProof="0"/>
            </a:br>
            <a:r>
              <a:rPr lang="en-US" noProof="0"/>
              <a:t>dolor sit </a:t>
            </a:r>
            <a:r>
              <a:rPr lang="en-US" noProof="0" err="1"/>
              <a:t>amet</a:t>
            </a:r>
            <a:r>
              <a:rPr lang="en-US" noProof="0"/>
              <a:t>.</a:t>
            </a:r>
          </a:p>
        </p:txBody>
      </p:sp>
      <p:sp>
        <p:nvSpPr>
          <p:cNvPr id="6" name="Marcador de texto 5">
            <a:extLst>
              <a:ext uri="{FF2B5EF4-FFF2-40B4-BE49-F238E27FC236}">
                <a16:creationId xmlns:a16="http://schemas.microsoft.com/office/drawing/2014/main" id="{D7A2021B-890C-611F-A034-4FD4A0AAF370}"/>
              </a:ext>
            </a:extLst>
          </p:cNvPr>
          <p:cNvSpPr>
            <a:spLocks noGrp="1"/>
          </p:cNvSpPr>
          <p:nvPr>
            <p:ph type="body" sz="quarter" idx="12" hasCustomPrompt="1"/>
          </p:nvPr>
        </p:nvSpPr>
        <p:spPr>
          <a:xfrm>
            <a:off x="4337032" y="2975398"/>
            <a:ext cx="3278816" cy="405357"/>
          </a:xfrm>
          <a:prstGeom prst="rect">
            <a:avLst/>
          </a:prstGeom>
        </p:spPr>
        <p:txBody>
          <a:bodyPr lIns="0" tIns="0" rIns="0" bIns="0">
            <a:noAutofit/>
          </a:bodyPr>
          <a:lstStyle>
            <a:lvl1pPr marL="0" indent="0">
              <a:lnSpc>
                <a:spcPct val="100000"/>
              </a:lnSpc>
              <a:spcBef>
                <a:spcPts val="0"/>
              </a:spcBef>
              <a:buNone/>
              <a:defRPr sz="1733" baseline="0">
                <a:solidFill>
                  <a:schemeClr val="accent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Subhead is Arial Regular 13/Simple pt.</a:t>
            </a:r>
          </a:p>
        </p:txBody>
      </p:sp>
      <p:sp>
        <p:nvSpPr>
          <p:cNvPr id="8" name="Marcador de texto 5">
            <a:extLst>
              <a:ext uri="{FF2B5EF4-FFF2-40B4-BE49-F238E27FC236}">
                <a16:creationId xmlns:a16="http://schemas.microsoft.com/office/drawing/2014/main" id="{FDE14C11-F38E-6F1F-9FE1-1E06A36AAC50}"/>
              </a:ext>
            </a:extLst>
          </p:cNvPr>
          <p:cNvSpPr>
            <a:spLocks noGrp="1"/>
          </p:cNvSpPr>
          <p:nvPr>
            <p:ph type="body" sz="quarter" idx="16" hasCustomPrompt="1"/>
          </p:nvPr>
        </p:nvSpPr>
        <p:spPr>
          <a:xfrm>
            <a:off x="8266424" y="740833"/>
            <a:ext cx="3157227" cy="5327651"/>
          </a:xfrm>
          <a:prstGeom prst="rect">
            <a:avLst/>
          </a:prstGeom>
        </p:spPr>
        <p:txBody>
          <a:bodyPr lIns="0" tIns="0" rIns="0" bIns="0">
            <a:noAutofit/>
          </a:bodyPr>
          <a:lstStyle>
            <a:lvl1pPr marL="0" indent="0">
              <a:lnSpc>
                <a:spcPct val="100000"/>
              </a:lnSpc>
              <a:spcBef>
                <a:spcPts val="0"/>
              </a:spcBef>
              <a:buNone/>
              <a:defRPr sz="1200" baseline="0">
                <a:solidFill>
                  <a:schemeClr val="accent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err="1"/>
              <a:t>Bodycopy</a:t>
            </a:r>
            <a:r>
              <a:rPr lang="en-US" noProof="0"/>
              <a:t> is Arial Regular 9/Simple p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noProof="0"/>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err="1"/>
              <a:t>Bodycopy</a:t>
            </a:r>
            <a:r>
              <a:rPr lang="en-US" noProof="0"/>
              <a:t> is Arial Regular 9/Simple pt. Lorem ipsum dolor si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noProof="0"/>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err="1"/>
              <a:t>Bodycopy</a:t>
            </a:r>
            <a:r>
              <a:rPr lang="en-US" noProof="0"/>
              <a:t> is Arial Regular 9/Simple pt. Lorem ipsum dolor si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noProof="0"/>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err="1"/>
              <a:t>Bodycopy</a:t>
            </a:r>
            <a:r>
              <a:rPr lang="en-US" noProof="0"/>
              <a:t> is Arial Regular 9/Simple pt. Lorem ipsum dolor si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noProof="0"/>
          </a:p>
          <a:p>
            <a:pPr lvl="0"/>
            <a:endParaRPr lang="en-US" noProof="0"/>
          </a:p>
        </p:txBody>
      </p:sp>
      <p:sp>
        <p:nvSpPr>
          <p:cNvPr id="9" name="Marcador de texto 5">
            <a:extLst>
              <a:ext uri="{FF2B5EF4-FFF2-40B4-BE49-F238E27FC236}">
                <a16:creationId xmlns:a16="http://schemas.microsoft.com/office/drawing/2014/main" id="{27F92E09-B438-CE6C-EEB6-1F2BAFEEFF40}"/>
              </a:ext>
            </a:extLst>
          </p:cNvPr>
          <p:cNvSpPr>
            <a:spLocks noGrp="1"/>
          </p:cNvSpPr>
          <p:nvPr>
            <p:ph type="body" sz="quarter" idx="25" hasCustomPrompt="1"/>
          </p:nvPr>
        </p:nvSpPr>
        <p:spPr>
          <a:xfrm>
            <a:off x="4039281" y="6417750"/>
            <a:ext cx="4113439" cy="195084"/>
          </a:xfrm>
          <a:prstGeom prst="rect">
            <a:avLst/>
          </a:prstGeom>
        </p:spPr>
        <p:txBody>
          <a:bodyPr/>
          <a:lstStyle>
            <a:lvl1pPr marL="0" indent="0" algn="ctr">
              <a:buNone/>
              <a:defRPr sz="933">
                <a:solidFill>
                  <a:schemeClr val="accent1"/>
                </a:solidFill>
              </a:defRPr>
            </a:lvl1pPr>
          </a:lstStyle>
          <a:p>
            <a:r>
              <a:rPr lang="es-ES" err="1"/>
              <a:t>Lorem</a:t>
            </a:r>
            <a:r>
              <a:rPr lang="es-ES"/>
              <a:t> </a:t>
            </a:r>
            <a:r>
              <a:rPr lang="es-ES" err="1"/>
              <a:t>ipsum</a:t>
            </a:r>
            <a:r>
              <a:rPr lang="es-ES"/>
              <a:t> dolor </a:t>
            </a:r>
            <a:r>
              <a:rPr lang="es-ES" err="1"/>
              <a:t>sit</a:t>
            </a:r>
            <a:r>
              <a:rPr lang="es-ES"/>
              <a:t> </a:t>
            </a:r>
            <a:r>
              <a:rPr lang="es-ES" err="1"/>
              <a:t>amet</a:t>
            </a:r>
            <a:r>
              <a:rPr lang="es-ES"/>
              <a:t>.</a:t>
            </a:r>
          </a:p>
        </p:txBody>
      </p:sp>
      <p:sp>
        <p:nvSpPr>
          <p:cNvPr id="10" name="Slide Number Placeholder 5">
            <a:extLst>
              <a:ext uri="{FF2B5EF4-FFF2-40B4-BE49-F238E27FC236}">
                <a16:creationId xmlns:a16="http://schemas.microsoft.com/office/drawing/2014/main" id="{62E92E5D-82CE-EC15-053E-A97604015C00}"/>
              </a:ext>
            </a:extLst>
          </p:cNvPr>
          <p:cNvSpPr>
            <a:spLocks noGrp="1"/>
          </p:cNvSpPr>
          <p:nvPr>
            <p:ph type="sldNum" sz="quarter" idx="4"/>
          </p:nvPr>
        </p:nvSpPr>
        <p:spPr>
          <a:xfrm>
            <a:off x="10910403" y="6356351"/>
            <a:ext cx="1042415" cy="365125"/>
          </a:xfrm>
          <a:prstGeom prst="rect">
            <a:avLst/>
          </a:prstGeom>
        </p:spPr>
        <p:txBody>
          <a:bodyPr vert="horz" lIns="91440" tIns="45720" rIns="91440" bIns="45720" rtlCol="0" anchor="ctr"/>
          <a:lstStyle>
            <a:lvl1pPr algn="r">
              <a:defRPr sz="933">
                <a:solidFill>
                  <a:schemeClr val="accent1"/>
                </a:solidFill>
              </a:defRPr>
            </a:lvl1pPr>
          </a:lstStyle>
          <a:p>
            <a:fld id="{96F64DD7-E411-6141-89FE-121B5323FD5F}" type="slidenum">
              <a:rPr lang="en-US" smtClean="0"/>
              <a:pPr/>
              <a:t>‹Nº›</a:t>
            </a:fld>
            <a:endParaRPr lang="en-US"/>
          </a:p>
        </p:txBody>
      </p:sp>
    </p:spTree>
    <p:extLst>
      <p:ext uri="{BB962C8B-B14F-4D97-AF65-F5344CB8AC3E}">
        <p14:creationId xmlns:p14="http://schemas.microsoft.com/office/powerpoint/2010/main" val="4103432751"/>
      </p:ext>
    </p:extLst>
  </p:cSld>
  <p:clrMapOvr>
    <a:masterClrMapping/>
  </p:clrMapOvr>
  <p:extLst>
    <p:ext uri="{DCECCB84-F9BA-43D5-87BE-67443E8EF086}">
      <p15:sldGuideLst xmlns:p15="http://schemas.microsoft.com/office/powerpoint/2012/main">
        <p15:guide id="1" orient="horz" pos="2867">
          <p15:clr>
            <a:srgbClr val="FBAE40"/>
          </p15:clr>
        </p15:guide>
        <p15:guide id="2" pos="2880">
          <p15:clr>
            <a:srgbClr val="FBAE40"/>
          </p15:clr>
        </p15:guide>
        <p15:guide id="3" orient="horz" pos="35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 Image 7">
    <p:bg>
      <p:bgPr>
        <a:solidFill>
          <a:schemeClr val="bg1"/>
        </a:solidFill>
        <a:effectLst/>
      </p:bgPr>
    </p:bg>
    <p:spTree>
      <p:nvGrpSpPr>
        <p:cNvPr id="1" name=""/>
        <p:cNvGrpSpPr/>
        <p:nvPr/>
      </p:nvGrpSpPr>
      <p:grpSpPr>
        <a:xfrm>
          <a:off x="0" y="0"/>
          <a:ext cx="0" cy="0"/>
          <a:chOff x="0" y="0"/>
          <a:chExt cx="0" cy="0"/>
        </a:xfrm>
      </p:grpSpPr>
      <p:sp>
        <p:nvSpPr>
          <p:cNvPr id="5" name="Marcador de texto 6">
            <a:extLst>
              <a:ext uri="{FF2B5EF4-FFF2-40B4-BE49-F238E27FC236}">
                <a16:creationId xmlns:a16="http://schemas.microsoft.com/office/drawing/2014/main" id="{52F76A6C-4493-8436-B38A-E646DCD14B4F}"/>
              </a:ext>
            </a:extLst>
          </p:cNvPr>
          <p:cNvSpPr>
            <a:spLocks noGrp="1"/>
          </p:cNvSpPr>
          <p:nvPr>
            <p:ph type="body" sz="quarter" idx="26" hasCustomPrompt="1"/>
          </p:nvPr>
        </p:nvSpPr>
        <p:spPr>
          <a:xfrm>
            <a:off x="0" y="6015456"/>
            <a:ext cx="12192000" cy="842544"/>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2"/>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3" name="Título 1">
            <a:extLst>
              <a:ext uri="{FF2B5EF4-FFF2-40B4-BE49-F238E27FC236}">
                <a16:creationId xmlns:a16="http://schemas.microsoft.com/office/drawing/2014/main" id="{6A7163C3-6C67-E27A-BD86-1F428AEE1090}"/>
              </a:ext>
            </a:extLst>
          </p:cNvPr>
          <p:cNvSpPr>
            <a:spLocks noGrp="1"/>
          </p:cNvSpPr>
          <p:nvPr>
            <p:ph type="title" hasCustomPrompt="1"/>
          </p:nvPr>
        </p:nvSpPr>
        <p:spPr>
          <a:xfrm>
            <a:off x="768352" y="3429001"/>
            <a:ext cx="5327648" cy="913949"/>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3200" baseline="0">
                <a:solidFill>
                  <a:schemeClr val="accent2"/>
                </a:solidFill>
              </a:defRPr>
            </a:lvl1pPr>
          </a:lstStyle>
          <a:p>
            <a:r>
              <a:rPr lang="en-US" noProof="0"/>
              <a:t>Headline is Arial Reg. 24pt.</a:t>
            </a:r>
            <a:br>
              <a:rPr lang="en-US" noProof="0"/>
            </a:br>
            <a:r>
              <a:rPr lang="en-US" noProof="0"/>
              <a:t>Lorem ipsum dolor sit </a:t>
            </a:r>
            <a:r>
              <a:rPr lang="en-US" noProof="0" err="1"/>
              <a:t>amet</a:t>
            </a:r>
            <a:r>
              <a:rPr lang="en-US" noProof="0"/>
              <a:t>.</a:t>
            </a:r>
          </a:p>
        </p:txBody>
      </p:sp>
      <p:sp>
        <p:nvSpPr>
          <p:cNvPr id="4" name="Marcador de texto 5">
            <a:extLst>
              <a:ext uri="{FF2B5EF4-FFF2-40B4-BE49-F238E27FC236}">
                <a16:creationId xmlns:a16="http://schemas.microsoft.com/office/drawing/2014/main" id="{7603340C-8E25-AA7C-F012-C1912DE9362B}"/>
              </a:ext>
            </a:extLst>
          </p:cNvPr>
          <p:cNvSpPr>
            <a:spLocks noGrp="1"/>
          </p:cNvSpPr>
          <p:nvPr>
            <p:ph type="body" sz="quarter" idx="12" hasCustomPrompt="1"/>
          </p:nvPr>
        </p:nvSpPr>
        <p:spPr>
          <a:xfrm>
            <a:off x="768351" y="4478656"/>
            <a:ext cx="4193935" cy="405357"/>
          </a:xfrm>
          <a:prstGeom prst="rect">
            <a:avLst/>
          </a:prstGeom>
        </p:spPr>
        <p:txBody>
          <a:bodyPr lIns="0" tIns="0" rIns="0" bIns="0">
            <a:noAutofit/>
          </a:bodyPr>
          <a:lstStyle>
            <a:lvl1pPr marL="0" indent="0">
              <a:lnSpc>
                <a:spcPct val="100000"/>
              </a:lnSpc>
              <a:spcBef>
                <a:spcPts val="0"/>
              </a:spcBef>
              <a:buNone/>
              <a:defRPr sz="1733" baseline="0">
                <a:solidFill>
                  <a:schemeClr val="accent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Subhead is Arial Regular 13/Simple pt.</a:t>
            </a:r>
          </a:p>
        </p:txBody>
      </p:sp>
      <p:sp>
        <p:nvSpPr>
          <p:cNvPr id="6" name="Marcador de texto 5">
            <a:extLst>
              <a:ext uri="{FF2B5EF4-FFF2-40B4-BE49-F238E27FC236}">
                <a16:creationId xmlns:a16="http://schemas.microsoft.com/office/drawing/2014/main" id="{50553BA4-0A31-A33B-E8A9-32A38D3456E0}"/>
              </a:ext>
            </a:extLst>
          </p:cNvPr>
          <p:cNvSpPr>
            <a:spLocks noGrp="1"/>
          </p:cNvSpPr>
          <p:nvPr>
            <p:ph type="body" sz="quarter" idx="16" hasCustomPrompt="1"/>
          </p:nvPr>
        </p:nvSpPr>
        <p:spPr>
          <a:xfrm>
            <a:off x="6527800" y="3429000"/>
            <a:ext cx="4895851" cy="1253016"/>
          </a:xfrm>
          <a:prstGeom prst="rect">
            <a:avLst/>
          </a:prstGeom>
        </p:spPr>
        <p:txBody>
          <a:bodyPr lIns="0" tIns="0" rIns="0" bIns="0">
            <a:noAutofit/>
          </a:bodyPr>
          <a:lstStyle>
            <a:lvl1pPr marL="0" indent="0">
              <a:lnSpc>
                <a:spcPct val="100000"/>
              </a:lnSpc>
              <a:spcBef>
                <a:spcPts val="0"/>
              </a:spcBef>
              <a:buNone/>
              <a:defRPr sz="1200" baseline="0">
                <a:solidFill>
                  <a:schemeClr val="accent1"/>
                </a:solidFill>
              </a:defRPr>
            </a:lvl1pPr>
            <a:lvl2pPr marL="457189" indent="0">
              <a:buNone/>
              <a:defRPr/>
            </a:lvl2pPr>
            <a:lvl3pPr marL="914377" indent="0">
              <a:buNone/>
              <a:defRPr/>
            </a:lvl3pPr>
            <a:lvl4pPr marL="1371566" indent="0">
              <a:buNone/>
              <a:defRPr/>
            </a:lvl4pPr>
            <a:lvl5pPr marL="1828754" indent="0">
              <a:buNone/>
              <a:defRPr/>
            </a:lvl5pPr>
          </a:lstStyle>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err="1"/>
              <a:t>Bodycopy</a:t>
            </a:r>
            <a:r>
              <a:rPr lang="en-US" noProof="0"/>
              <a:t> is Arial Regular 9/Simple pt. Lorem ipsum dolor si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ipsum dolor sit </a:t>
            </a:r>
            <a:r>
              <a:rPr lang="en-US" noProof="0" err="1"/>
              <a:t>amet</a:t>
            </a:r>
            <a:r>
              <a:rPr lang="en-US" noProof="0"/>
              <a:t> lorem ipsum dolor sit </a:t>
            </a:r>
            <a:r>
              <a:rPr lang="en-US" noProof="0" err="1"/>
              <a:t>amet</a:t>
            </a:r>
            <a:r>
              <a:rPr lang="en-US" noProof="0"/>
              <a:t>. Lorem ipsum dolor sit ipsum dolor sit </a:t>
            </a:r>
            <a:r>
              <a:rPr lang="en-US" noProof="0" err="1"/>
              <a:t>amet</a:t>
            </a:r>
            <a:r>
              <a:rPr lang="en-US" noProof="0"/>
              <a:t> lorem ipsum dolor sit </a:t>
            </a:r>
            <a:r>
              <a:rPr lang="en-US" noProof="0" err="1"/>
              <a:t>amet</a:t>
            </a:r>
            <a:r>
              <a:rPr lang="en-US" noProof="0"/>
              <a:t>. Lorem ipsum dolor sit dolor sit </a:t>
            </a:r>
            <a:r>
              <a:rPr lang="en-US" noProof="0" err="1"/>
              <a:t>amet</a:t>
            </a:r>
            <a:r>
              <a:rPr lang="en-US" noProof="0"/>
              <a:t> lorem ipsum dolor sit </a:t>
            </a:r>
            <a:r>
              <a:rPr lang="en-US" noProof="0" err="1"/>
              <a:t>amet</a:t>
            </a:r>
            <a:r>
              <a:rPr lang="en-US" noProof="0"/>
              <a:t>.</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noProof="0"/>
          </a:p>
          <a:p>
            <a:pPr lvl="0"/>
            <a:endParaRPr lang="en-US" noProof="0"/>
          </a:p>
        </p:txBody>
      </p:sp>
      <p:sp>
        <p:nvSpPr>
          <p:cNvPr id="2" name="Marcador de imagen 7">
            <a:extLst>
              <a:ext uri="{FF2B5EF4-FFF2-40B4-BE49-F238E27FC236}">
                <a16:creationId xmlns:a16="http://schemas.microsoft.com/office/drawing/2014/main" id="{1EADC2CC-CAAE-AB4D-3022-CD780B695763}"/>
              </a:ext>
            </a:extLst>
          </p:cNvPr>
          <p:cNvSpPr>
            <a:spLocks noGrp="1"/>
          </p:cNvSpPr>
          <p:nvPr>
            <p:ph type="pic" sz="quarter" idx="20" hasCustomPrompt="1"/>
          </p:nvPr>
        </p:nvSpPr>
        <p:spPr>
          <a:xfrm>
            <a:off x="-2567" y="-9146"/>
            <a:ext cx="12214628" cy="2973979"/>
          </a:xfrm>
          <a:custGeom>
            <a:avLst/>
            <a:gdLst>
              <a:gd name="connsiteX0" fmla="*/ 0 w 8411266"/>
              <a:gd name="connsiteY0" fmla="*/ 0 h 2915921"/>
              <a:gd name="connsiteX1" fmla="*/ 8411266 w 8411266"/>
              <a:gd name="connsiteY1" fmla="*/ 0 h 2915921"/>
              <a:gd name="connsiteX2" fmla="*/ 8411266 w 8411266"/>
              <a:gd name="connsiteY2" fmla="*/ 2915921 h 2915921"/>
              <a:gd name="connsiteX3" fmla="*/ 0 w 8411266"/>
              <a:gd name="connsiteY3" fmla="*/ 2915921 h 2915921"/>
              <a:gd name="connsiteX4" fmla="*/ 0 w 8411266"/>
              <a:gd name="connsiteY4" fmla="*/ 0 h 2915921"/>
              <a:gd name="connsiteX0" fmla="*/ 0 w 8411266"/>
              <a:gd name="connsiteY0" fmla="*/ 0 h 2915922"/>
              <a:gd name="connsiteX1" fmla="*/ 8411266 w 8411266"/>
              <a:gd name="connsiteY1" fmla="*/ 0 h 2915922"/>
              <a:gd name="connsiteX2" fmla="*/ 8411266 w 8411266"/>
              <a:gd name="connsiteY2" fmla="*/ 2915921 h 2915922"/>
              <a:gd name="connsiteX3" fmla="*/ 7668987 w 8411266"/>
              <a:gd name="connsiteY3" fmla="*/ 2915922 h 2915922"/>
              <a:gd name="connsiteX4" fmla="*/ 0 w 8411266"/>
              <a:gd name="connsiteY4" fmla="*/ 2915921 h 2915922"/>
              <a:gd name="connsiteX5" fmla="*/ 0 w 8411266"/>
              <a:gd name="connsiteY5" fmla="*/ 0 h 2915922"/>
              <a:gd name="connsiteX0" fmla="*/ 0 w 8411266"/>
              <a:gd name="connsiteY0" fmla="*/ 0 h 2915922"/>
              <a:gd name="connsiteX1" fmla="*/ 8411266 w 8411266"/>
              <a:gd name="connsiteY1" fmla="*/ 0 h 2915922"/>
              <a:gd name="connsiteX2" fmla="*/ 8405886 w 8411266"/>
              <a:gd name="connsiteY2" fmla="*/ 2238189 h 2915922"/>
              <a:gd name="connsiteX3" fmla="*/ 8411266 w 8411266"/>
              <a:gd name="connsiteY3" fmla="*/ 2915921 h 2915922"/>
              <a:gd name="connsiteX4" fmla="*/ 7668987 w 8411266"/>
              <a:gd name="connsiteY4" fmla="*/ 2915922 h 2915922"/>
              <a:gd name="connsiteX5" fmla="*/ 0 w 8411266"/>
              <a:gd name="connsiteY5" fmla="*/ 2915921 h 2915922"/>
              <a:gd name="connsiteX6" fmla="*/ 0 w 8411266"/>
              <a:gd name="connsiteY6" fmla="*/ 0 h 2915922"/>
              <a:gd name="connsiteX0" fmla="*/ 0 w 8411782"/>
              <a:gd name="connsiteY0" fmla="*/ 0 h 2915922"/>
              <a:gd name="connsiteX1" fmla="*/ 8411266 w 8411782"/>
              <a:gd name="connsiteY1" fmla="*/ 0 h 2915922"/>
              <a:gd name="connsiteX2" fmla="*/ 8411265 w 8411782"/>
              <a:gd name="connsiteY2" fmla="*/ 2211294 h 2915922"/>
              <a:gd name="connsiteX3" fmla="*/ 8411266 w 8411782"/>
              <a:gd name="connsiteY3" fmla="*/ 2915921 h 2915922"/>
              <a:gd name="connsiteX4" fmla="*/ 7668987 w 8411782"/>
              <a:gd name="connsiteY4" fmla="*/ 2915922 h 2915922"/>
              <a:gd name="connsiteX5" fmla="*/ 0 w 8411782"/>
              <a:gd name="connsiteY5" fmla="*/ 2915921 h 2915922"/>
              <a:gd name="connsiteX6" fmla="*/ 0 w 8411782"/>
              <a:gd name="connsiteY6" fmla="*/ 0 h 2915922"/>
              <a:gd name="connsiteX0" fmla="*/ 0 w 8519559"/>
              <a:gd name="connsiteY0" fmla="*/ 0 h 2915922"/>
              <a:gd name="connsiteX1" fmla="*/ 8411266 w 8519559"/>
              <a:gd name="connsiteY1" fmla="*/ 0 h 2915922"/>
              <a:gd name="connsiteX2" fmla="*/ 8411265 w 8519559"/>
              <a:gd name="connsiteY2" fmla="*/ 2211294 h 2915922"/>
              <a:gd name="connsiteX3" fmla="*/ 7668987 w 8519559"/>
              <a:gd name="connsiteY3" fmla="*/ 2915922 h 2915922"/>
              <a:gd name="connsiteX4" fmla="*/ 0 w 8519559"/>
              <a:gd name="connsiteY4" fmla="*/ 2915921 h 2915922"/>
              <a:gd name="connsiteX5" fmla="*/ 0 w 8519559"/>
              <a:gd name="connsiteY5" fmla="*/ 0 h 2915922"/>
              <a:gd name="connsiteX0" fmla="*/ 0 w 8568374"/>
              <a:gd name="connsiteY0" fmla="*/ 0 h 2915922"/>
              <a:gd name="connsiteX1" fmla="*/ 8411266 w 8568374"/>
              <a:gd name="connsiteY1" fmla="*/ 0 h 2915922"/>
              <a:gd name="connsiteX2" fmla="*/ 8411265 w 8568374"/>
              <a:gd name="connsiteY2" fmla="*/ 2211294 h 2915922"/>
              <a:gd name="connsiteX3" fmla="*/ 7668987 w 8568374"/>
              <a:gd name="connsiteY3" fmla="*/ 2915922 h 2915922"/>
              <a:gd name="connsiteX4" fmla="*/ 0 w 8568374"/>
              <a:gd name="connsiteY4" fmla="*/ 2915921 h 2915922"/>
              <a:gd name="connsiteX5" fmla="*/ 0 w 8568374"/>
              <a:gd name="connsiteY5" fmla="*/ 0 h 2915922"/>
              <a:gd name="connsiteX0" fmla="*/ 0 w 8411782"/>
              <a:gd name="connsiteY0" fmla="*/ 0 h 2915922"/>
              <a:gd name="connsiteX1" fmla="*/ 8411266 w 8411782"/>
              <a:gd name="connsiteY1" fmla="*/ 0 h 2915922"/>
              <a:gd name="connsiteX2" fmla="*/ 8411265 w 8411782"/>
              <a:gd name="connsiteY2" fmla="*/ 2211294 h 2915922"/>
              <a:gd name="connsiteX3" fmla="*/ 7668987 w 8411782"/>
              <a:gd name="connsiteY3" fmla="*/ 2915922 h 2915922"/>
              <a:gd name="connsiteX4" fmla="*/ 0 w 8411782"/>
              <a:gd name="connsiteY4" fmla="*/ 2915921 h 2915922"/>
              <a:gd name="connsiteX5" fmla="*/ 0 w 8411782"/>
              <a:gd name="connsiteY5" fmla="*/ 0 h 2915922"/>
              <a:gd name="connsiteX0" fmla="*/ 0 w 8418465"/>
              <a:gd name="connsiteY0" fmla="*/ 0 h 2915922"/>
              <a:gd name="connsiteX1" fmla="*/ 8411266 w 8418465"/>
              <a:gd name="connsiteY1" fmla="*/ 0 h 2915922"/>
              <a:gd name="connsiteX2" fmla="*/ 8418046 w 8418465"/>
              <a:gd name="connsiteY2" fmla="*/ 2519966 h 2915922"/>
              <a:gd name="connsiteX3" fmla="*/ 7668987 w 8418465"/>
              <a:gd name="connsiteY3" fmla="*/ 2915922 h 2915922"/>
              <a:gd name="connsiteX4" fmla="*/ 0 w 8418465"/>
              <a:gd name="connsiteY4" fmla="*/ 2915921 h 2915922"/>
              <a:gd name="connsiteX5" fmla="*/ 0 w 8418465"/>
              <a:gd name="connsiteY5" fmla="*/ 0 h 2915922"/>
              <a:gd name="connsiteX0" fmla="*/ 0 w 8425205"/>
              <a:gd name="connsiteY0" fmla="*/ 0 h 2915922"/>
              <a:gd name="connsiteX1" fmla="*/ 8411266 w 8425205"/>
              <a:gd name="connsiteY1" fmla="*/ 0 h 2915922"/>
              <a:gd name="connsiteX2" fmla="*/ 8424827 w 8425205"/>
              <a:gd name="connsiteY2" fmla="*/ 2522560 h 2915922"/>
              <a:gd name="connsiteX3" fmla="*/ 7668987 w 8425205"/>
              <a:gd name="connsiteY3" fmla="*/ 2915922 h 2915922"/>
              <a:gd name="connsiteX4" fmla="*/ 0 w 8425205"/>
              <a:gd name="connsiteY4" fmla="*/ 2915921 h 2915922"/>
              <a:gd name="connsiteX5" fmla="*/ 0 w 8425205"/>
              <a:gd name="connsiteY5" fmla="*/ 0 h 2915922"/>
              <a:gd name="connsiteX0" fmla="*/ 0 w 8411783"/>
              <a:gd name="connsiteY0" fmla="*/ 0 h 2915922"/>
              <a:gd name="connsiteX1" fmla="*/ 8411266 w 8411783"/>
              <a:gd name="connsiteY1" fmla="*/ 0 h 2915922"/>
              <a:gd name="connsiteX2" fmla="*/ 8411265 w 8411783"/>
              <a:gd name="connsiteY2" fmla="*/ 2506997 h 2915922"/>
              <a:gd name="connsiteX3" fmla="*/ 7668987 w 8411783"/>
              <a:gd name="connsiteY3" fmla="*/ 2915922 h 2915922"/>
              <a:gd name="connsiteX4" fmla="*/ 0 w 8411783"/>
              <a:gd name="connsiteY4" fmla="*/ 2915921 h 2915922"/>
              <a:gd name="connsiteX5" fmla="*/ 0 w 8411783"/>
              <a:gd name="connsiteY5" fmla="*/ 0 h 2915922"/>
              <a:gd name="connsiteX0" fmla="*/ 0 w 8411781"/>
              <a:gd name="connsiteY0" fmla="*/ 0 h 2918516"/>
              <a:gd name="connsiteX1" fmla="*/ 8411266 w 8411781"/>
              <a:gd name="connsiteY1" fmla="*/ 0 h 2918516"/>
              <a:gd name="connsiteX2" fmla="*/ 8411265 w 8411781"/>
              <a:gd name="connsiteY2" fmla="*/ 2506997 h 2918516"/>
              <a:gd name="connsiteX3" fmla="*/ 7431649 w 8411781"/>
              <a:gd name="connsiteY3" fmla="*/ 2918516 h 2918516"/>
              <a:gd name="connsiteX4" fmla="*/ 0 w 8411781"/>
              <a:gd name="connsiteY4" fmla="*/ 2915921 h 2918516"/>
              <a:gd name="connsiteX5" fmla="*/ 0 w 8411781"/>
              <a:gd name="connsiteY5" fmla="*/ 0 h 2918516"/>
              <a:gd name="connsiteX0" fmla="*/ 0 w 8411783"/>
              <a:gd name="connsiteY0" fmla="*/ 0 h 2921109"/>
              <a:gd name="connsiteX1" fmla="*/ 8411266 w 8411783"/>
              <a:gd name="connsiteY1" fmla="*/ 0 h 2921109"/>
              <a:gd name="connsiteX2" fmla="*/ 8411265 w 8411783"/>
              <a:gd name="connsiteY2" fmla="*/ 2506997 h 2921109"/>
              <a:gd name="connsiteX3" fmla="*/ 7431649 w 8411783"/>
              <a:gd name="connsiteY3" fmla="*/ 2918516 h 2921109"/>
              <a:gd name="connsiteX4" fmla="*/ 0 w 8411783"/>
              <a:gd name="connsiteY4" fmla="*/ 2921109 h 2921109"/>
              <a:gd name="connsiteX5" fmla="*/ 0 w 8411783"/>
              <a:gd name="connsiteY5" fmla="*/ 0 h 2921109"/>
              <a:gd name="connsiteX0" fmla="*/ 0 w 8412159"/>
              <a:gd name="connsiteY0" fmla="*/ 0 h 2921109"/>
              <a:gd name="connsiteX1" fmla="*/ 8411266 w 8412159"/>
              <a:gd name="connsiteY1" fmla="*/ 0 h 2921109"/>
              <a:gd name="connsiteX2" fmla="*/ 8411265 w 8412159"/>
              <a:gd name="connsiteY2" fmla="*/ 2506997 h 2921109"/>
              <a:gd name="connsiteX3" fmla="*/ 7431649 w 8412159"/>
              <a:gd name="connsiteY3" fmla="*/ 2918516 h 2921109"/>
              <a:gd name="connsiteX4" fmla="*/ 0 w 8412159"/>
              <a:gd name="connsiteY4" fmla="*/ 2921109 h 2921109"/>
              <a:gd name="connsiteX5" fmla="*/ 0 w 8412159"/>
              <a:gd name="connsiteY5" fmla="*/ 0 h 2921109"/>
              <a:gd name="connsiteX0" fmla="*/ 13562 w 8412159"/>
              <a:gd name="connsiteY0" fmla="*/ 0 h 2921109"/>
              <a:gd name="connsiteX1" fmla="*/ 8411266 w 8412159"/>
              <a:gd name="connsiteY1" fmla="*/ 0 h 2921109"/>
              <a:gd name="connsiteX2" fmla="*/ 8411265 w 8412159"/>
              <a:gd name="connsiteY2" fmla="*/ 2506997 h 2921109"/>
              <a:gd name="connsiteX3" fmla="*/ 7431649 w 8412159"/>
              <a:gd name="connsiteY3" fmla="*/ 2918516 h 2921109"/>
              <a:gd name="connsiteX4" fmla="*/ 0 w 8412159"/>
              <a:gd name="connsiteY4" fmla="*/ 2921109 h 2921109"/>
              <a:gd name="connsiteX5" fmla="*/ 13562 w 8412159"/>
              <a:gd name="connsiteY5" fmla="*/ 0 h 2921109"/>
              <a:gd name="connsiteX0" fmla="*/ 13562 w 8415929"/>
              <a:gd name="connsiteY0" fmla="*/ 0 h 2922720"/>
              <a:gd name="connsiteX1" fmla="*/ 8411266 w 8415929"/>
              <a:gd name="connsiteY1" fmla="*/ 0 h 2922720"/>
              <a:gd name="connsiteX2" fmla="*/ 8411265 w 8415929"/>
              <a:gd name="connsiteY2" fmla="*/ 2506997 h 2922720"/>
              <a:gd name="connsiteX3" fmla="*/ 7514079 w 8415929"/>
              <a:gd name="connsiteY3" fmla="*/ 2922720 h 2922720"/>
              <a:gd name="connsiteX4" fmla="*/ 0 w 8415929"/>
              <a:gd name="connsiteY4" fmla="*/ 2921109 h 2922720"/>
              <a:gd name="connsiteX5" fmla="*/ 13562 w 8415929"/>
              <a:gd name="connsiteY5" fmla="*/ 0 h 2922720"/>
              <a:gd name="connsiteX0" fmla="*/ 13562 w 8415929"/>
              <a:gd name="connsiteY0" fmla="*/ 0 h 2922720"/>
              <a:gd name="connsiteX1" fmla="*/ 8411266 w 8415929"/>
              <a:gd name="connsiteY1" fmla="*/ 0 h 2922720"/>
              <a:gd name="connsiteX2" fmla="*/ 8411265 w 8415929"/>
              <a:gd name="connsiteY2" fmla="*/ 2481772 h 2922720"/>
              <a:gd name="connsiteX3" fmla="*/ 7514079 w 8415929"/>
              <a:gd name="connsiteY3" fmla="*/ 2922720 h 2922720"/>
              <a:gd name="connsiteX4" fmla="*/ 0 w 8415929"/>
              <a:gd name="connsiteY4" fmla="*/ 2921109 h 2922720"/>
              <a:gd name="connsiteX5" fmla="*/ 13562 w 8415929"/>
              <a:gd name="connsiteY5" fmla="*/ 0 h 2922720"/>
              <a:gd name="connsiteX0" fmla="*/ 13562 w 8414282"/>
              <a:gd name="connsiteY0" fmla="*/ 0 h 2922720"/>
              <a:gd name="connsiteX1" fmla="*/ 8411266 w 8414282"/>
              <a:gd name="connsiteY1" fmla="*/ 0 h 2922720"/>
              <a:gd name="connsiteX2" fmla="*/ 8411265 w 8414282"/>
              <a:gd name="connsiteY2" fmla="*/ 2481772 h 2922720"/>
              <a:gd name="connsiteX3" fmla="*/ 7514079 w 8414282"/>
              <a:gd name="connsiteY3" fmla="*/ 2922720 h 2922720"/>
              <a:gd name="connsiteX4" fmla="*/ 0 w 8414282"/>
              <a:gd name="connsiteY4" fmla="*/ 2921109 h 2922720"/>
              <a:gd name="connsiteX5" fmla="*/ 13562 w 8414282"/>
              <a:gd name="connsiteY5" fmla="*/ 0 h 2922720"/>
              <a:gd name="connsiteX0" fmla="*/ 13562 w 8418988"/>
              <a:gd name="connsiteY0" fmla="*/ 0 h 2926924"/>
              <a:gd name="connsiteX1" fmla="*/ 8411266 w 8418988"/>
              <a:gd name="connsiteY1" fmla="*/ 0 h 2926924"/>
              <a:gd name="connsiteX2" fmla="*/ 8411265 w 8418988"/>
              <a:gd name="connsiteY2" fmla="*/ 2481772 h 2926924"/>
              <a:gd name="connsiteX3" fmla="*/ 7567541 w 8418988"/>
              <a:gd name="connsiteY3" fmla="*/ 2926924 h 2926924"/>
              <a:gd name="connsiteX4" fmla="*/ 0 w 8418988"/>
              <a:gd name="connsiteY4" fmla="*/ 2921109 h 2926924"/>
              <a:gd name="connsiteX5" fmla="*/ 13562 w 8418988"/>
              <a:gd name="connsiteY5" fmla="*/ 0 h 2926924"/>
              <a:gd name="connsiteX0" fmla="*/ 13562 w 8411933"/>
              <a:gd name="connsiteY0" fmla="*/ 0 h 2926924"/>
              <a:gd name="connsiteX1" fmla="*/ 8411266 w 8411933"/>
              <a:gd name="connsiteY1" fmla="*/ 0 h 2926924"/>
              <a:gd name="connsiteX2" fmla="*/ 8411265 w 8411933"/>
              <a:gd name="connsiteY2" fmla="*/ 2481772 h 2926924"/>
              <a:gd name="connsiteX3" fmla="*/ 7567541 w 8411933"/>
              <a:gd name="connsiteY3" fmla="*/ 2926924 h 2926924"/>
              <a:gd name="connsiteX4" fmla="*/ 0 w 8411933"/>
              <a:gd name="connsiteY4" fmla="*/ 2921109 h 2926924"/>
              <a:gd name="connsiteX5" fmla="*/ 13562 w 8411933"/>
              <a:gd name="connsiteY5" fmla="*/ 0 h 2926924"/>
              <a:gd name="connsiteX0" fmla="*/ 2313266 w 8411933"/>
              <a:gd name="connsiteY0" fmla="*/ 0 h 3278300"/>
              <a:gd name="connsiteX1" fmla="*/ 8411266 w 8411933"/>
              <a:gd name="connsiteY1" fmla="*/ 351376 h 3278300"/>
              <a:gd name="connsiteX2" fmla="*/ 8411265 w 8411933"/>
              <a:gd name="connsiteY2" fmla="*/ 2833148 h 3278300"/>
              <a:gd name="connsiteX3" fmla="*/ 7567541 w 8411933"/>
              <a:gd name="connsiteY3" fmla="*/ 3278300 h 3278300"/>
              <a:gd name="connsiteX4" fmla="*/ 0 w 8411933"/>
              <a:gd name="connsiteY4" fmla="*/ 3272485 h 3278300"/>
              <a:gd name="connsiteX5" fmla="*/ 2313266 w 8411933"/>
              <a:gd name="connsiteY5" fmla="*/ 0 h 3278300"/>
              <a:gd name="connsiteX0" fmla="*/ 1267 w 6099934"/>
              <a:gd name="connsiteY0" fmla="*/ 0 h 3278300"/>
              <a:gd name="connsiteX1" fmla="*/ 6099267 w 6099934"/>
              <a:gd name="connsiteY1" fmla="*/ 351376 h 3278300"/>
              <a:gd name="connsiteX2" fmla="*/ 6099266 w 6099934"/>
              <a:gd name="connsiteY2" fmla="*/ 2833148 h 3278300"/>
              <a:gd name="connsiteX3" fmla="*/ 5255542 w 6099934"/>
              <a:gd name="connsiteY3" fmla="*/ 3278300 h 3278300"/>
              <a:gd name="connsiteX4" fmla="*/ 1602 w 6099934"/>
              <a:gd name="connsiteY4" fmla="*/ 3276184 h 3278300"/>
              <a:gd name="connsiteX5" fmla="*/ 1267 w 6099934"/>
              <a:gd name="connsiteY5" fmla="*/ 0 h 3278300"/>
              <a:gd name="connsiteX0" fmla="*/ 1267 w 6099934"/>
              <a:gd name="connsiteY0" fmla="*/ 0 h 3278300"/>
              <a:gd name="connsiteX1" fmla="*/ 6099267 w 6099934"/>
              <a:gd name="connsiteY1" fmla="*/ 3698 h 3278300"/>
              <a:gd name="connsiteX2" fmla="*/ 6099266 w 6099934"/>
              <a:gd name="connsiteY2" fmla="*/ 2833148 h 3278300"/>
              <a:gd name="connsiteX3" fmla="*/ 5255542 w 6099934"/>
              <a:gd name="connsiteY3" fmla="*/ 3278300 h 3278300"/>
              <a:gd name="connsiteX4" fmla="*/ 1602 w 6099934"/>
              <a:gd name="connsiteY4" fmla="*/ 3276184 h 3278300"/>
              <a:gd name="connsiteX5" fmla="*/ 1267 w 6099934"/>
              <a:gd name="connsiteY5" fmla="*/ 0 h 3278300"/>
              <a:gd name="connsiteX0" fmla="*/ -1 w 6098666"/>
              <a:gd name="connsiteY0" fmla="*/ 0 h 3278300"/>
              <a:gd name="connsiteX1" fmla="*/ 6097999 w 6098666"/>
              <a:gd name="connsiteY1" fmla="*/ 3698 h 3278300"/>
              <a:gd name="connsiteX2" fmla="*/ 6097998 w 6098666"/>
              <a:gd name="connsiteY2" fmla="*/ 2833148 h 3278300"/>
              <a:gd name="connsiteX3" fmla="*/ 5254274 w 6098666"/>
              <a:gd name="connsiteY3" fmla="*/ 3278300 h 3278300"/>
              <a:gd name="connsiteX4" fmla="*/ 334 w 6098666"/>
              <a:gd name="connsiteY4" fmla="*/ 3276184 h 3278300"/>
              <a:gd name="connsiteX5" fmla="*/ -1 w 6098666"/>
              <a:gd name="connsiteY5" fmla="*/ 0 h 3278300"/>
              <a:gd name="connsiteX0" fmla="*/ 1 w 6098668"/>
              <a:gd name="connsiteY0" fmla="*/ 0 h 3278300"/>
              <a:gd name="connsiteX1" fmla="*/ 6098001 w 6098668"/>
              <a:gd name="connsiteY1" fmla="*/ 3698 h 3278300"/>
              <a:gd name="connsiteX2" fmla="*/ 6098000 w 6098668"/>
              <a:gd name="connsiteY2" fmla="*/ 2833148 h 3278300"/>
              <a:gd name="connsiteX3" fmla="*/ 5254276 w 6098668"/>
              <a:gd name="connsiteY3" fmla="*/ 3278300 h 3278300"/>
              <a:gd name="connsiteX4" fmla="*/ 336 w 6098668"/>
              <a:gd name="connsiteY4" fmla="*/ 3276184 h 3278300"/>
              <a:gd name="connsiteX5" fmla="*/ 1 w 6098668"/>
              <a:gd name="connsiteY5" fmla="*/ 0 h 3278300"/>
              <a:gd name="connsiteX0" fmla="*/ -1 w 6098666"/>
              <a:gd name="connsiteY0" fmla="*/ 0 h 3278300"/>
              <a:gd name="connsiteX1" fmla="*/ 6097999 w 6098666"/>
              <a:gd name="connsiteY1" fmla="*/ 3698 h 3278300"/>
              <a:gd name="connsiteX2" fmla="*/ 6097998 w 6098666"/>
              <a:gd name="connsiteY2" fmla="*/ 2833148 h 3278300"/>
              <a:gd name="connsiteX3" fmla="*/ 5254274 w 6098666"/>
              <a:gd name="connsiteY3" fmla="*/ 3278300 h 3278300"/>
              <a:gd name="connsiteX4" fmla="*/ 334 w 6098666"/>
              <a:gd name="connsiteY4" fmla="*/ 3276184 h 3278300"/>
              <a:gd name="connsiteX5" fmla="*/ -1 w 6098666"/>
              <a:gd name="connsiteY5" fmla="*/ 0 h 3278300"/>
              <a:gd name="connsiteX0" fmla="*/ 1 w 6098796"/>
              <a:gd name="connsiteY0" fmla="*/ 0 h 3278300"/>
              <a:gd name="connsiteX1" fmla="*/ 6098001 w 6098796"/>
              <a:gd name="connsiteY1" fmla="*/ 3698 h 3278300"/>
              <a:gd name="connsiteX2" fmla="*/ 6098000 w 6098796"/>
              <a:gd name="connsiteY2" fmla="*/ 2833148 h 3278300"/>
              <a:gd name="connsiteX3" fmla="*/ 5254276 w 6098796"/>
              <a:gd name="connsiteY3" fmla="*/ 3278300 h 3278300"/>
              <a:gd name="connsiteX4" fmla="*/ 336 w 6098796"/>
              <a:gd name="connsiteY4" fmla="*/ 3276184 h 3278300"/>
              <a:gd name="connsiteX5" fmla="*/ 1 w 6098796"/>
              <a:gd name="connsiteY5" fmla="*/ 0 h 3278300"/>
              <a:gd name="connsiteX0" fmla="*/ -1 w 6098794"/>
              <a:gd name="connsiteY0" fmla="*/ 0 h 3276184"/>
              <a:gd name="connsiteX1" fmla="*/ 6097999 w 6098794"/>
              <a:gd name="connsiteY1" fmla="*/ 3698 h 3276184"/>
              <a:gd name="connsiteX2" fmla="*/ 6097998 w 6098794"/>
              <a:gd name="connsiteY2" fmla="*/ 2833148 h 3276184"/>
              <a:gd name="connsiteX3" fmla="*/ 3259278 w 6098794"/>
              <a:gd name="connsiteY3" fmla="*/ 3273473 h 3276184"/>
              <a:gd name="connsiteX4" fmla="*/ 334 w 6098794"/>
              <a:gd name="connsiteY4" fmla="*/ 3276184 h 3276184"/>
              <a:gd name="connsiteX5" fmla="*/ -1 w 6098794"/>
              <a:gd name="connsiteY5" fmla="*/ 0 h 3276184"/>
              <a:gd name="connsiteX0" fmla="*/ 1 w 6098000"/>
              <a:gd name="connsiteY0" fmla="*/ 0 h 3276184"/>
              <a:gd name="connsiteX1" fmla="*/ 6098001 w 6098000"/>
              <a:gd name="connsiteY1" fmla="*/ 3698 h 3276184"/>
              <a:gd name="connsiteX2" fmla="*/ 6079864 w 6098000"/>
              <a:gd name="connsiteY2" fmla="*/ 2529014 h 3276184"/>
              <a:gd name="connsiteX3" fmla="*/ 3259280 w 6098000"/>
              <a:gd name="connsiteY3" fmla="*/ 3273473 h 3276184"/>
              <a:gd name="connsiteX4" fmla="*/ 336 w 6098000"/>
              <a:gd name="connsiteY4" fmla="*/ 3276184 h 3276184"/>
              <a:gd name="connsiteX5" fmla="*/ 1 w 6098000"/>
              <a:gd name="connsiteY5" fmla="*/ 0 h 3276184"/>
              <a:gd name="connsiteX0" fmla="*/ 8737 w 6106737"/>
              <a:gd name="connsiteY0" fmla="*/ 0 h 3273473"/>
              <a:gd name="connsiteX1" fmla="*/ 6106737 w 6106737"/>
              <a:gd name="connsiteY1" fmla="*/ 3698 h 3273473"/>
              <a:gd name="connsiteX2" fmla="*/ 6088600 w 6106737"/>
              <a:gd name="connsiteY2" fmla="*/ 2529014 h 3273473"/>
              <a:gd name="connsiteX3" fmla="*/ 3268016 w 6106737"/>
              <a:gd name="connsiteY3" fmla="*/ 3273473 h 3273473"/>
              <a:gd name="connsiteX4" fmla="*/ 3 w 6106737"/>
              <a:gd name="connsiteY4" fmla="*/ 2329989 h 3273473"/>
              <a:gd name="connsiteX5" fmla="*/ 8737 w 6106737"/>
              <a:gd name="connsiteY5" fmla="*/ 0 h 3273473"/>
              <a:gd name="connsiteX0" fmla="*/ 335189 w 6106735"/>
              <a:gd name="connsiteY0" fmla="*/ 454917 h 3269775"/>
              <a:gd name="connsiteX1" fmla="*/ 6106735 w 6106735"/>
              <a:gd name="connsiteY1" fmla="*/ 0 h 3269775"/>
              <a:gd name="connsiteX2" fmla="*/ 6088598 w 6106735"/>
              <a:gd name="connsiteY2" fmla="*/ 2525316 h 3269775"/>
              <a:gd name="connsiteX3" fmla="*/ 3268014 w 6106735"/>
              <a:gd name="connsiteY3" fmla="*/ 3269775 h 3269775"/>
              <a:gd name="connsiteX4" fmla="*/ 1 w 6106735"/>
              <a:gd name="connsiteY4" fmla="*/ 2326291 h 3269775"/>
              <a:gd name="connsiteX5" fmla="*/ 335189 w 6106735"/>
              <a:gd name="connsiteY5" fmla="*/ 454917 h 3269775"/>
              <a:gd name="connsiteX0" fmla="*/ 335189 w 6106735"/>
              <a:gd name="connsiteY0" fmla="*/ 454917 h 3269775"/>
              <a:gd name="connsiteX1" fmla="*/ 3432891 w 6106735"/>
              <a:gd name="connsiteY1" fmla="*/ 205873 h 3269775"/>
              <a:gd name="connsiteX2" fmla="*/ 6106735 w 6106735"/>
              <a:gd name="connsiteY2" fmla="*/ 0 h 3269775"/>
              <a:gd name="connsiteX3" fmla="*/ 6088598 w 6106735"/>
              <a:gd name="connsiteY3" fmla="*/ 2525316 h 3269775"/>
              <a:gd name="connsiteX4" fmla="*/ 3268014 w 6106735"/>
              <a:gd name="connsiteY4" fmla="*/ 3269775 h 3269775"/>
              <a:gd name="connsiteX5" fmla="*/ 1 w 6106735"/>
              <a:gd name="connsiteY5" fmla="*/ 2326291 h 3269775"/>
              <a:gd name="connsiteX6" fmla="*/ 335189 w 6106735"/>
              <a:gd name="connsiteY6" fmla="*/ 454917 h 3269775"/>
              <a:gd name="connsiteX0" fmla="*/ 335189 w 6106735"/>
              <a:gd name="connsiteY0" fmla="*/ 454917 h 3269775"/>
              <a:gd name="connsiteX1" fmla="*/ 3260597 w 6106735"/>
              <a:gd name="connsiteY1" fmla="*/ 22428 h 3269775"/>
              <a:gd name="connsiteX2" fmla="*/ 6106735 w 6106735"/>
              <a:gd name="connsiteY2" fmla="*/ 0 h 3269775"/>
              <a:gd name="connsiteX3" fmla="*/ 6088598 w 6106735"/>
              <a:gd name="connsiteY3" fmla="*/ 2525316 h 3269775"/>
              <a:gd name="connsiteX4" fmla="*/ 3268014 w 6106735"/>
              <a:gd name="connsiteY4" fmla="*/ 3269775 h 3269775"/>
              <a:gd name="connsiteX5" fmla="*/ 1 w 6106735"/>
              <a:gd name="connsiteY5" fmla="*/ 2326291 h 3269775"/>
              <a:gd name="connsiteX6" fmla="*/ 335189 w 6106735"/>
              <a:gd name="connsiteY6" fmla="*/ 454917 h 3269775"/>
              <a:gd name="connsiteX0" fmla="*/ 335189 w 6124871"/>
              <a:gd name="connsiteY0" fmla="*/ 432489 h 3247347"/>
              <a:gd name="connsiteX1" fmla="*/ 3260597 w 6124871"/>
              <a:gd name="connsiteY1" fmla="*/ 0 h 3247347"/>
              <a:gd name="connsiteX2" fmla="*/ 6124871 w 6124871"/>
              <a:gd name="connsiteY2" fmla="*/ 281705 h 3247347"/>
              <a:gd name="connsiteX3" fmla="*/ 6088598 w 6124871"/>
              <a:gd name="connsiteY3" fmla="*/ 2502888 h 3247347"/>
              <a:gd name="connsiteX4" fmla="*/ 3268014 w 6124871"/>
              <a:gd name="connsiteY4" fmla="*/ 3247347 h 3247347"/>
              <a:gd name="connsiteX5" fmla="*/ 1 w 6124871"/>
              <a:gd name="connsiteY5" fmla="*/ 2303863 h 3247347"/>
              <a:gd name="connsiteX6" fmla="*/ 335189 w 6124871"/>
              <a:gd name="connsiteY6" fmla="*/ 432489 h 3247347"/>
              <a:gd name="connsiteX0" fmla="*/ 618041 w 6407723"/>
              <a:gd name="connsiteY0" fmla="*/ 432489 h 3247347"/>
              <a:gd name="connsiteX1" fmla="*/ 3543449 w 6407723"/>
              <a:gd name="connsiteY1" fmla="*/ 0 h 3247347"/>
              <a:gd name="connsiteX2" fmla="*/ 6407723 w 6407723"/>
              <a:gd name="connsiteY2" fmla="*/ 281705 h 3247347"/>
              <a:gd name="connsiteX3" fmla="*/ 6371450 w 6407723"/>
              <a:gd name="connsiteY3" fmla="*/ 2502888 h 3247347"/>
              <a:gd name="connsiteX4" fmla="*/ 3550866 w 6407723"/>
              <a:gd name="connsiteY4" fmla="*/ 3247347 h 3247347"/>
              <a:gd name="connsiteX5" fmla="*/ 282853 w 6407723"/>
              <a:gd name="connsiteY5" fmla="*/ 2303863 h 3247347"/>
              <a:gd name="connsiteX6" fmla="*/ 618041 w 6407723"/>
              <a:gd name="connsiteY6" fmla="*/ 432489 h 3247347"/>
              <a:gd name="connsiteX0" fmla="*/ 512943 w 6302625"/>
              <a:gd name="connsiteY0" fmla="*/ 432489 h 3247347"/>
              <a:gd name="connsiteX1" fmla="*/ 3438351 w 6302625"/>
              <a:gd name="connsiteY1" fmla="*/ 0 h 3247347"/>
              <a:gd name="connsiteX2" fmla="*/ 6302625 w 6302625"/>
              <a:gd name="connsiteY2" fmla="*/ 281705 h 3247347"/>
              <a:gd name="connsiteX3" fmla="*/ 6266352 w 6302625"/>
              <a:gd name="connsiteY3" fmla="*/ 2502888 h 3247347"/>
              <a:gd name="connsiteX4" fmla="*/ 3445768 w 6302625"/>
              <a:gd name="connsiteY4" fmla="*/ 3247347 h 3247347"/>
              <a:gd name="connsiteX5" fmla="*/ 177755 w 6302625"/>
              <a:gd name="connsiteY5" fmla="*/ 2303863 h 3247347"/>
              <a:gd name="connsiteX6" fmla="*/ 512943 w 6302625"/>
              <a:gd name="connsiteY6" fmla="*/ 432489 h 3247347"/>
              <a:gd name="connsiteX0" fmla="*/ 512943 w 6302625"/>
              <a:gd name="connsiteY0" fmla="*/ 432489 h 3283326"/>
              <a:gd name="connsiteX1" fmla="*/ 3438351 w 6302625"/>
              <a:gd name="connsiteY1" fmla="*/ 0 h 3283326"/>
              <a:gd name="connsiteX2" fmla="*/ 6302625 w 6302625"/>
              <a:gd name="connsiteY2" fmla="*/ 281705 h 3283326"/>
              <a:gd name="connsiteX3" fmla="*/ 6266352 w 6302625"/>
              <a:gd name="connsiteY3" fmla="*/ 2502888 h 3283326"/>
              <a:gd name="connsiteX4" fmla="*/ 3445768 w 6302625"/>
              <a:gd name="connsiteY4" fmla="*/ 3247347 h 3283326"/>
              <a:gd name="connsiteX5" fmla="*/ 177755 w 6302625"/>
              <a:gd name="connsiteY5" fmla="*/ 2303863 h 3283326"/>
              <a:gd name="connsiteX6" fmla="*/ 512943 w 6302625"/>
              <a:gd name="connsiteY6" fmla="*/ 432489 h 3283326"/>
              <a:gd name="connsiteX0" fmla="*/ 512943 w 6302625"/>
              <a:gd name="connsiteY0" fmla="*/ 432489 h 3283326"/>
              <a:gd name="connsiteX1" fmla="*/ 3438351 w 6302625"/>
              <a:gd name="connsiteY1" fmla="*/ 0 h 3283326"/>
              <a:gd name="connsiteX2" fmla="*/ 6302625 w 6302625"/>
              <a:gd name="connsiteY2" fmla="*/ 281705 h 3283326"/>
              <a:gd name="connsiteX3" fmla="*/ 6266352 w 6302625"/>
              <a:gd name="connsiteY3" fmla="*/ 2502888 h 3283326"/>
              <a:gd name="connsiteX4" fmla="*/ 3445768 w 6302625"/>
              <a:gd name="connsiteY4" fmla="*/ 3247347 h 3283326"/>
              <a:gd name="connsiteX5" fmla="*/ 177755 w 6302625"/>
              <a:gd name="connsiteY5" fmla="*/ 2303863 h 3283326"/>
              <a:gd name="connsiteX6" fmla="*/ 512943 w 6302625"/>
              <a:gd name="connsiteY6" fmla="*/ 432489 h 3283326"/>
              <a:gd name="connsiteX0" fmla="*/ 512943 w 6424948"/>
              <a:gd name="connsiteY0" fmla="*/ 432489 h 3283326"/>
              <a:gd name="connsiteX1" fmla="*/ 3438351 w 6424948"/>
              <a:gd name="connsiteY1" fmla="*/ 0 h 3283326"/>
              <a:gd name="connsiteX2" fmla="*/ 6302625 w 6424948"/>
              <a:gd name="connsiteY2" fmla="*/ 281705 h 3283326"/>
              <a:gd name="connsiteX3" fmla="*/ 6266352 w 6424948"/>
              <a:gd name="connsiteY3" fmla="*/ 2502888 h 3283326"/>
              <a:gd name="connsiteX4" fmla="*/ 3445768 w 6424948"/>
              <a:gd name="connsiteY4" fmla="*/ 3247347 h 3283326"/>
              <a:gd name="connsiteX5" fmla="*/ 177755 w 6424948"/>
              <a:gd name="connsiteY5" fmla="*/ 2303863 h 3283326"/>
              <a:gd name="connsiteX6" fmla="*/ 512943 w 642494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47782"/>
              <a:gd name="connsiteX1" fmla="*/ 3438351 w 6506888"/>
              <a:gd name="connsiteY1" fmla="*/ 0 h 3247782"/>
              <a:gd name="connsiteX2" fmla="*/ 6302625 w 6506888"/>
              <a:gd name="connsiteY2" fmla="*/ 281705 h 3247782"/>
              <a:gd name="connsiteX3" fmla="*/ 6266352 w 6506888"/>
              <a:gd name="connsiteY3" fmla="*/ 2502888 h 3247782"/>
              <a:gd name="connsiteX4" fmla="*/ 3445768 w 6506888"/>
              <a:gd name="connsiteY4" fmla="*/ 3247347 h 3247782"/>
              <a:gd name="connsiteX5" fmla="*/ 177755 w 6506888"/>
              <a:gd name="connsiteY5" fmla="*/ 2303863 h 3247782"/>
              <a:gd name="connsiteX6" fmla="*/ 512943 w 6506888"/>
              <a:gd name="connsiteY6" fmla="*/ 432489 h 3247782"/>
              <a:gd name="connsiteX0" fmla="*/ 512943 w 6640245"/>
              <a:gd name="connsiteY0" fmla="*/ 464431 h 3279724"/>
              <a:gd name="connsiteX1" fmla="*/ 3438351 w 6640245"/>
              <a:gd name="connsiteY1" fmla="*/ 31942 h 3279724"/>
              <a:gd name="connsiteX2" fmla="*/ 6302625 w 6640245"/>
              <a:gd name="connsiteY2" fmla="*/ 313647 h 3279724"/>
              <a:gd name="connsiteX3" fmla="*/ 6266352 w 6640245"/>
              <a:gd name="connsiteY3" fmla="*/ 2534830 h 3279724"/>
              <a:gd name="connsiteX4" fmla="*/ 3445768 w 6640245"/>
              <a:gd name="connsiteY4" fmla="*/ 3279289 h 3279724"/>
              <a:gd name="connsiteX5" fmla="*/ 177755 w 6640245"/>
              <a:gd name="connsiteY5" fmla="*/ 2335805 h 3279724"/>
              <a:gd name="connsiteX6" fmla="*/ 512943 w 6640245"/>
              <a:gd name="connsiteY6" fmla="*/ 464431 h 3279724"/>
              <a:gd name="connsiteX0" fmla="*/ 512943 w 6640245"/>
              <a:gd name="connsiteY0" fmla="*/ 435033 h 3250326"/>
              <a:gd name="connsiteX1" fmla="*/ 3438351 w 6640245"/>
              <a:gd name="connsiteY1" fmla="*/ 2544 h 3250326"/>
              <a:gd name="connsiteX2" fmla="*/ 6302625 w 6640245"/>
              <a:gd name="connsiteY2" fmla="*/ 284249 h 3250326"/>
              <a:gd name="connsiteX3" fmla="*/ 6266352 w 6640245"/>
              <a:gd name="connsiteY3" fmla="*/ 2505432 h 3250326"/>
              <a:gd name="connsiteX4" fmla="*/ 3445768 w 6640245"/>
              <a:gd name="connsiteY4" fmla="*/ 3249891 h 3250326"/>
              <a:gd name="connsiteX5" fmla="*/ 177755 w 6640245"/>
              <a:gd name="connsiteY5" fmla="*/ 2306407 h 3250326"/>
              <a:gd name="connsiteX6" fmla="*/ 512943 w 6640245"/>
              <a:gd name="connsiteY6" fmla="*/ 435033 h 3250326"/>
              <a:gd name="connsiteX0" fmla="*/ 512943 w 6481361"/>
              <a:gd name="connsiteY0" fmla="*/ 435033 h 3250326"/>
              <a:gd name="connsiteX1" fmla="*/ 3438351 w 6481361"/>
              <a:gd name="connsiteY1" fmla="*/ 2544 h 3250326"/>
              <a:gd name="connsiteX2" fmla="*/ 6302625 w 6481361"/>
              <a:gd name="connsiteY2" fmla="*/ 284249 h 3250326"/>
              <a:gd name="connsiteX3" fmla="*/ 6266352 w 6481361"/>
              <a:gd name="connsiteY3" fmla="*/ 2505432 h 3250326"/>
              <a:gd name="connsiteX4" fmla="*/ 3445768 w 6481361"/>
              <a:gd name="connsiteY4" fmla="*/ 3249891 h 3250326"/>
              <a:gd name="connsiteX5" fmla="*/ 177755 w 6481361"/>
              <a:gd name="connsiteY5" fmla="*/ 2306407 h 3250326"/>
              <a:gd name="connsiteX6" fmla="*/ 512943 w 6481361"/>
              <a:gd name="connsiteY6" fmla="*/ 435033 h 3250326"/>
              <a:gd name="connsiteX0" fmla="*/ 512943 w 6481363"/>
              <a:gd name="connsiteY0" fmla="*/ 435033 h 3250326"/>
              <a:gd name="connsiteX1" fmla="*/ 3438351 w 6481363"/>
              <a:gd name="connsiteY1" fmla="*/ 2544 h 3250326"/>
              <a:gd name="connsiteX2" fmla="*/ 6302625 w 6481363"/>
              <a:gd name="connsiteY2" fmla="*/ 284249 h 3250326"/>
              <a:gd name="connsiteX3" fmla="*/ 6266352 w 6481363"/>
              <a:gd name="connsiteY3" fmla="*/ 2505432 h 3250326"/>
              <a:gd name="connsiteX4" fmla="*/ 3445768 w 6481363"/>
              <a:gd name="connsiteY4" fmla="*/ 3249891 h 3250326"/>
              <a:gd name="connsiteX5" fmla="*/ 177755 w 6481363"/>
              <a:gd name="connsiteY5" fmla="*/ 2306407 h 3250326"/>
              <a:gd name="connsiteX6" fmla="*/ 512943 w 6481363"/>
              <a:gd name="connsiteY6" fmla="*/ 435033 h 3250326"/>
              <a:gd name="connsiteX0" fmla="*/ 512943 w 6481361"/>
              <a:gd name="connsiteY0" fmla="*/ 434187 h 3249480"/>
              <a:gd name="connsiteX1" fmla="*/ 3438351 w 6481361"/>
              <a:gd name="connsiteY1" fmla="*/ 1698 h 3249480"/>
              <a:gd name="connsiteX2" fmla="*/ 6302625 w 6481361"/>
              <a:gd name="connsiteY2" fmla="*/ 283403 h 3249480"/>
              <a:gd name="connsiteX3" fmla="*/ 6266352 w 6481361"/>
              <a:gd name="connsiteY3" fmla="*/ 2504586 h 3249480"/>
              <a:gd name="connsiteX4" fmla="*/ 3445768 w 6481361"/>
              <a:gd name="connsiteY4" fmla="*/ 3249045 h 3249480"/>
              <a:gd name="connsiteX5" fmla="*/ 177755 w 6481361"/>
              <a:gd name="connsiteY5" fmla="*/ 2305561 h 3249480"/>
              <a:gd name="connsiteX6" fmla="*/ 512943 w 6481361"/>
              <a:gd name="connsiteY6" fmla="*/ 434187 h 3249480"/>
              <a:gd name="connsiteX0" fmla="*/ 512943 w 6481363"/>
              <a:gd name="connsiteY0" fmla="*/ 435032 h 3250325"/>
              <a:gd name="connsiteX1" fmla="*/ 3438351 w 6481363"/>
              <a:gd name="connsiteY1" fmla="*/ 2543 h 3250325"/>
              <a:gd name="connsiteX2" fmla="*/ 6302625 w 6481363"/>
              <a:gd name="connsiteY2" fmla="*/ 284248 h 3250325"/>
              <a:gd name="connsiteX3" fmla="*/ 6266352 w 6481363"/>
              <a:gd name="connsiteY3" fmla="*/ 2505431 h 3250325"/>
              <a:gd name="connsiteX4" fmla="*/ 3445768 w 6481363"/>
              <a:gd name="connsiteY4" fmla="*/ 3249890 h 3250325"/>
              <a:gd name="connsiteX5" fmla="*/ 177755 w 6481363"/>
              <a:gd name="connsiteY5" fmla="*/ 2306406 h 3250325"/>
              <a:gd name="connsiteX6" fmla="*/ 512943 w 6481363"/>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356750 w 6146432"/>
              <a:gd name="connsiteY0" fmla="*/ 435032 h 3250325"/>
              <a:gd name="connsiteX1" fmla="*/ 3282158 w 6146432"/>
              <a:gd name="connsiteY1" fmla="*/ 2543 h 3250325"/>
              <a:gd name="connsiteX2" fmla="*/ 6146432 w 6146432"/>
              <a:gd name="connsiteY2" fmla="*/ 284248 h 3250325"/>
              <a:gd name="connsiteX3" fmla="*/ 6110159 w 6146432"/>
              <a:gd name="connsiteY3" fmla="*/ 2505431 h 3250325"/>
              <a:gd name="connsiteX4" fmla="*/ 3289575 w 6146432"/>
              <a:gd name="connsiteY4" fmla="*/ 3249890 h 3250325"/>
              <a:gd name="connsiteX5" fmla="*/ 21562 w 6146432"/>
              <a:gd name="connsiteY5" fmla="*/ 2306406 h 3250325"/>
              <a:gd name="connsiteX6" fmla="*/ 356750 w 6146432"/>
              <a:gd name="connsiteY6" fmla="*/ 435032 h 3250325"/>
              <a:gd name="connsiteX0" fmla="*/ 335225 w 6124907"/>
              <a:gd name="connsiteY0" fmla="*/ 435032 h 3250325"/>
              <a:gd name="connsiteX1" fmla="*/ 3260633 w 6124907"/>
              <a:gd name="connsiteY1" fmla="*/ 2543 h 3250325"/>
              <a:gd name="connsiteX2" fmla="*/ 6124907 w 6124907"/>
              <a:gd name="connsiteY2" fmla="*/ 284248 h 3250325"/>
              <a:gd name="connsiteX3" fmla="*/ 6088634 w 6124907"/>
              <a:gd name="connsiteY3" fmla="*/ 2505431 h 3250325"/>
              <a:gd name="connsiteX4" fmla="*/ 3268050 w 6124907"/>
              <a:gd name="connsiteY4" fmla="*/ 3249890 h 3250325"/>
              <a:gd name="connsiteX5" fmla="*/ 37 w 6124907"/>
              <a:gd name="connsiteY5" fmla="*/ 2306406 h 3250325"/>
              <a:gd name="connsiteX6" fmla="*/ 335225 w 6124907"/>
              <a:gd name="connsiteY6" fmla="*/ 435032 h 3250325"/>
              <a:gd name="connsiteX0" fmla="*/ 335225 w 6124907"/>
              <a:gd name="connsiteY0" fmla="*/ 515501 h 3330794"/>
              <a:gd name="connsiteX1" fmla="*/ 3260633 w 6124907"/>
              <a:gd name="connsiteY1" fmla="*/ 83012 h 3330794"/>
              <a:gd name="connsiteX2" fmla="*/ 6124907 w 6124907"/>
              <a:gd name="connsiteY2" fmla="*/ 364717 h 3330794"/>
              <a:gd name="connsiteX3" fmla="*/ 6088634 w 6124907"/>
              <a:gd name="connsiteY3" fmla="*/ 2585900 h 3330794"/>
              <a:gd name="connsiteX4" fmla="*/ 3268050 w 6124907"/>
              <a:gd name="connsiteY4" fmla="*/ 3330359 h 3330794"/>
              <a:gd name="connsiteX5" fmla="*/ 37 w 6124907"/>
              <a:gd name="connsiteY5" fmla="*/ 2386875 h 3330794"/>
              <a:gd name="connsiteX6" fmla="*/ 335225 w 6124907"/>
              <a:gd name="connsiteY6" fmla="*/ 515501 h 3330794"/>
              <a:gd name="connsiteX0" fmla="*/ 335225 w 6124907"/>
              <a:gd name="connsiteY0" fmla="*/ 432489 h 3247782"/>
              <a:gd name="connsiteX1" fmla="*/ 3260633 w 6124907"/>
              <a:gd name="connsiteY1" fmla="*/ 0 h 3247782"/>
              <a:gd name="connsiteX2" fmla="*/ 6124907 w 6124907"/>
              <a:gd name="connsiteY2" fmla="*/ 281705 h 3247782"/>
              <a:gd name="connsiteX3" fmla="*/ 6088634 w 6124907"/>
              <a:gd name="connsiteY3" fmla="*/ 2502888 h 3247782"/>
              <a:gd name="connsiteX4" fmla="*/ 3268050 w 6124907"/>
              <a:gd name="connsiteY4" fmla="*/ 3247347 h 3247782"/>
              <a:gd name="connsiteX5" fmla="*/ 37 w 6124907"/>
              <a:gd name="connsiteY5" fmla="*/ 2303863 h 3247782"/>
              <a:gd name="connsiteX6" fmla="*/ 335225 w 6124907"/>
              <a:gd name="connsiteY6" fmla="*/ 432489 h 3247782"/>
              <a:gd name="connsiteX0" fmla="*/ 335225 w 6223855"/>
              <a:gd name="connsiteY0" fmla="*/ 434186 h 3249479"/>
              <a:gd name="connsiteX1" fmla="*/ 3260633 w 6223855"/>
              <a:gd name="connsiteY1" fmla="*/ 1697 h 3249479"/>
              <a:gd name="connsiteX2" fmla="*/ 6124907 w 6223855"/>
              <a:gd name="connsiteY2" fmla="*/ 283402 h 3249479"/>
              <a:gd name="connsiteX3" fmla="*/ 6088634 w 6223855"/>
              <a:gd name="connsiteY3" fmla="*/ 2504585 h 3249479"/>
              <a:gd name="connsiteX4" fmla="*/ 3268050 w 6223855"/>
              <a:gd name="connsiteY4" fmla="*/ 3249044 h 3249479"/>
              <a:gd name="connsiteX5" fmla="*/ 37 w 6223855"/>
              <a:gd name="connsiteY5" fmla="*/ 2305560 h 3249479"/>
              <a:gd name="connsiteX6" fmla="*/ 335225 w 6223855"/>
              <a:gd name="connsiteY6" fmla="*/ 434186 h 3249479"/>
              <a:gd name="connsiteX0" fmla="*/ 335225 w 6124907"/>
              <a:gd name="connsiteY0" fmla="*/ 435032 h 3250325"/>
              <a:gd name="connsiteX1" fmla="*/ 3260633 w 6124907"/>
              <a:gd name="connsiteY1" fmla="*/ 2543 h 3250325"/>
              <a:gd name="connsiteX2" fmla="*/ 6124907 w 6124907"/>
              <a:gd name="connsiteY2" fmla="*/ 284248 h 3250325"/>
              <a:gd name="connsiteX3" fmla="*/ 6088634 w 6124907"/>
              <a:gd name="connsiteY3" fmla="*/ 2505431 h 3250325"/>
              <a:gd name="connsiteX4" fmla="*/ 3268050 w 6124907"/>
              <a:gd name="connsiteY4" fmla="*/ 3249890 h 3250325"/>
              <a:gd name="connsiteX5" fmla="*/ 37 w 6124907"/>
              <a:gd name="connsiteY5" fmla="*/ 2306406 h 3250325"/>
              <a:gd name="connsiteX6" fmla="*/ 335225 w 6124907"/>
              <a:gd name="connsiteY6" fmla="*/ 435032 h 3250325"/>
              <a:gd name="connsiteX0" fmla="*/ 335225 w 6124907"/>
              <a:gd name="connsiteY0" fmla="*/ 515501 h 3330794"/>
              <a:gd name="connsiteX1" fmla="*/ 3260633 w 6124907"/>
              <a:gd name="connsiteY1" fmla="*/ 83012 h 3330794"/>
              <a:gd name="connsiteX2" fmla="*/ 6124907 w 6124907"/>
              <a:gd name="connsiteY2" fmla="*/ 364717 h 3330794"/>
              <a:gd name="connsiteX3" fmla="*/ 6088634 w 6124907"/>
              <a:gd name="connsiteY3" fmla="*/ 2585900 h 3330794"/>
              <a:gd name="connsiteX4" fmla="*/ 3268050 w 6124907"/>
              <a:gd name="connsiteY4" fmla="*/ 3330359 h 3330794"/>
              <a:gd name="connsiteX5" fmla="*/ 37 w 6124907"/>
              <a:gd name="connsiteY5" fmla="*/ 2386875 h 3330794"/>
              <a:gd name="connsiteX6" fmla="*/ 335225 w 6124907"/>
              <a:gd name="connsiteY6" fmla="*/ 515501 h 3330794"/>
              <a:gd name="connsiteX0" fmla="*/ 335225 w 6124907"/>
              <a:gd name="connsiteY0" fmla="*/ 432489 h 3247782"/>
              <a:gd name="connsiteX1" fmla="*/ 3260633 w 6124907"/>
              <a:gd name="connsiteY1" fmla="*/ 0 h 3247782"/>
              <a:gd name="connsiteX2" fmla="*/ 6124907 w 6124907"/>
              <a:gd name="connsiteY2" fmla="*/ 281705 h 3247782"/>
              <a:gd name="connsiteX3" fmla="*/ 6088634 w 6124907"/>
              <a:gd name="connsiteY3" fmla="*/ 2502888 h 3247782"/>
              <a:gd name="connsiteX4" fmla="*/ 3268050 w 6124907"/>
              <a:gd name="connsiteY4" fmla="*/ 3247347 h 3247782"/>
              <a:gd name="connsiteX5" fmla="*/ 37 w 6124907"/>
              <a:gd name="connsiteY5" fmla="*/ 2303863 h 3247782"/>
              <a:gd name="connsiteX6" fmla="*/ 335225 w 6124907"/>
              <a:gd name="connsiteY6" fmla="*/ 432489 h 3247782"/>
              <a:gd name="connsiteX0" fmla="*/ 335225 w 6223855"/>
              <a:gd name="connsiteY0" fmla="*/ 434186 h 3249479"/>
              <a:gd name="connsiteX1" fmla="*/ 3260633 w 6223855"/>
              <a:gd name="connsiteY1" fmla="*/ 1697 h 3249479"/>
              <a:gd name="connsiteX2" fmla="*/ 6124907 w 6223855"/>
              <a:gd name="connsiteY2" fmla="*/ 283402 h 3249479"/>
              <a:gd name="connsiteX3" fmla="*/ 6088634 w 6223855"/>
              <a:gd name="connsiteY3" fmla="*/ 2504585 h 3249479"/>
              <a:gd name="connsiteX4" fmla="*/ 3268050 w 6223855"/>
              <a:gd name="connsiteY4" fmla="*/ 3249044 h 3249479"/>
              <a:gd name="connsiteX5" fmla="*/ 37 w 6223855"/>
              <a:gd name="connsiteY5" fmla="*/ 2305560 h 3249479"/>
              <a:gd name="connsiteX6" fmla="*/ 335225 w 6223855"/>
              <a:gd name="connsiteY6" fmla="*/ 434186 h 3249479"/>
              <a:gd name="connsiteX0" fmla="*/ 335225 w 6124907"/>
              <a:gd name="connsiteY0" fmla="*/ 435032 h 3250325"/>
              <a:gd name="connsiteX1" fmla="*/ 3260633 w 6124907"/>
              <a:gd name="connsiteY1" fmla="*/ 2543 h 3250325"/>
              <a:gd name="connsiteX2" fmla="*/ 6124907 w 6124907"/>
              <a:gd name="connsiteY2" fmla="*/ 284248 h 3250325"/>
              <a:gd name="connsiteX3" fmla="*/ 6088634 w 6124907"/>
              <a:gd name="connsiteY3" fmla="*/ 2505431 h 3250325"/>
              <a:gd name="connsiteX4" fmla="*/ 3268050 w 6124907"/>
              <a:gd name="connsiteY4" fmla="*/ 3249890 h 3250325"/>
              <a:gd name="connsiteX5" fmla="*/ 37 w 6124907"/>
              <a:gd name="connsiteY5" fmla="*/ 2306406 h 3250325"/>
              <a:gd name="connsiteX6" fmla="*/ 335225 w 6124907"/>
              <a:gd name="connsiteY6" fmla="*/ 435032 h 3250325"/>
              <a:gd name="connsiteX0" fmla="*/ 335225 w 6124907"/>
              <a:gd name="connsiteY0" fmla="*/ 434001 h 3249294"/>
              <a:gd name="connsiteX1" fmla="*/ 3260633 w 6124907"/>
              <a:gd name="connsiteY1" fmla="*/ 1512 h 3249294"/>
              <a:gd name="connsiteX2" fmla="*/ 6124907 w 6124907"/>
              <a:gd name="connsiteY2" fmla="*/ 283217 h 3249294"/>
              <a:gd name="connsiteX3" fmla="*/ 6088634 w 6124907"/>
              <a:gd name="connsiteY3" fmla="*/ 2504400 h 3249294"/>
              <a:gd name="connsiteX4" fmla="*/ 3268050 w 6124907"/>
              <a:gd name="connsiteY4" fmla="*/ 3248859 h 3249294"/>
              <a:gd name="connsiteX5" fmla="*/ 37 w 6124907"/>
              <a:gd name="connsiteY5" fmla="*/ 2305375 h 3249294"/>
              <a:gd name="connsiteX6" fmla="*/ 335225 w 6124907"/>
              <a:gd name="connsiteY6" fmla="*/ 434001 h 3249294"/>
              <a:gd name="connsiteX0" fmla="*/ 335225 w 6124907"/>
              <a:gd name="connsiteY0" fmla="*/ 432489 h 3247782"/>
              <a:gd name="connsiteX1" fmla="*/ 3260633 w 6124907"/>
              <a:gd name="connsiteY1" fmla="*/ 0 h 3247782"/>
              <a:gd name="connsiteX2" fmla="*/ 6124907 w 6124907"/>
              <a:gd name="connsiteY2" fmla="*/ 281705 h 3247782"/>
              <a:gd name="connsiteX3" fmla="*/ 6088634 w 6124907"/>
              <a:gd name="connsiteY3" fmla="*/ 2502888 h 3247782"/>
              <a:gd name="connsiteX4" fmla="*/ 3268050 w 6124907"/>
              <a:gd name="connsiteY4" fmla="*/ 3247347 h 3247782"/>
              <a:gd name="connsiteX5" fmla="*/ 37 w 6124907"/>
              <a:gd name="connsiteY5" fmla="*/ 2303863 h 3247782"/>
              <a:gd name="connsiteX6" fmla="*/ 335225 w 6124907"/>
              <a:gd name="connsiteY6" fmla="*/ 432489 h 3247782"/>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512181 h 3327474"/>
              <a:gd name="connsiteX1" fmla="*/ 3260633 w 6088641"/>
              <a:gd name="connsiteY1" fmla="*/ 79692 h 3327474"/>
              <a:gd name="connsiteX2" fmla="*/ 5816589 w 6088641"/>
              <a:gd name="connsiteY2" fmla="*/ 361397 h 3327474"/>
              <a:gd name="connsiteX3" fmla="*/ 6088634 w 6088641"/>
              <a:gd name="connsiteY3" fmla="*/ 2582580 h 3327474"/>
              <a:gd name="connsiteX4" fmla="*/ 3268050 w 6088641"/>
              <a:gd name="connsiteY4" fmla="*/ 3327039 h 3327474"/>
              <a:gd name="connsiteX5" fmla="*/ 37 w 6088641"/>
              <a:gd name="connsiteY5" fmla="*/ 2383555 h 3327474"/>
              <a:gd name="connsiteX6" fmla="*/ 335225 w 6088641"/>
              <a:gd name="connsiteY6" fmla="*/ 512181 h 3327474"/>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434186 h 3249479"/>
              <a:gd name="connsiteX1" fmla="*/ 3260633 w 6088641"/>
              <a:gd name="connsiteY1" fmla="*/ 1697 h 3249479"/>
              <a:gd name="connsiteX2" fmla="*/ 5816589 w 6088641"/>
              <a:gd name="connsiteY2" fmla="*/ 283402 h 3249479"/>
              <a:gd name="connsiteX3" fmla="*/ 6088634 w 6088641"/>
              <a:gd name="connsiteY3" fmla="*/ 2504585 h 3249479"/>
              <a:gd name="connsiteX4" fmla="*/ 3268050 w 6088641"/>
              <a:gd name="connsiteY4" fmla="*/ 3249044 h 3249479"/>
              <a:gd name="connsiteX5" fmla="*/ 37 w 6088641"/>
              <a:gd name="connsiteY5" fmla="*/ 2305560 h 3249479"/>
              <a:gd name="connsiteX6" fmla="*/ 335225 w 6088641"/>
              <a:gd name="connsiteY6" fmla="*/ 434186 h 3249479"/>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434692 h 3249985"/>
              <a:gd name="connsiteX1" fmla="*/ 3260633 w 6088641"/>
              <a:gd name="connsiteY1" fmla="*/ 2203 h 3249985"/>
              <a:gd name="connsiteX2" fmla="*/ 5816589 w 6088641"/>
              <a:gd name="connsiteY2" fmla="*/ 283908 h 3249985"/>
              <a:gd name="connsiteX3" fmla="*/ 6088634 w 6088641"/>
              <a:gd name="connsiteY3" fmla="*/ 2505091 h 3249985"/>
              <a:gd name="connsiteX4" fmla="*/ 3268050 w 6088641"/>
              <a:gd name="connsiteY4" fmla="*/ 3249550 h 3249985"/>
              <a:gd name="connsiteX5" fmla="*/ 37 w 6088641"/>
              <a:gd name="connsiteY5" fmla="*/ 2306066 h 3249985"/>
              <a:gd name="connsiteX6" fmla="*/ 335225 w 6088641"/>
              <a:gd name="connsiteY6" fmla="*/ 434692 h 3249985"/>
              <a:gd name="connsiteX0" fmla="*/ 335225 w 6088641"/>
              <a:gd name="connsiteY0" fmla="*/ 434455 h 3249748"/>
              <a:gd name="connsiteX1" fmla="*/ 3260633 w 6088641"/>
              <a:gd name="connsiteY1" fmla="*/ 1966 h 3249748"/>
              <a:gd name="connsiteX2" fmla="*/ 5816589 w 6088641"/>
              <a:gd name="connsiteY2" fmla="*/ 283671 h 3249748"/>
              <a:gd name="connsiteX3" fmla="*/ 6088634 w 6088641"/>
              <a:gd name="connsiteY3" fmla="*/ 2504854 h 3249748"/>
              <a:gd name="connsiteX4" fmla="*/ 3268050 w 6088641"/>
              <a:gd name="connsiteY4" fmla="*/ 3249313 h 3249748"/>
              <a:gd name="connsiteX5" fmla="*/ 37 w 6088641"/>
              <a:gd name="connsiteY5" fmla="*/ 2305829 h 3249748"/>
              <a:gd name="connsiteX6" fmla="*/ 335225 w 6088641"/>
              <a:gd name="connsiteY6" fmla="*/ 434455 h 3249748"/>
              <a:gd name="connsiteX0" fmla="*/ 335225 w 6088641"/>
              <a:gd name="connsiteY0" fmla="*/ 478129 h 3293422"/>
              <a:gd name="connsiteX1" fmla="*/ 3260633 w 6088641"/>
              <a:gd name="connsiteY1" fmla="*/ 45640 h 3293422"/>
              <a:gd name="connsiteX2" fmla="*/ 4969580 w 6088641"/>
              <a:gd name="connsiteY2" fmla="*/ 22169 h 3293422"/>
              <a:gd name="connsiteX3" fmla="*/ 5816589 w 6088641"/>
              <a:gd name="connsiteY3" fmla="*/ 327345 h 3293422"/>
              <a:gd name="connsiteX4" fmla="*/ 6088634 w 6088641"/>
              <a:gd name="connsiteY4" fmla="*/ 2548528 h 3293422"/>
              <a:gd name="connsiteX5" fmla="*/ 3268050 w 6088641"/>
              <a:gd name="connsiteY5" fmla="*/ 3292987 h 3293422"/>
              <a:gd name="connsiteX6" fmla="*/ 37 w 6088641"/>
              <a:gd name="connsiteY6" fmla="*/ 2349503 h 3293422"/>
              <a:gd name="connsiteX7" fmla="*/ 335225 w 6088641"/>
              <a:gd name="connsiteY7" fmla="*/ 478129 h 3293422"/>
              <a:gd name="connsiteX0" fmla="*/ 335225 w 6088641"/>
              <a:gd name="connsiteY0" fmla="*/ 464432 h 3279725"/>
              <a:gd name="connsiteX1" fmla="*/ 3260633 w 6088641"/>
              <a:gd name="connsiteY1" fmla="*/ 31943 h 3279725"/>
              <a:gd name="connsiteX2" fmla="*/ 5816589 w 6088641"/>
              <a:gd name="connsiteY2" fmla="*/ 313648 h 3279725"/>
              <a:gd name="connsiteX3" fmla="*/ 6088634 w 6088641"/>
              <a:gd name="connsiteY3" fmla="*/ 2534831 h 3279725"/>
              <a:gd name="connsiteX4" fmla="*/ 3268050 w 6088641"/>
              <a:gd name="connsiteY4" fmla="*/ 3279290 h 3279725"/>
              <a:gd name="connsiteX5" fmla="*/ 37 w 6088641"/>
              <a:gd name="connsiteY5" fmla="*/ 2335806 h 3279725"/>
              <a:gd name="connsiteX6" fmla="*/ 335225 w 6088641"/>
              <a:gd name="connsiteY6" fmla="*/ 464432 h 3279725"/>
              <a:gd name="connsiteX0" fmla="*/ 335225 w 6088641"/>
              <a:gd name="connsiteY0" fmla="*/ 434187 h 3249480"/>
              <a:gd name="connsiteX1" fmla="*/ 3260633 w 6088641"/>
              <a:gd name="connsiteY1" fmla="*/ 1698 h 3249480"/>
              <a:gd name="connsiteX2" fmla="*/ 5816589 w 6088641"/>
              <a:gd name="connsiteY2" fmla="*/ 283403 h 3249480"/>
              <a:gd name="connsiteX3" fmla="*/ 6088634 w 6088641"/>
              <a:gd name="connsiteY3" fmla="*/ 2504586 h 3249480"/>
              <a:gd name="connsiteX4" fmla="*/ 3268050 w 6088641"/>
              <a:gd name="connsiteY4" fmla="*/ 3249045 h 3249480"/>
              <a:gd name="connsiteX5" fmla="*/ 37 w 6088641"/>
              <a:gd name="connsiteY5" fmla="*/ 2305561 h 3249480"/>
              <a:gd name="connsiteX6" fmla="*/ 335225 w 6088641"/>
              <a:gd name="connsiteY6" fmla="*/ 434187 h 3249480"/>
              <a:gd name="connsiteX0" fmla="*/ 335225 w 6088641"/>
              <a:gd name="connsiteY0" fmla="*/ 434187 h 3249480"/>
              <a:gd name="connsiteX1" fmla="*/ 3260633 w 6088641"/>
              <a:gd name="connsiteY1" fmla="*/ 1698 h 3249480"/>
              <a:gd name="connsiteX2" fmla="*/ 5816589 w 6088641"/>
              <a:gd name="connsiteY2" fmla="*/ 283403 h 3249480"/>
              <a:gd name="connsiteX3" fmla="*/ 6088634 w 6088641"/>
              <a:gd name="connsiteY3" fmla="*/ 2504586 h 3249480"/>
              <a:gd name="connsiteX4" fmla="*/ 3268050 w 6088641"/>
              <a:gd name="connsiteY4" fmla="*/ 3249045 h 3249480"/>
              <a:gd name="connsiteX5" fmla="*/ 37 w 6088641"/>
              <a:gd name="connsiteY5" fmla="*/ 2305561 h 3249480"/>
              <a:gd name="connsiteX6" fmla="*/ 335225 w 6088641"/>
              <a:gd name="connsiteY6" fmla="*/ 434187 h 3249480"/>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512181 h 3327474"/>
              <a:gd name="connsiteX1" fmla="*/ 3260633 w 6088641"/>
              <a:gd name="connsiteY1" fmla="*/ 79692 h 3327474"/>
              <a:gd name="connsiteX2" fmla="*/ 5816589 w 6088641"/>
              <a:gd name="connsiteY2" fmla="*/ 361397 h 3327474"/>
              <a:gd name="connsiteX3" fmla="*/ 6088634 w 6088641"/>
              <a:gd name="connsiteY3" fmla="*/ 2582580 h 3327474"/>
              <a:gd name="connsiteX4" fmla="*/ 3268050 w 6088641"/>
              <a:gd name="connsiteY4" fmla="*/ 3327039 h 3327474"/>
              <a:gd name="connsiteX5" fmla="*/ 37 w 6088641"/>
              <a:gd name="connsiteY5" fmla="*/ 2383555 h 3327474"/>
              <a:gd name="connsiteX6" fmla="*/ 335225 w 6088641"/>
              <a:gd name="connsiteY6" fmla="*/ 512181 h 3327474"/>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434186 h 3249479"/>
              <a:gd name="connsiteX1" fmla="*/ 3260633 w 6088641"/>
              <a:gd name="connsiteY1" fmla="*/ 1697 h 3249479"/>
              <a:gd name="connsiteX2" fmla="*/ 5816589 w 6088641"/>
              <a:gd name="connsiteY2" fmla="*/ 283402 h 3249479"/>
              <a:gd name="connsiteX3" fmla="*/ 6088634 w 6088641"/>
              <a:gd name="connsiteY3" fmla="*/ 2504585 h 3249479"/>
              <a:gd name="connsiteX4" fmla="*/ 3268050 w 6088641"/>
              <a:gd name="connsiteY4" fmla="*/ 3249044 h 3249479"/>
              <a:gd name="connsiteX5" fmla="*/ 37 w 6088641"/>
              <a:gd name="connsiteY5" fmla="*/ 2305560 h 3249479"/>
              <a:gd name="connsiteX6" fmla="*/ 335225 w 6088641"/>
              <a:gd name="connsiteY6" fmla="*/ 434186 h 3249479"/>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433957 h 3249250"/>
              <a:gd name="connsiteX1" fmla="*/ 3260633 w 6088641"/>
              <a:gd name="connsiteY1" fmla="*/ 1468 h 3249250"/>
              <a:gd name="connsiteX2" fmla="*/ 5816589 w 6088641"/>
              <a:gd name="connsiteY2" fmla="*/ 283173 h 3249250"/>
              <a:gd name="connsiteX3" fmla="*/ 6088634 w 6088641"/>
              <a:gd name="connsiteY3" fmla="*/ 2504356 h 3249250"/>
              <a:gd name="connsiteX4" fmla="*/ 3268050 w 6088641"/>
              <a:gd name="connsiteY4" fmla="*/ 3248815 h 3249250"/>
              <a:gd name="connsiteX5" fmla="*/ 37 w 6088641"/>
              <a:gd name="connsiteY5" fmla="*/ 2305331 h 3249250"/>
              <a:gd name="connsiteX6" fmla="*/ 335225 w 6088641"/>
              <a:gd name="connsiteY6" fmla="*/ 433957 h 3249250"/>
              <a:gd name="connsiteX0" fmla="*/ 335225 w 6088641"/>
              <a:gd name="connsiteY0" fmla="*/ 433944 h 3249237"/>
              <a:gd name="connsiteX1" fmla="*/ 3260633 w 6088641"/>
              <a:gd name="connsiteY1" fmla="*/ 1455 h 3249237"/>
              <a:gd name="connsiteX2" fmla="*/ 5816589 w 6088641"/>
              <a:gd name="connsiteY2" fmla="*/ 283160 h 3249237"/>
              <a:gd name="connsiteX3" fmla="*/ 6088634 w 6088641"/>
              <a:gd name="connsiteY3" fmla="*/ 2504343 h 3249237"/>
              <a:gd name="connsiteX4" fmla="*/ 3268050 w 6088641"/>
              <a:gd name="connsiteY4" fmla="*/ 3248802 h 3249237"/>
              <a:gd name="connsiteX5" fmla="*/ 37 w 6088641"/>
              <a:gd name="connsiteY5" fmla="*/ 2305318 h 3249237"/>
              <a:gd name="connsiteX6" fmla="*/ 335225 w 6088641"/>
              <a:gd name="connsiteY6" fmla="*/ 433944 h 3249237"/>
              <a:gd name="connsiteX0" fmla="*/ 335225 w 6088641"/>
              <a:gd name="connsiteY0" fmla="*/ 433390 h 3248683"/>
              <a:gd name="connsiteX1" fmla="*/ 3260633 w 6088641"/>
              <a:gd name="connsiteY1" fmla="*/ 901 h 3248683"/>
              <a:gd name="connsiteX2" fmla="*/ 5816589 w 6088641"/>
              <a:gd name="connsiteY2" fmla="*/ 282606 h 3248683"/>
              <a:gd name="connsiteX3" fmla="*/ 6088634 w 6088641"/>
              <a:gd name="connsiteY3" fmla="*/ 2503789 h 3248683"/>
              <a:gd name="connsiteX4" fmla="*/ 3268050 w 6088641"/>
              <a:gd name="connsiteY4" fmla="*/ 3248248 h 3248683"/>
              <a:gd name="connsiteX5" fmla="*/ 37 w 6088641"/>
              <a:gd name="connsiteY5" fmla="*/ 2304764 h 3248683"/>
              <a:gd name="connsiteX6" fmla="*/ 335225 w 6088641"/>
              <a:gd name="connsiteY6" fmla="*/ 433390 h 3248683"/>
              <a:gd name="connsiteX0" fmla="*/ 335225 w 6088641"/>
              <a:gd name="connsiteY0" fmla="*/ 512181 h 3327474"/>
              <a:gd name="connsiteX1" fmla="*/ 3260633 w 6088641"/>
              <a:gd name="connsiteY1" fmla="*/ 79692 h 3327474"/>
              <a:gd name="connsiteX2" fmla="*/ 5816589 w 6088641"/>
              <a:gd name="connsiteY2" fmla="*/ 361397 h 3327474"/>
              <a:gd name="connsiteX3" fmla="*/ 6088634 w 6088641"/>
              <a:gd name="connsiteY3" fmla="*/ 2582580 h 3327474"/>
              <a:gd name="connsiteX4" fmla="*/ 3268050 w 6088641"/>
              <a:gd name="connsiteY4" fmla="*/ 3327039 h 3327474"/>
              <a:gd name="connsiteX5" fmla="*/ 37 w 6088641"/>
              <a:gd name="connsiteY5" fmla="*/ 2383555 h 3327474"/>
              <a:gd name="connsiteX6" fmla="*/ 335225 w 6088641"/>
              <a:gd name="connsiteY6" fmla="*/ 512181 h 3327474"/>
              <a:gd name="connsiteX0" fmla="*/ 335225 w 6088641"/>
              <a:gd name="connsiteY0" fmla="*/ 516824 h 3332117"/>
              <a:gd name="connsiteX1" fmla="*/ 3260633 w 6088641"/>
              <a:gd name="connsiteY1" fmla="*/ 84335 h 3332117"/>
              <a:gd name="connsiteX2" fmla="*/ 5816589 w 6088641"/>
              <a:gd name="connsiteY2" fmla="*/ 366040 h 3332117"/>
              <a:gd name="connsiteX3" fmla="*/ 6088634 w 6088641"/>
              <a:gd name="connsiteY3" fmla="*/ 2587223 h 3332117"/>
              <a:gd name="connsiteX4" fmla="*/ 3268050 w 6088641"/>
              <a:gd name="connsiteY4" fmla="*/ 3331682 h 3332117"/>
              <a:gd name="connsiteX5" fmla="*/ 37 w 6088641"/>
              <a:gd name="connsiteY5" fmla="*/ 2388198 h 3332117"/>
              <a:gd name="connsiteX6" fmla="*/ 335225 w 6088641"/>
              <a:gd name="connsiteY6" fmla="*/ 516824 h 3332117"/>
              <a:gd name="connsiteX0" fmla="*/ 335225 w 6088641"/>
              <a:gd name="connsiteY0" fmla="*/ 512182 h 3327475"/>
              <a:gd name="connsiteX1" fmla="*/ 3260633 w 6088641"/>
              <a:gd name="connsiteY1" fmla="*/ 79693 h 3327475"/>
              <a:gd name="connsiteX2" fmla="*/ 5816589 w 6088641"/>
              <a:gd name="connsiteY2" fmla="*/ 361398 h 3327475"/>
              <a:gd name="connsiteX3" fmla="*/ 6088634 w 6088641"/>
              <a:gd name="connsiteY3" fmla="*/ 2582581 h 3327475"/>
              <a:gd name="connsiteX4" fmla="*/ 3268050 w 6088641"/>
              <a:gd name="connsiteY4" fmla="*/ 3327040 h 3327475"/>
              <a:gd name="connsiteX5" fmla="*/ 37 w 6088641"/>
              <a:gd name="connsiteY5" fmla="*/ 2383556 h 3327475"/>
              <a:gd name="connsiteX6" fmla="*/ 335225 w 6088641"/>
              <a:gd name="connsiteY6" fmla="*/ 512182 h 3327475"/>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433961 h 3249254"/>
              <a:gd name="connsiteX1" fmla="*/ 3260633 w 6088641"/>
              <a:gd name="connsiteY1" fmla="*/ 1472 h 3249254"/>
              <a:gd name="connsiteX2" fmla="*/ 5816589 w 6088641"/>
              <a:gd name="connsiteY2" fmla="*/ 283177 h 3249254"/>
              <a:gd name="connsiteX3" fmla="*/ 6088634 w 6088641"/>
              <a:gd name="connsiteY3" fmla="*/ 2504360 h 3249254"/>
              <a:gd name="connsiteX4" fmla="*/ 3268050 w 6088641"/>
              <a:gd name="connsiteY4" fmla="*/ 3248819 h 3249254"/>
              <a:gd name="connsiteX5" fmla="*/ 37 w 6088641"/>
              <a:gd name="connsiteY5" fmla="*/ 2305335 h 3249254"/>
              <a:gd name="connsiteX6" fmla="*/ 335225 w 6088641"/>
              <a:gd name="connsiteY6" fmla="*/ 433961 h 3249254"/>
              <a:gd name="connsiteX0" fmla="*/ 335225 w 6088641"/>
              <a:gd name="connsiteY0" fmla="*/ 434186 h 3249479"/>
              <a:gd name="connsiteX1" fmla="*/ 3260633 w 6088641"/>
              <a:gd name="connsiteY1" fmla="*/ 1697 h 3249479"/>
              <a:gd name="connsiteX2" fmla="*/ 5816589 w 6088641"/>
              <a:gd name="connsiteY2" fmla="*/ 283402 h 3249479"/>
              <a:gd name="connsiteX3" fmla="*/ 6088634 w 6088641"/>
              <a:gd name="connsiteY3" fmla="*/ 2504585 h 3249479"/>
              <a:gd name="connsiteX4" fmla="*/ 3268050 w 6088641"/>
              <a:gd name="connsiteY4" fmla="*/ 3249044 h 3249479"/>
              <a:gd name="connsiteX5" fmla="*/ 37 w 6088641"/>
              <a:gd name="connsiteY5" fmla="*/ 2305560 h 3249479"/>
              <a:gd name="connsiteX6" fmla="*/ 335225 w 6088641"/>
              <a:gd name="connsiteY6" fmla="*/ 434186 h 3249479"/>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509718 h 3325011"/>
              <a:gd name="connsiteX1" fmla="*/ 3260633 w 6088641"/>
              <a:gd name="connsiteY1" fmla="*/ 77229 h 3325011"/>
              <a:gd name="connsiteX2" fmla="*/ 5816589 w 6088641"/>
              <a:gd name="connsiteY2" fmla="*/ 358934 h 3325011"/>
              <a:gd name="connsiteX3" fmla="*/ 6088634 w 6088641"/>
              <a:gd name="connsiteY3" fmla="*/ 2580117 h 3325011"/>
              <a:gd name="connsiteX4" fmla="*/ 3268050 w 6088641"/>
              <a:gd name="connsiteY4" fmla="*/ 3324576 h 3325011"/>
              <a:gd name="connsiteX5" fmla="*/ 37 w 6088641"/>
              <a:gd name="connsiteY5" fmla="*/ 2381092 h 3325011"/>
              <a:gd name="connsiteX6" fmla="*/ 335225 w 6088641"/>
              <a:gd name="connsiteY6" fmla="*/ 509718 h 3325011"/>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088641"/>
              <a:gd name="connsiteY0" fmla="*/ 440004 h 3255297"/>
              <a:gd name="connsiteX1" fmla="*/ 3260633 w 6088641"/>
              <a:gd name="connsiteY1" fmla="*/ 7515 h 3255297"/>
              <a:gd name="connsiteX2" fmla="*/ 6088634 w 6088641"/>
              <a:gd name="connsiteY2" fmla="*/ 2510403 h 3255297"/>
              <a:gd name="connsiteX3" fmla="*/ 3268050 w 6088641"/>
              <a:gd name="connsiteY3" fmla="*/ 3254862 h 3255297"/>
              <a:gd name="connsiteX4" fmla="*/ 37 w 6088641"/>
              <a:gd name="connsiteY4" fmla="*/ 2311378 h 3255297"/>
              <a:gd name="connsiteX5" fmla="*/ 335225 w 6088641"/>
              <a:gd name="connsiteY5" fmla="*/ 440004 h 3255297"/>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123026"/>
              <a:gd name="connsiteY0" fmla="*/ 432489 h 3247782"/>
              <a:gd name="connsiteX1" fmla="*/ 3260633 w 6123026"/>
              <a:gd name="connsiteY1" fmla="*/ 0 h 3247782"/>
              <a:gd name="connsiteX2" fmla="*/ 4736515 w 6123026"/>
              <a:gd name="connsiteY2" fmla="*/ 1160782 h 3247782"/>
              <a:gd name="connsiteX3" fmla="*/ 6088634 w 6123026"/>
              <a:gd name="connsiteY3" fmla="*/ 2502888 h 3247782"/>
              <a:gd name="connsiteX4" fmla="*/ 3268050 w 6123026"/>
              <a:gd name="connsiteY4" fmla="*/ 3247347 h 3247782"/>
              <a:gd name="connsiteX5" fmla="*/ 37 w 6123026"/>
              <a:gd name="connsiteY5" fmla="*/ 2303863 h 3247782"/>
              <a:gd name="connsiteX6" fmla="*/ 335225 w 6123026"/>
              <a:gd name="connsiteY6" fmla="*/ 432489 h 3247782"/>
              <a:gd name="connsiteX0" fmla="*/ 335225 w 6213970"/>
              <a:gd name="connsiteY0" fmla="*/ 432489 h 3247782"/>
              <a:gd name="connsiteX1" fmla="*/ 3260633 w 6213970"/>
              <a:gd name="connsiteY1" fmla="*/ 0 h 3247782"/>
              <a:gd name="connsiteX2" fmla="*/ 5748245 w 6213970"/>
              <a:gd name="connsiteY2" fmla="*/ 440703 h 3247782"/>
              <a:gd name="connsiteX3" fmla="*/ 6088634 w 6213970"/>
              <a:gd name="connsiteY3" fmla="*/ 2502888 h 3247782"/>
              <a:gd name="connsiteX4" fmla="*/ 3268050 w 6213970"/>
              <a:gd name="connsiteY4" fmla="*/ 3247347 h 3247782"/>
              <a:gd name="connsiteX5" fmla="*/ 37 w 6213970"/>
              <a:gd name="connsiteY5" fmla="*/ 2303863 h 3247782"/>
              <a:gd name="connsiteX6" fmla="*/ 335225 w 6213970"/>
              <a:gd name="connsiteY6" fmla="*/ 432489 h 3247782"/>
              <a:gd name="connsiteX0" fmla="*/ 335225 w 6213972"/>
              <a:gd name="connsiteY0" fmla="*/ 432489 h 3247782"/>
              <a:gd name="connsiteX1" fmla="*/ 3260633 w 6213972"/>
              <a:gd name="connsiteY1" fmla="*/ 0 h 3247782"/>
              <a:gd name="connsiteX2" fmla="*/ 5748245 w 6213972"/>
              <a:gd name="connsiteY2" fmla="*/ 440703 h 3247782"/>
              <a:gd name="connsiteX3" fmla="*/ 6088634 w 6213972"/>
              <a:gd name="connsiteY3" fmla="*/ 2502888 h 3247782"/>
              <a:gd name="connsiteX4" fmla="*/ 3268050 w 6213972"/>
              <a:gd name="connsiteY4" fmla="*/ 3247347 h 3247782"/>
              <a:gd name="connsiteX5" fmla="*/ 37 w 6213972"/>
              <a:gd name="connsiteY5" fmla="*/ 2303863 h 3247782"/>
              <a:gd name="connsiteX6" fmla="*/ 335225 w 6213972"/>
              <a:gd name="connsiteY6" fmla="*/ 432489 h 3247782"/>
              <a:gd name="connsiteX0" fmla="*/ 335225 w 6213970"/>
              <a:gd name="connsiteY0" fmla="*/ 432489 h 3247782"/>
              <a:gd name="connsiteX1" fmla="*/ 3260633 w 6213970"/>
              <a:gd name="connsiteY1" fmla="*/ 0 h 3247782"/>
              <a:gd name="connsiteX2" fmla="*/ 5748245 w 6213970"/>
              <a:gd name="connsiteY2" fmla="*/ 440703 h 3247782"/>
              <a:gd name="connsiteX3" fmla="*/ 6088634 w 6213970"/>
              <a:gd name="connsiteY3" fmla="*/ 2502888 h 3247782"/>
              <a:gd name="connsiteX4" fmla="*/ 3268050 w 6213970"/>
              <a:gd name="connsiteY4" fmla="*/ 3247347 h 3247782"/>
              <a:gd name="connsiteX5" fmla="*/ 37 w 6213970"/>
              <a:gd name="connsiteY5" fmla="*/ 2303863 h 3247782"/>
              <a:gd name="connsiteX6" fmla="*/ 335225 w 6213970"/>
              <a:gd name="connsiteY6" fmla="*/ 432489 h 3247782"/>
              <a:gd name="connsiteX0" fmla="*/ 335225 w 6147867"/>
              <a:gd name="connsiteY0" fmla="*/ 432489 h 3247782"/>
              <a:gd name="connsiteX1" fmla="*/ 3260633 w 6147867"/>
              <a:gd name="connsiteY1" fmla="*/ 0 h 3247782"/>
              <a:gd name="connsiteX2" fmla="*/ 5748245 w 6147867"/>
              <a:gd name="connsiteY2" fmla="*/ 440703 h 3247782"/>
              <a:gd name="connsiteX3" fmla="*/ 6088634 w 6147867"/>
              <a:gd name="connsiteY3" fmla="*/ 2502888 h 3247782"/>
              <a:gd name="connsiteX4" fmla="*/ 3268050 w 6147867"/>
              <a:gd name="connsiteY4" fmla="*/ 3247347 h 3247782"/>
              <a:gd name="connsiteX5" fmla="*/ 37 w 6147867"/>
              <a:gd name="connsiteY5" fmla="*/ 2303863 h 3247782"/>
              <a:gd name="connsiteX6" fmla="*/ 335225 w 6147867"/>
              <a:gd name="connsiteY6" fmla="*/ 432489 h 3247782"/>
              <a:gd name="connsiteX0" fmla="*/ 335225 w 6088640"/>
              <a:gd name="connsiteY0" fmla="*/ 432489 h 3247782"/>
              <a:gd name="connsiteX1" fmla="*/ 3260633 w 6088640"/>
              <a:gd name="connsiteY1" fmla="*/ 0 h 3247782"/>
              <a:gd name="connsiteX2" fmla="*/ 5748245 w 6088640"/>
              <a:gd name="connsiteY2" fmla="*/ 440703 h 3247782"/>
              <a:gd name="connsiteX3" fmla="*/ 6088634 w 6088640"/>
              <a:gd name="connsiteY3" fmla="*/ 2502888 h 3247782"/>
              <a:gd name="connsiteX4" fmla="*/ 3268050 w 6088640"/>
              <a:gd name="connsiteY4" fmla="*/ 3247347 h 3247782"/>
              <a:gd name="connsiteX5" fmla="*/ 37 w 6088640"/>
              <a:gd name="connsiteY5" fmla="*/ 2303863 h 3247782"/>
              <a:gd name="connsiteX6" fmla="*/ 335225 w 6088640"/>
              <a:gd name="connsiteY6" fmla="*/ 432489 h 3247782"/>
              <a:gd name="connsiteX0" fmla="*/ 335225 w 6088642"/>
              <a:gd name="connsiteY0" fmla="*/ 432489 h 3247782"/>
              <a:gd name="connsiteX1" fmla="*/ 3260633 w 6088642"/>
              <a:gd name="connsiteY1" fmla="*/ 0 h 3247782"/>
              <a:gd name="connsiteX2" fmla="*/ 5748245 w 6088642"/>
              <a:gd name="connsiteY2" fmla="*/ 440703 h 3247782"/>
              <a:gd name="connsiteX3" fmla="*/ 6088634 w 6088642"/>
              <a:gd name="connsiteY3" fmla="*/ 2502888 h 3247782"/>
              <a:gd name="connsiteX4" fmla="*/ 3268050 w 6088642"/>
              <a:gd name="connsiteY4" fmla="*/ 3247347 h 3247782"/>
              <a:gd name="connsiteX5" fmla="*/ 37 w 6088642"/>
              <a:gd name="connsiteY5" fmla="*/ 2303863 h 3247782"/>
              <a:gd name="connsiteX6" fmla="*/ 335225 w 6088642"/>
              <a:gd name="connsiteY6" fmla="*/ 432489 h 3247782"/>
              <a:gd name="connsiteX0" fmla="*/ 335225 w 6088640"/>
              <a:gd name="connsiteY0" fmla="*/ 432489 h 3247782"/>
              <a:gd name="connsiteX1" fmla="*/ 3260633 w 6088640"/>
              <a:gd name="connsiteY1" fmla="*/ 0 h 3247782"/>
              <a:gd name="connsiteX2" fmla="*/ 5748245 w 6088640"/>
              <a:gd name="connsiteY2" fmla="*/ 440703 h 3247782"/>
              <a:gd name="connsiteX3" fmla="*/ 6088634 w 6088640"/>
              <a:gd name="connsiteY3" fmla="*/ 2502888 h 3247782"/>
              <a:gd name="connsiteX4" fmla="*/ 3268050 w 6088640"/>
              <a:gd name="connsiteY4" fmla="*/ 3247347 h 3247782"/>
              <a:gd name="connsiteX5" fmla="*/ 37 w 6088640"/>
              <a:gd name="connsiteY5" fmla="*/ 2303863 h 3247782"/>
              <a:gd name="connsiteX6" fmla="*/ 335225 w 6088640"/>
              <a:gd name="connsiteY6" fmla="*/ 432489 h 3247782"/>
              <a:gd name="connsiteX0" fmla="*/ 335225 w 6088642"/>
              <a:gd name="connsiteY0" fmla="*/ 432489 h 3247782"/>
              <a:gd name="connsiteX1" fmla="*/ 3260633 w 6088642"/>
              <a:gd name="connsiteY1" fmla="*/ 0 h 3247782"/>
              <a:gd name="connsiteX2" fmla="*/ 5748245 w 6088642"/>
              <a:gd name="connsiteY2" fmla="*/ 440703 h 3247782"/>
              <a:gd name="connsiteX3" fmla="*/ 6088634 w 6088642"/>
              <a:gd name="connsiteY3" fmla="*/ 2502888 h 3247782"/>
              <a:gd name="connsiteX4" fmla="*/ 3268050 w 6088642"/>
              <a:gd name="connsiteY4" fmla="*/ 3247347 h 3247782"/>
              <a:gd name="connsiteX5" fmla="*/ 37 w 6088642"/>
              <a:gd name="connsiteY5" fmla="*/ 2303863 h 3247782"/>
              <a:gd name="connsiteX6" fmla="*/ 335225 w 6088642"/>
              <a:gd name="connsiteY6" fmla="*/ 432489 h 3247782"/>
              <a:gd name="connsiteX0" fmla="*/ 353201 w 6106621"/>
              <a:gd name="connsiteY0" fmla="*/ 432489 h 3263671"/>
              <a:gd name="connsiteX1" fmla="*/ 3278609 w 6106621"/>
              <a:gd name="connsiteY1" fmla="*/ 0 h 3263671"/>
              <a:gd name="connsiteX2" fmla="*/ 5766221 w 6106621"/>
              <a:gd name="connsiteY2" fmla="*/ 440703 h 3263671"/>
              <a:gd name="connsiteX3" fmla="*/ 6106610 w 6106621"/>
              <a:gd name="connsiteY3" fmla="*/ 2502888 h 3263671"/>
              <a:gd name="connsiteX4" fmla="*/ 3286026 w 6106621"/>
              <a:gd name="connsiteY4" fmla="*/ 3247347 h 3263671"/>
              <a:gd name="connsiteX5" fmla="*/ 53 w 6106621"/>
              <a:gd name="connsiteY5" fmla="*/ 1620527 h 3263671"/>
              <a:gd name="connsiteX6" fmla="*/ 353201 w 6106621"/>
              <a:gd name="connsiteY6" fmla="*/ 432489 h 3263671"/>
              <a:gd name="connsiteX0" fmla="*/ 353201 w 6106621"/>
              <a:gd name="connsiteY0" fmla="*/ 432489 h 3263671"/>
              <a:gd name="connsiteX1" fmla="*/ 3278609 w 6106621"/>
              <a:gd name="connsiteY1" fmla="*/ 0 h 3263671"/>
              <a:gd name="connsiteX2" fmla="*/ 5766221 w 6106621"/>
              <a:gd name="connsiteY2" fmla="*/ 440703 h 3263671"/>
              <a:gd name="connsiteX3" fmla="*/ 6106610 w 6106621"/>
              <a:gd name="connsiteY3" fmla="*/ 2502888 h 3263671"/>
              <a:gd name="connsiteX4" fmla="*/ 3286026 w 6106621"/>
              <a:gd name="connsiteY4" fmla="*/ 3247347 h 3263671"/>
              <a:gd name="connsiteX5" fmla="*/ 53 w 6106621"/>
              <a:gd name="connsiteY5" fmla="*/ 1620527 h 3263671"/>
              <a:gd name="connsiteX6" fmla="*/ 353201 w 6106621"/>
              <a:gd name="connsiteY6" fmla="*/ 432489 h 3263671"/>
              <a:gd name="connsiteX0" fmla="*/ 353201 w 6106621"/>
              <a:gd name="connsiteY0" fmla="*/ 432489 h 3263671"/>
              <a:gd name="connsiteX1" fmla="*/ 3278609 w 6106621"/>
              <a:gd name="connsiteY1" fmla="*/ 0 h 3263671"/>
              <a:gd name="connsiteX2" fmla="*/ 5766221 w 6106621"/>
              <a:gd name="connsiteY2" fmla="*/ 440703 h 3263671"/>
              <a:gd name="connsiteX3" fmla="*/ 6106610 w 6106621"/>
              <a:gd name="connsiteY3" fmla="*/ 2502888 h 3263671"/>
              <a:gd name="connsiteX4" fmla="*/ 3286026 w 6106621"/>
              <a:gd name="connsiteY4" fmla="*/ 3247347 h 3263671"/>
              <a:gd name="connsiteX5" fmla="*/ 53 w 6106621"/>
              <a:gd name="connsiteY5" fmla="*/ 1620527 h 3263671"/>
              <a:gd name="connsiteX6" fmla="*/ 353201 w 6106621"/>
              <a:gd name="connsiteY6" fmla="*/ 432489 h 3263671"/>
              <a:gd name="connsiteX0" fmla="*/ 464353 w 6217770"/>
              <a:gd name="connsiteY0" fmla="*/ 432489 h 3391714"/>
              <a:gd name="connsiteX1" fmla="*/ 3389761 w 6217770"/>
              <a:gd name="connsiteY1" fmla="*/ 0 h 3391714"/>
              <a:gd name="connsiteX2" fmla="*/ 5877373 w 6217770"/>
              <a:gd name="connsiteY2" fmla="*/ 440703 h 3391714"/>
              <a:gd name="connsiteX3" fmla="*/ 6217762 w 6217770"/>
              <a:gd name="connsiteY3" fmla="*/ 2502888 h 3391714"/>
              <a:gd name="connsiteX4" fmla="*/ 2490214 w 6217770"/>
              <a:gd name="connsiteY4" fmla="*/ 3377277 h 3391714"/>
              <a:gd name="connsiteX5" fmla="*/ 111205 w 6217770"/>
              <a:gd name="connsiteY5" fmla="*/ 1620527 h 3391714"/>
              <a:gd name="connsiteX6" fmla="*/ 464353 w 6217770"/>
              <a:gd name="connsiteY6" fmla="*/ 432489 h 3391714"/>
              <a:gd name="connsiteX0" fmla="*/ 464353 w 6217767"/>
              <a:gd name="connsiteY0" fmla="*/ 432489 h 3377283"/>
              <a:gd name="connsiteX1" fmla="*/ 3389761 w 6217767"/>
              <a:gd name="connsiteY1" fmla="*/ 0 h 3377283"/>
              <a:gd name="connsiteX2" fmla="*/ 5877373 w 6217767"/>
              <a:gd name="connsiteY2" fmla="*/ 440703 h 3377283"/>
              <a:gd name="connsiteX3" fmla="*/ 6217762 w 6217767"/>
              <a:gd name="connsiteY3" fmla="*/ 2502888 h 3377283"/>
              <a:gd name="connsiteX4" fmla="*/ 2490214 w 6217767"/>
              <a:gd name="connsiteY4" fmla="*/ 3377277 h 3377283"/>
              <a:gd name="connsiteX5" fmla="*/ 111205 w 6217767"/>
              <a:gd name="connsiteY5" fmla="*/ 1620527 h 3377283"/>
              <a:gd name="connsiteX6" fmla="*/ 464353 w 6217767"/>
              <a:gd name="connsiteY6" fmla="*/ 432489 h 3377283"/>
              <a:gd name="connsiteX0" fmla="*/ 464353 w 6217767"/>
              <a:gd name="connsiteY0" fmla="*/ 432489 h 3377435"/>
              <a:gd name="connsiteX1" fmla="*/ 3389761 w 6217767"/>
              <a:gd name="connsiteY1" fmla="*/ 0 h 3377435"/>
              <a:gd name="connsiteX2" fmla="*/ 5877373 w 6217767"/>
              <a:gd name="connsiteY2" fmla="*/ 440703 h 3377435"/>
              <a:gd name="connsiteX3" fmla="*/ 6217762 w 6217767"/>
              <a:gd name="connsiteY3" fmla="*/ 2502888 h 3377435"/>
              <a:gd name="connsiteX4" fmla="*/ 2490214 w 6217767"/>
              <a:gd name="connsiteY4" fmla="*/ 3377277 h 3377435"/>
              <a:gd name="connsiteX5" fmla="*/ 111205 w 6217767"/>
              <a:gd name="connsiteY5" fmla="*/ 1620527 h 3377435"/>
              <a:gd name="connsiteX6" fmla="*/ 464353 w 6217767"/>
              <a:gd name="connsiteY6" fmla="*/ 432489 h 3377435"/>
              <a:gd name="connsiteX0" fmla="*/ 464353 w 6217767"/>
              <a:gd name="connsiteY0" fmla="*/ 432489 h 3377435"/>
              <a:gd name="connsiteX1" fmla="*/ 3389761 w 6217767"/>
              <a:gd name="connsiteY1" fmla="*/ 0 h 3377435"/>
              <a:gd name="connsiteX2" fmla="*/ 5877373 w 6217767"/>
              <a:gd name="connsiteY2" fmla="*/ 440703 h 3377435"/>
              <a:gd name="connsiteX3" fmla="*/ 6217762 w 6217767"/>
              <a:gd name="connsiteY3" fmla="*/ 2502888 h 3377435"/>
              <a:gd name="connsiteX4" fmla="*/ 2490214 w 6217767"/>
              <a:gd name="connsiteY4" fmla="*/ 3377277 h 3377435"/>
              <a:gd name="connsiteX5" fmla="*/ 111205 w 6217767"/>
              <a:gd name="connsiteY5" fmla="*/ 1620527 h 3377435"/>
              <a:gd name="connsiteX6" fmla="*/ 464353 w 6217767"/>
              <a:gd name="connsiteY6" fmla="*/ 432489 h 3377435"/>
              <a:gd name="connsiteX0" fmla="*/ 464353 w 6217767"/>
              <a:gd name="connsiteY0" fmla="*/ 432489 h 3377435"/>
              <a:gd name="connsiteX1" fmla="*/ 3389761 w 6217767"/>
              <a:gd name="connsiteY1" fmla="*/ 0 h 3377435"/>
              <a:gd name="connsiteX2" fmla="*/ 5877373 w 6217767"/>
              <a:gd name="connsiteY2" fmla="*/ 440703 h 3377435"/>
              <a:gd name="connsiteX3" fmla="*/ 6217762 w 6217767"/>
              <a:gd name="connsiteY3" fmla="*/ 2502888 h 3377435"/>
              <a:gd name="connsiteX4" fmla="*/ 2490214 w 6217767"/>
              <a:gd name="connsiteY4" fmla="*/ 3377277 h 3377435"/>
              <a:gd name="connsiteX5" fmla="*/ 111205 w 6217767"/>
              <a:gd name="connsiteY5" fmla="*/ 1620527 h 3377435"/>
              <a:gd name="connsiteX6" fmla="*/ 464353 w 6217767"/>
              <a:gd name="connsiteY6" fmla="*/ 432489 h 3377435"/>
              <a:gd name="connsiteX0" fmla="*/ 464353 w 6217767"/>
              <a:gd name="connsiteY0" fmla="*/ 432489 h 3377435"/>
              <a:gd name="connsiteX1" fmla="*/ 3389761 w 6217767"/>
              <a:gd name="connsiteY1" fmla="*/ 0 h 3377435"/>
              <a:gd name="connsiteX2" fmla="*/ 5877373 w 6217767"/>
              <a:gd name="connsiteY2" fmla="*/ 440703 h 3377435"/>
              <a:gd name="connsiteX3" fmla="*/ 6217762 w 6217767"/>
              <a:gd name="connsiteY3" fmla="*/ 2502888 h 3377435"/>
              <a:gd name="connsiteX4" fmla="*/ 2490214 w 6217767"/>
              <a:gd name="connsiteY4" fmla="*/ 3377277 h 3377435"/>
              <a:gd name="connsiteX5" fmla="*/ 111205 w 6217767"/>
              <a:gd name="connsiteY5" fmla="*/ 1620527 h 3377435"/>
              <a:gd name="connsiteX6" fmla="*/ 464353 w 6217767"/>
              <a:gd name="connsiteY6" fmla="*/ 432489 h 3377435"/>
              <a:gd name="connsiteX0" fmla="*/ 353260 w 6106674"/>
              <a:gd name="connsiteY0" fmla="*/ 432489 h 3377439"/>
              <a:gd name="connsiteX1" fmla="*/ 3278668 w 6106674"/>
              <a:gd name="connsiteY1" fmla="*/ 0 h 3377439"/>
              <a:gd name="connsiteX2" fmla="*/ 5766280 w 6106674"/>
              <a:gd name="connsiteY2" fmla="*/ 440703 h 3377439"/>
              <a:gd name="connsiteX3" fmla="*/ 6106669 w 6106674"/>
              <a:gd name="connsiteY3" fmla="*/ 2502888 h 3377439"/>
              <a:gd name="connsiteX4" fmla="*/ 2379121 w 6106674"/>
              <a:gd name="connsiteY4" fmla="*/ 3377277 h 3377439"/>
              <a:gd name="connsiteX5" fmla="*/ 112 w 6106674"/>
              <a:gd name="connsiteY5" fmla="*/ 1620527 h 3377439"/>
              <a:gd name="connsiteX6" fmla="*/ 353260 w 6106674"/>
              <a:gd name="connsiteY6" fmla="*/ 432489 h 3377439"/>
              <a:gd name="connsiteX0" fmla="*/ 353204 w 6106618"/>
              <a:gd name="connsiteY0" fmla="*/ 432489 h 3377392"/>
              <a:gd name="connsiteX1" fmla="*/ 3278612 w 6106618"/>
              <a:gd name="connsiteY1" fmla="*/ 0 h 3377392"/>
              <a:gd name="connsiteX2" fmla="*/ 5766224 w 6106618"/>
              <a:gd name="connsiteY2" fmla="*/ 440703 h 3377392"/>
              <a:gd name="connsiteX3" fmla="*/ 6106613 w 6106618"/>
              <a:gd name="connsiteY3" fmla="*/ 2502888 h 3377392"/>
              <a:gd name="connsiteX4" fmla="*/ 2379065 w 6106618"/>
              <a:gd name="connsiteY4" fmla="*/ 3377277 h 3377392"/>
              <a:gd name="connsiteX5" fmla="*/ 56 w 6106618"/>
              <a:gd name="connsiteY5" fmla="*/ 1620527 h 3377392"/>
              <a:gd name="connsiteX6" fmla="*/ 353204 w 6106618"/>
              <a:gd name="connsiteY6" fmla="*/ 432489 h 3377392"/>
              <a:gd name="connsiteX0" fmla="*/ 353202 w 6106616"/>
              <a:gd name="connsiteY0" fmla="*/ 432489 h 3377392"/>
              <a:gd name="connsiteX1" fmla="*/ 3278610 w 6106616"/>
              <a:gd name="connsiteY1" fmla="*/ 0 h 3377392"/>
              <a:gd name="connsiteX2" fmla="*/ 5766222 w 6106616"/>
              <a:gd name="connsiteY2" fmla="*/ 440703 h 3377392"/>
              <a:gd name="connsiteX3" fmla="*/ 6106611 w 6106616"/>
              <a:gd name="connsiteY3" fmla="*/ 2502888 h 3377392"/>
              <a:gd name="connsiteX4" fmla="*/ 2379063 w 6106616"/>
              <a:gd name="connsiteY4" fmla="*/ 3377277 h 3377392"/>
              <a:gd name="connsiteX5" fmla="*/ 54 w 6106616"/>
              <a:gd name="connsiteY5" fmla="*/ 1620527 h 3377392"/>
              <a:gd name="connsiteX6" fmla="*/ 353202 w 6106616"/>
              <a:gd name="connsiteY6" fmla="*/ 432489 h 3377392"/>
              <a:gd name="connsiteX0" fmla="*/ 353202 w 6106616"/>
              <a:gd name="connsiteY0" fmla="*/ 600917 h 3545820"/>
              <a:gd name="connsiteX1" fmla="*/ 2919417 w 6106616"/>
              <a:gd name="connsiteY1" fmla="*/ 0 h 3545820"/>
              <a:gd name="connsiteX2" fmla="*/ 5766222 w 6106616"/>
              <a:gd name="connsiteY2" fmla="*/ 609131 h 3545820"/>
              <a:gd name="connsiteX3" fmla="*/ 6106611 w 6106616"/>
              <a:gd name="connsiteY3" fmla="*/ 2671316 h 3545820"/>
              <a:gd name="connsiteX4" fmla="*/ 2379063 w 6106616"/>
              <a:gd name="connsiteY4" fmla="*/ 3545705 h 3545820"/>
              <a:gd name="connsiteX5" fmla="*/ 54 w 6106616"/>
              <a:gd name="connsiteY5" fmla="*/ 1788955 h 3545820"/>
              <a:gd name="connsiteX6" fmla="*/ 353202 w 6106616"/>
              <a:gd name="connsiteY6" fmla="*/ 600917 h 3545820"/>
              <a:gd name="connsiteX0" fmla="*/ 353202 w 6116436"/>
              <a:gd name="connsiteY0" fmla="*/ 600917 h 3545820"/>
              <a:gd name="connsiteX1" fmla="*/ 2919417 w 6116436"/>
              <a:gd name="connsiteY1" fmla="*/ 0 h 3545820"/>
              <a:gd name="connsiteX2" fmla="*/ 6116436 w 6116436"/>
              <a:gd name="connsiteY2" fmla="*/ 1143288 h 3545820"/>
              <a:gd name="connsiteX3" fmla="*/ 6106611 w 6116436"/>
              <a:gd name="connsiteY3" fmla="*/ 2671316 h 3545820"/>
              <a:gd name="connsiteX4" fmla="*/ 2379063 w 6116436"/>
              <a:gd name="connsiteY4" fmla="*/ 3545705 h 3545820"/>
              <a:gd name="connsiteX5" fmla="*/ 54 w 6116436"/>
              <a:gd name="connsiteY5" fmla="*/ 1788955 h 3545820"/>
              <a:gd name="connsiteX6" fmla="*/ 353202 w 6116436"/>
              <a:gd name="connsiteY6" fmla="*/ 600917 h 3545820"/>
              <a:gd name="connsiteX0" fmla="*/ 353202 w 7085417"/>
              <a:gd name="connsiteY0" fmla="*/ 600917 h 4090923"/>
              <a:gd name="connsiteX1" fmla="*/ 2919417 w 7085417"/>
              <a:gd name="connsiteY1" fmla="*/ 0 h 4090923"/>
              <a:gd name="connsiteX2" fmla="*/ 6116436 w 7085417"/>
              <a:gd name="connsiteY2" fmla="*/ 1143288 h 4090923"/>
              <a:gd name="connsiteX3" fmla="*/ 7085414 w 7085417"/>
              <a:gd name="connsiteY3" fmla="*/ 4090923 h 4090923"/>
              <a:gd name="connsiteX4" fmla="*/ 2379063 w 7085417"/>
              <a:gd name="connsiteY4" fmla="*/ 3545705 h 4090923"/>
              <a:gd name="connsiteX5" fmla="*/ 54 w 7085417"/>
              <a:gd name="connsiteY5" fmla="*/ 1788955 h 4090923"/>
              <a:gd name="connsiteX6" fmla="*/ 353202 w 7085417"/>
              <a:gd name="connsiteY6" fmla="*/ 600917 h 4090923"/>
              <a:gd name="connsiteX0" fmla="*/ 479202 w 7211418"/>
              <a:gd name="connsiteY0" fmla="*/ 600917 h 4090923"/>
              <a:gd name="connsiteX1" fmla="*/ 3045417 w 7211418"/>
              <a:gd name="connsiteY1" fmla="*/ 0 h 4090923"/>
              <a:gd name="connsiteX2" fmla="*/ 6242436 w 7211418"/>
              <a:gd name="connsiteY2" fmla="*/ 1143288 h 4090923"/>
              <a:gd name="connsiteX3" fmla="*/ 7211414 w 7211418"/>
              <a:gd name="connsiteY3" fmla="*/ 4090923 h 4090923"/>
              <a:gd name="connsiteX4" fmla="*/ 3034876 w 7211418"/>
              <a:gd name="connsiteY4" fmla="*/ 4084674 h 4090923"/>
              <a:gd name="connsiteX5" fmla="*/ 126054 w 7211418"/>
              <a:gd name="connsiteY5" fmla="*/ 1788955 h 4090923"/>
              <a:gd name="connsiteX6" fmla="*/ 479202 w 7211418"/>
              <a:gd name="connsiteY6" fmla="*/ 600917 h 4090923"/>
              <a:gd name="connsiteX0" fmla="*/ 479202 w 7221240"/>
              <a:gd name="connsiteY0" fmla="*/ 1093785 h 4583791"/>
              <a:gd name="connsiteX1" fmla="*/ 3045417 w 7221240"/>
              <a:gd name="connsiteY1" fmla="*/ 492868 h 4583791"/>
              <a:gd name="connsiteX2" fmla="*/ 7221240 w 7221240"/>
              <a:gd name="connsiteY2" fmla="*/ 0 h 4583791"/>
              <a:gd name="connsiteX3" fmla="*/ 7211414 w 7221240"/>
              <a:gd name="connsiteY3" fmla="*/ 4583791 h 4583791"/>
              <a:gd name="connsiteX4" fmla="*/ 3034876 w 7221240"/>
              <a:gd name="connsiteY4" fmla="*/ 4577542 h 4583791"/>
              <a:gd name="connsiteX5" fmla="*/ 126054 w 7221240"/>
              <a:gd name="connsiteY5" fmla="*/ 2281823 h 4583791"/>
              <a:gd name="connsiteX6" fmla="*/ 479202 w 7221240"/>
              <a:gd name="connsiteY6" fmla="*/ 1093785 h 4583791"/>
              <a:gd name="connsiteX0" fmla="*/ 479202 w 7221240"/>
              <a:gd name="connsiteY0" fmla="*/ 1096576 h 4586582"/>
              <a:gd name="connsiteX1" fmla="*/ 3656047 w 7221240"/>
              <a:gd name="connsiteY1" fmla="*/ 0 h 4586582"/>
              <a:gd name="connsiteX2" fmla="*/ 7221240 w 7221240"/>
              <a:gd name="connsiteY2" fmla="*/ 2791 h 4586582"/>
              <a:gd name="connsiteX3" fmla="*/ 7211414 w 7221240"/>
              <a:gd name="connsiteY3" fmla="*/ 4586582 h 4586582"/>
              <a:gd name="connsiteX4" fmla="*/ 3034876 w 7221240"/>
              <a:gd name="connsiteY4" fmla="*/ 4580333 h 4586582"/>
              <a:gd name="connsiteX5" fmla="*/ 126054 w 7221240"/>
              <a:gd name="connsiteY5" fmla="*/ 2284614 h 4586582"/>
              <a:gd name="connsiteX6" fmla="*/ 479202 w 7221240"/>
              <a:gd name="connsiteY6" fmla="*/ 1096576 h 4586582"/>
              <a:gd name="connsiteX0" fmla="*/ 4967 w 6747005"/>
              <a:gd name="connsiteY0" fmla="*/ 1096576 h 4586582"/>
              <a:gd name="connsiteX1" fmla="*/ 3181812 w 6747005"/>
              <a:gd name="connsiteY1" fmla="*/ 0 h 4586582"/>
              <a:gd name="connsiteX2" fmla="*/ 6747005 w 6747005"/>
              <a:gd name="connsiteY2" fmla="*/ 2791 h 4586582"/>
              <a:gd name="connsiteX3" fmla="*/ 6737179 w 6747005"/>
              <a:gd name="connsiteY3" fmla="*/ 4586582 h 4586582"/>
              <a:gd name="connsiteX4" fmla="*/ 2560641 w 6747005"/>
              <a:gd name="connsiteY4" fmla="*/ 4580333 h 4586582"/>
              <a:gd name="connsiteX5" fmla="*/ 4967 w 6747005"/>
              <a:gd name="connsiteY5" fmla="*/ 1096576 h 4586582"/>
              <a:gd name="connsiteX0" fmla="*/ 146702 w 6888740"/>
              <a:gd name="connsiteY0" fmla="*/ 1096576 h 4586582"/>
              <a:gd name="connsiteX1" fmla="*/ 3323547 w 6888740"/>
              <a:gd name="connsiteY1" fmla="*/ 0 h 4586582"/>
              <a:gd name="connsiteX2" fmla="*/ 6888740 w 6888740"/>
              <a:gd name="connsiteY2" fmla="*/ 2791 h 4586582"/>
              <a:gd name="connsiteX3" fmla="*/ 6878914 w 6888740"/>
              <a:gd name="connsiteY3" fmla="*/ 4586582 h 4586582"/>
              <a:gd name="connsiteX4" fmla="*/ 2702376 w 6888740"/>
              <a:gd name="connsiteY4" fmla="*/ 4580333 h 4586582"/>
              <a:gd name="connsiteX5" fmla="*/ 146702 w 6888740"/>
              <a:gd name="connsiteY5" fmla="*/ 1096576 h 4586582"/>
              <a:gd name="connsiteX0" fmla="*/ 146702 w 6888740"/>
              <a:gd name="connsiteY0" fmla="*/ 1096576 h 4586582"/>
              <a:gd name="connsiteX1" fmla="*/ 3323547 w 6888740"/>
              <a:gd name="connsiteY1" fmla="*/ 0 h 4586582"/>
              <a:gd name="connsiteX2" fmla="*/ 6888740 w 6888740"/>
              <a:gd name="connsiteY2" fmla="*/ 2791 h 4586582"/>
              <a:gd name="connsiteX3" fmla="*/ 6878914 w 6888740"/>
              <a:gd name="connsiteY3" fmla="*/ 4586582 h 4586582"/>
              <a:gd name="connsiteX4" fmla="*/ 2702376 w 6888740"/>
              <a:gd name="connsiteY4" fmla="*/ 4580333 h 4586582"/>
              <a:gd name="connsiteX5" fmla="*/ 146702 w 6888740"/>
              <a:gd name="connsiteY5" fmla="*/ 1096576 h 4586582"/>
              <a:gd name="connsiteX0" fmla="*/ 49 w 6742087"/>
              <a:gd name="connsiteY0" fmla="*/ 1096576 h 4586582"/>
              <a:gd name="connsiteX1" fmla="*/ 3176894 w 6742087"/>
              <a:gd name="connsiteY1" fmla="*/ 0 h 4586582"/>
              <a:gd name="connsiteX2" fmla="*/ 6742087 w 6742087"/>
              <a:gd name="connsiteY2" fmla="*/ 2791 h 4586582"/>
              <a:gd name="connsiteX3" fmla="*/ 6732261 w 6742087"/>
              <a:gd name="connsiteY3" fmla="*/ 4586582 h 4586582"/>
              <a:gd name="connsiteX4" fmla="*/ 2555723 w 6742087"/>
              <a:gd name="connsiteY4" fmla="*/ 4580333 h 4586582"/>
              <a:gd name="connsiteX5" fmla="*/ 49 w 6742087"/>
              <a:gd name="connsiteY5" fmla="*/ 1096576 h 4586582"/>
              <a:gd name="connsiteX0" fmla="*/ 29 w 6742067"/>
              <a:gd name="connsiteY0" fmla="*/ 1096576 h 4586582"/>
              <a:gd name="connsiteX1" fmla="*/ 3176874 w 6742067"/>
              <a:gd name="connsiteY1" fmla="*/ 0 h 4586582"/>
              <a:gd name="connsiteX2" fmla="*/ 6742067 w 6742067"/>
              <a:gd name="connsiteY2" fmla="*/ 2791 h 4586582"/>
              <a:gd name="connsiteX3" fmla="*/ 6732241 w 6742067"/>
              <a:gd name="connsiteY3" fmla="*/ 4586582 h 4586582"/>
              <a:gd name="connsiteX4" fmla="*/ 2555703 w 6742067"/>
              <a:gd name="connsiteY4" fmla="*/ 4580333 h 4586582"/>
              <a:gd name="connsiteX5" fmla="*/ 29 w 6742067"/>
              <a:gd name="connsiteY5" fmla="*/ 1096576 h 4586582"/>
              <a:gd name="connsiteX0" fmla="*/ 35 w 6266141"/>
              <a:gd name="connsiteY0" fmla="*/ 1693292 h 4586582"/>
              <a:gd name="connsiteX1" fmla="*/ 2700948 w 6266141"/>
              <a:gd name="connsiteY1" fmla="*/ 0 h 4586582"/>
              <a:gd name="connsiteX2" fmla="*/ 6266141 w 6266141"/>
              <a:gd name="connsiteY2" fmla="*/ 2791 h 4586582"/>
              <a:gd name="connsiteX3" fmla="*/ 6256315 w 6266141"/>
              <a:gd name="connsiteY3" fmla="*/ 4586582 h 4586582"/>
              <a:gd name="connsiteX4" fmla="*/ 2079777 w 6266141"/>
              <a:gd name="connsiteY4" fmla="*/ 4580333 h 4586582"/>
              <a:gd name="connsiteX5" fmla="*/ 35 w 6266141"/>
              <a:gd name="connsiteY5" fmla="*/ 1693292 h 4586582"/>
              <a:gd name="connsiteX0" fmla="*/ 35 w 6266141"/>
              <a:gd name="connsiteY0" fmla="*/ 1690502 h 4583792"/>
              <a:gd name="connsiteX1" fmla="*/ 1892761 w 6266141"/>
              <a:gd name="connsiteY1" fmla="*/ 2022 h 4583792"/>
              <a:gd name="connsiteX2" fmla="*/ 6266141 w 6266141"/>
              <a:gd name="connsiteY2" fmla="*/ 1 h 4583792"/>
              <a:gd name="connsiteX3" fmla="*/ 6256315 w 6266141"/>
              <a:gd name="connsiteY3" fmla="*/ 4583792 h 4583792"/>
              <a:gd name="connsiteX4" fmla="*/ 2079777 w 6266141"/>
              <a:gd name="connsiteY4" fmla="*/ 4577543 h 4583792"/>
              <a:gd name="connsiteX5" fmla="*/ 35 w 6266141"/>
              <a:gd name="connsiteY5" fmla="*/ 1690502 h 4583792"/>
              <a:gd name="connsiteX0" fmla="*/ 53 w 6266159"/>
              <a:gd name="connsiteY0" fmla="*/ 1690502 h 4583792"/>
              <a:gd name="connsiteX1" fmla="*/ 1892779 w 6266159"/>
              <a:gd name="connsiteY1" fmla="*/ 2022 h 4583792"/>
              <a:gd name="connsiteX2" fmla="*/ 6266159 w 6266159"/>
              <a:gd name="connsiteY2" fmla="*/ 1 h 4583792"/>
              <a:gd name="connsiteX3" fmla="*/ 6256333 w 6266159"/>
              <a:gd name="connsiteY3" fmla="*/ 4583792 h 4583792"/>
              <a:gd name="connsiteX4" fmla="*/ 1316507 w 6266159"/>
              <a:gd name="connsiteY4" fmla="*/ 4577543 h 4583792"/>
              <a:gd name="connsiteX5" fmla="*/ 53 w 6266159"/>
              <a:gd name="connsiteY5" fmla="*/ 1690502 h 4583792"/>
              <a:gd name="connsiteX0" fmla="*/ 28 w 6266134"/>
              <a:gd name="connsiteY0" fmla="*/ 1690502 h 4583792"/>
              <a:gd name="connsiteX1" fmla="*/ 1892754 w 6266134"/>
              <a:gd name="connsiteY1" fmla="*/ 2022 h 4583792"/>
              <a:gd name="connsiteX2" fmla="*/ 6266134 w 6266134"/>
              <a:gd name="connsiteY2" fmla="*/ 1 h 4583792"/>
              <a:gd name="connsiteX3" fmla="*/ 6256308 w 6266134"/>
              <a:gd name="connsiteY3" fmla="*/ 4583792 h 4583792"/>
              <a:gd name="connsiteX4" fmla="*/ 2573660 w 6266134"/>
              <a:gd name="connsiteY4" fmla="*/ 4577543 h 4583792"/>
              <a:gd name="connsiteX5" fmla="*/ 28 w 6266134"/>
              <a:gd name="connsiteY5" fmla="*/ 1690502 h 4583792"/>
              <a:gd name="connsiteX0" fmla="*/ 50 w 5125717"/>
              <a:gd name="connsiteY0" fmla="*/ 1623131 h 4583792"/>
              <a:gd name="connsiteX1" fmla="*/ 752337 w 5125717"/>
              <a:gd name="connsiteY1" fmla="*/ 2022 h 4583792"/>
              <a:gd name="connsiteX2" fmla="*/ 5125717 w 5125717"/>
              <a:gd name="connsiteY2" fmla="*/ 1 h 4583792"/>
              <a:gd name="connsiteX3" fmla="*/ 5115891 w 5125717"/>
              <a:gd name="connsiteY3" fmla="*/ 4583792 h 4583792"/>
              <a:gd name="connsiteX4" fmla="*/ 1433243 w 5125717"/>
              <a:gd name="connsiteY4" fmla="*/ 4577543 h 4583792"/>
              <a:gd name="connsiteX5" fmla="*/ 50 w 5125717"/>
              <a:gd name="connsiteY5" fmla="*/ 1623131 h 4583792"/>
              <a:gd name="connsiteX0" fmla="*/ 50 w 5125717"/>
              <a:gd name="connsiteY0" fmla="*/ 1623131 h 4583792"/>
              <a:gd name="connsiteX1" fmla="*/ 1345007 w 5125717"/>
              <a:gd name="connsiteY1" fmla="*/ 2022 h 4583792"/>
              <a:gd name="connsiteX2" fmla="*/ 5125717 w 5125717"/>
              <a:gd name="connsiteY2" fmla="*/ 1 h 4583792"/>
              <a:gd name="connsiteX3" fmla="*/ 5115891 w 5125717"/>
              <a:gd name="connsiteY3" fmla="*/ 4583792 h 4583792"/>
              <a:gd name="connsiteX4" fmla="*/ 1433243 w 5125717"/>
              <a:gd name="connsiteY4" fmla="*/ 4577543 h 4583792"/>
              <a:gd name="connsiteX5" fmla="*/ 50 w 5125717"/>
              <a:gd name="connsiteY5" fmla="*/ 1623131 h 4583792"/>
              <a:gd name="connsiteX0" fmla="*/ 50 w 5115897"/>
              <a:gd name="connsiteY0" fmla="*/ 1621109 h 4581770"/>
              <a:gd name="connsiteX1" fmla="*/ 1345007 w 5115897"/>
              <a:gd name="connsiteY1" fmla="*/ 0 h 4581770"/>
              <a:gd name="connsiteX2" fmla="*/ 4146914 w 5115897"/>
              <a:gd name="connsiteY2" fmla="*/ 2791 h 4581770"/>
              <a:gd name="connsiteX3" fmla="*/ 5115891 w 5115897"/>
              <a:gd name="connsiteY3" fmla="*/ 4581770 h 4581770"/>
              <a:gd name="connsiteX4" fmla="*/ 1433243 w 5115897"/>
              <a:gd name="connsiteY4" fmla="*/ 4575521 h 4581770"/>
              <a:gd name="connsiteX5" fmla="*/ 50 w 5115897"/>
              <a:gd name="connsiteY5" fmla="*/ 1621109 h 4581770"/>
              <a:gd name="connsiteX0" fmla="*/ 50 w 4164035"/>
              <a:gd name="connsiteY0" fmla="*/ 1621109 h 4581770"/>
              <a:gd name="connsiteX1" fmla="*/ 1345007 w 4164035"/>
              <a:gd name="connsiteY1" fmla="*/ 0 h 4581770"/>
              <a:gd name="connsiteX2" fmla="*/ 4146914 w 4164035"/>
              <a:gd name="connsiteY2" fmla="*/ 2791 h 4581770"/>
              <a:gd name="connsiteX3" fmla="*/ 4164029 w 4164035"/>
              <a:gd name="connsiteY3" fmla="*/ 4581770 h 4581770"/>
              <a:gd name="connsiteX4" fmla="*/ 1433243 w 4164035"/>
              <a:gd name="connsiteY4" fmla="*/ 4575521 h 4581770"/>
              <a:gd name="connsiteX5" fmla="*/ 50 w 4164035"/>
              <a:gd name="connsiteY5" fmla="*/ 1621109 h 4581770"/>
              <a:gd name="connsiteX0" fmla="*/ 3245 w 4167228"/>
              <a:gd name="connsiteY0" fmla="*/ 1621109 h 4581770"/>
              <a:gd name="connsiteX1" fmla="*/ 1348202 w 4167228"/>
              <a:gd name="connsiteY1" fmla="*/ 0 h 4581770"/>
              <a:gd name="connsiteX2" fmla="*/ 4150109 w 4167228"/>
              <a:gd name="connsiteY2" fmla="*/ 2791 h 4581770"/>
              <a:gd name="connsiteX3" fmla="*/ 4167224 w 4167228"/>
              <a:gd name="connsiteY3" fmla="*/ 4581770 h 4581770"/>
              <a:gd name="connsiteX4" fmla="*/ 8644 w 4167228"/>
              <a:gd name="connsiteY4" fmla="*/ 4575521 h 4581770"/>
              <a:gd name="connsiteX5" fmla="*/ 3245 w 4167228"/>
              <a:gd name="connsiteY5" fmla="*/ 1621109 h 4581770"/>
              <a:gd name="connsiteX0" fmla="*/ 3245 w 4167230"/>
              <a:gd name="connsiteY0" fmla="*/ 1618319 h 4578980"/>
              <a:gd name="connsiteX1" fmla="*/ 3144170 w 4167230"/>
              <a:gd name="connsiteY1" fmla="*/ 54956 h 4578980"/>
              <a:gd name="connsiteX2" fmla="*/ 4150109 w 4167230"/>
              <a:gd name="connsiteY2" fmla="*/ 1 h 4578980"/>
              <a:gd name="connsiteX3" fmla="*/ 4167224 w 4167230"/>
              <a:gd name="connsiteY3" fmla="*/ 4578980 h 4578980"/>
              <a:gd name="connsiteX4" fmla="*/ 8644 w 4167230"/>
              <a:gd name="connsiteY4" fmla="*/ 4572731 h 4578980"/>
              <a:gd name="connsiteX5" fmla="*/ 3245 w 4167230"/>
              <a:gd name="connsiteY5" fmla="*/ 1618319 h 4578980"/>
              <a:gd name="connsiteX0" fmla="*/ 3245 w 4167228"/>
              <a:gd name="connsiteY0" fmla="*/ 2 h 4592007"/>
              <a:gd name="connsiteX1" fmla="*/ 3144170 w 4167228"/>
              <a:gd name="connsiteY1" fmla="*/ 67983 h 4592007"/>
              <a:gd name="connsiteX2" fmla="*/ 4150109 w 4167228"/>
              <a:gd name="connsiteY2" fmla="*/ 13028 h 4592007"/>
              <a:gd name="connsiteX3" fmla="*/ 4167224 w 4167228"/>
              <a:gd name="connsiteY3" fmla="*/ 4592007 h 4592007"/>
              <a:gd name="connsiteX4" fmla="*/ 8644 w 4167228"/>
              <a:gd name="connsiteY4" fmla="*/ 4585758 h 4592007"/>
              <a:gd name="connsiteX5" fmla="*/ 3245 w 4167228"/>
              <a:gd name="connsiteY5" fmla="*/ 2 h 4592007"/>
              <a:gd name="connsiteX0" fmla="*/ 3245 w 4167230"/>
              <a:gd name="connsiteY0" fmla="*/ 2 h 4592007"/>
              <a:gd name="connsiteX1" fmla="*/ 3144170 w 4167230"/>
              <a:gd name="connsiteY1" fmla="*/ 67983 h 4592007"/>
              <a:gd name="connsiteX2" fmla="*/ 2812112 w 4167230"/>
              <a:gd name="connsiteY2" fmla="*/ 2294022 h 4592007"/>
              <a:gd name="connsiteX3" fmla="*/ 4167224 w 4167230"/>
              <a:gd name="connsiteY3" fmla="*/ 4592007 h 4592007"/>
              <a:gd name="connsiteX4" fmla="*/ 8644 w 4167230"/>
              <a:gd name="connsiteY4" fmla="*/ 4585758 h 4592007"/>
              <a:gd name="connsiteX5" fmla="*/ 3245 w 4167230"/>
              <a:gd name="connsiteY5" fmla="*/ 2 h 4592007"/>
              <a:gd name="connsiteX0" fmla="*/ 3245 w 4167228"/>
              <a:gd name="connsiteY0" fmla="*/ 2 h 4592007"/>
              <a:gd name="connsiteX1" fmla="*/ 3790719 w 4167228"/>
              <a:gd name="connsiteY1" fmla="*/ 5424 h 4592007"/>
              <a:gd name="connsiteX2" fmla="*/ 2812112 w 4167228"/>
              <a:gd name="connsiteY2" fmla="*/ 2294022 h 4592007"/>
              <a:gd name="connsiteX3" fmla="*/ 4167224 w 4167228"/>
              <a:gd name="connsiteY3" fmla="*/ 4592007 h 4592007"/>
              <a:gd name="connsiteX4" fmla="*/ 8644 w 4167228"/>
              <a:gd name="connsiteY4" fmla="*/ 4585758 h 4592007"/>
              <a:gd name="connsiteX5" fmla="*/ 3245 w 4167228"/>
              <a:gd name="connsiteY5" fmla="*/ 2 h 4592007"/>
              <a:gd name="connsiteX0" fmla="*/ 3245 w 4167230"/>
              <a:gd name="connsiteY0" fmla="*/ 2 h 4592007"/>
              <a:gd name="connsiteX1" fmla="*/ 3790719 w 4167230"/>
              <a:gd name="connsiteY1" fmla="*/ 5424 h 4592007"/>
              <a:gd name="connsiteX2" fmla="*/ 3252124 w 4167230"/>
              <a:gd name="connsiteY2" fmla="*/ 1461508 h 4592007"/>
              <a:gd name="connsiteX3" fmla="*/ 4167224 w 4167230"/>
              <a:gd name="connsiteY3" fmla="*/ 4592007 h 4592007"/>
              <a:gd name="connsiteX4" fmla="*/ 8644 w 4167230"/>
              <a:gd name="connsiteY4" fmla="*/ 4585758 h 4592007"/>
              <a:gd name="connsiteX5" fmla="*/ 3245 w 4167230"/>
              <a:gd name="connsiteY5" fmla="*/ 2 h 4592007"/>
              <a:gd name="connsiteX0" fmla="*/ 3245 w 15204102"/>
              <a:gd name="connsiteY0" fmla="*/ 2 h 4592007"/>
              <a:gd name="connsiteX1" fmla="*/ 15204102 w 15204102"/>
              <a:gd name="connsiteY1" fmla="*/ 5424 h 4592007"/>
              <a:gd name="connsiteX2" fmla="*/ 3252124 w 15204102"/>
              <a:gd name="connsiteY2" fmla="*/ 1461508 h 4592007"/>
              <a:gd name="connsiteX3" fmla="*/ 4167224 w 15204102"/>
              <a:gd name="connsiteY3" fmla="*/ 4592007 h 4592007"/>
              <a:gd name="connsiteX4" fmla="*/ 8644 w 15204102"/>
              <a:gd name="connsiteY4" fmla="*/ 4585758 h 4592007"/>
              <a:gd name="connsiteX5" fmla="*/ 3245 w 15204102"/>
              <a:gd name="connsiteY5" fmla="*/ 2 h 4592007"/>
              <a:gd name="connsiteX0" fmla="*/ 3245 w 15204102"/>
              <a:gd name="connsiteY0" fmla="*/ 2 h 4592007"/>
              <a:gd name="connsiteX1" fmla="*/ 15204102 w 15204102"/>
              <a:gd name="connsiteY1" fmla="*/ 5424 h 4592007"/>
              <a:gd name="connsiteX2" fmla="*/ 15186337 w 15204102"/>
              <a:gd name="connsiteY2" fmla="*/ 975473 h 4592007"/>
              <a:gd name="connsiteX3" fmla="*/ 4167224 w 15204102"/>
              <a:gd name="connsiteY3" fmla="*/ 4592007 h 4592007"/>
              <a:gd name="connsiteX4" fmla="*/ 8644 w 15204102"/>
              <a:gd name="connsiteY4" fmla="*/ 4585758 h 4592007"/>
              <a:gd name="connsiteX5" fmla="*/ 3245 w 15204102"/>
              <a:gd name="connsiteY5" fmla="*/ 2 h 4592007"/>
              <a:gd name="connsiteX0" fmla="*/ 3245 w 15204102"/>
              <a:gd name="connsiteY0" fmla="*/ 2 h 4585775"/>
              <a:gd name="connsiteX1" fmla="*/ 15204102 w 15204102"/>
              <a:gd name="connsiteY1" fmla="*/ 5424 h 4585775"/>
              <a:gd name="connsiteX2" fmla="*/ 15186337 w 15204102"/>
              <a:gd name="connsiteY2" fmla="*/ 975473 h 4585775"/>
              <a:gd name="connsiteX3" fmla="*/ 7795082 w 15204102"/>
              <a:gd name="connsiteY3" fmla="*/ 1156079 h 4585775"/>
              <a:gd name="connsiteX4" fmla="*/ 8644 w 15204102"/>
              <a:gd name="connsiteY4" fmla="*/ 4585758 h 4585775"/>
              <a:gd name="connsiteX5" fmla="*/ 3245 w 15204102"/>
              <a:gd name="connsiteY5" fmla="*/ 2 h 4585775"/>
              <a:gd name="connsiteX0" fmla="*/ 5394 w 15206251"/>
              <a:gd name="connsiteY0" fmla="*/ 10 h 1156087"/>
              <a:gd name="connsiteX1" fmla="*/ 15206251 w 15206251"/>
              <a:gd name="connsiteY1" fmla="*/ 5432 h 1156087"/>
              <a:gd name="connsiteX2" fmla="*/ 15188486 w 15206251"/>
              <a:gd name="connsiteY2" fmla="*/ 975481 h 1156087"/>
              <a:gd name="connsiteX3" fmla="*/ 7797231 w 15206251"/>
              <a:gd name="connsiteY3" fmla="*/ 1156087 h 1156087"/>
              <a:gd name="connsiteX4" fmla="*/ 1812 w 15206251"/>
              <a:gd name="connsiteY4" fmla="*/ 976598 h 1156087"/>
              <a:gd name="connsiteX5" fmla="*/ 5394 w 15206251"/>
              <a:gd name="connsiteY5" fmla="*/ 10 h 1156087"/>
              <a:gd name="connsiteX0" fmla="*/ 5396 w 15206253"/>
              <a:gd name="connsiteY0" fmla="*/ 10 h 1800925"/>
              <a:gd name="connsiteX1" fmla="*/ 15206253 w 15206253"/>
              <a:gd name="connsiteY1" fmla="*/ 5432 h 1800925"/>
              <a:gd name="connsiteX2" fmla="*/ 15188488 w 15206253"/>
              <a:gd name="connsiteY2" fmla="*/ 975481 h 1800925"/>
              <a:gd name="connsiteX3" fmla="*/ 5094300 w 15206253"/>
              <a:gd name="connsiteY3" fmla="*/ 1800925 h 1800925"/>
              <a:gd name="connsiteX4" fmla="*/ 1814 w 15206253"/>
              <a:gd name="connsiteY4" fmla="*/ 976598 h 1800925"/>
              <a:gd name="connsiteX5" fmla="*/ 5396 w 15206253"/>
              <a:gd name="connsiteY5" fmla="*/ 10 h 1800925"/>
              <a:gd name="connsiteX0" fmla="*/ 5396 w 15206253"/>
              <a:gd name="connsiteY0" fmla="*/ 10 h 1800925"/>
              <a:gd name="connsiteX1" fmla="*/ 15206253 w 15206253"/>
              <a:gd name="connsiteY1" fmla="*/ 5432 h 1800925"/>
              <a:gd name="connsiteX2" fmla="*/ 15188488 w 15206253"/>
              <a:gd name="connsiteY2" fmla="*/ 1216093 h 1800925"/>
              <a:gd name="connsiteX3" fmla="*/ 5094300 w 15206253"/>
              <a:gd name="connsiteY3" fmla="*/ 1800925 h 1800925"/>
              <a:gd name="connsiteX4" fmla="*/ 1814 w 15206253"/>
              <a:gd name="connsiteY4" fmla="*/ 976598 h 1800925"/>
              <a:gd name="connsiteX5" fmla="*/ 5396 w 15206253"/>
              <a:gd name="connsiteY5" fmla="*/ 10 h 1800925"/>
              <a:gd name="connsiteX0" fmla="*/ 3247 w 15204104"/>
              <a:gd name="connsiteY0" fmla="*/ 9 h 1800924"/>
              <a:gd name="connsiteX1" fmla="*/ 15204104 w 15204104"/>
              <a:gd name="connsiteY1" fmla="*/ 5431 h 1800924"/>
              <a:gd name="connsiteX2" fmla="*/ 15186339 w 15204104"/>
              <a:gd name="connsiteY2" fmla="*/ 1216092 h 1800924"/>
              <a:gd name="connsiteX3" fmla="*/ 5092151 w 15204104"/>
              <a:gd name="connsiteY3" fmla="*/ 1800924 h 1800924"/>
              <a:gd name="connsiteX4" fmla="*/ 8645 w 15204104"/>
              <a:gd name="connsiteY4" fmla="*/ 1149837 h 1800924"/>
              <a:gd name="connsiteX5" fmla="*/ 3247 w 15204104"/>
              <a:gd name="connsiteY5" fmla="*/ 9 h 1800924"/>
              <a:gd name="connsiteX0" fmla="*/ 3245 w 15204102"/>
              <a:gd name="connsiteY0" fmla="*/ 9 h 1983789"/>
              <a:gd name="connsiteX1" fmla="*/ 15204102 w 15204102"/>
              <a:gd name="connsiteY1" fmla="*/ 5431 h 1983789"/>
              <a:gd name="connsiteX2" fmla="*/ 15186337 w 15204102"/>
              <a:gd name="connsiteY2" fmla="*/ 1216092 h 1983789"/>
              <a:gd name="connsiteX3" fmla="*/ 4688054 w 15204102"/>
              <a:gd name="connsiteY3" fmla="*/ 1983789 h 1983789"/>
              <a:gd name="connsiteX4" fmla="*/ 8643 w 15204102"/>
              <a:gd name="connsiteY4" fmla="*/ 1149837 h 1983789"/>
              <a:gd name="connsiteX5" fmla="*/ 3245 w 15204102"/>
              <a:gd name="connsiteY5" fmla="*/ 9 h 1983789"/>
              <a:gd name="connsiteX0" fmla="*/ 3245 w 15204102"/>
              <a:gd name="connsiteY0" fmla="*/ 9 h 1983789"/>
              <a:gd name="connsiteX1" fmla="*/ 15204102 w 15204102"/>
              <a:gd name="connsiteY1" fmla="*/ 5431 h 1983789"/>
              <a:gd name="connsiteX2" fmla="*/ 15186337 w 15204102"/>
              <a:gd name="connsiteY2" fmla="*/ 1355647 h 1983789"/>
              <a:gd name="connsiteX3" fmla="*/ 4688054 w 15204102"/>
              <a:gd name="connsiteY3" fmla="*/ 1983789 h 1983789"/>
              <a:gd name="connsiteX4" fmla="*/ 8643 w 15204102"/>
              <a:gd name="connsiteY4" fmla="*/ 1149837 h 1983789"/>
              <a:gd name="connsiteX5" fmla="*/ 3245 w 15204102"/>
              <a:gd name="connsiteY5" fmla="*/ 9 h 198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4102" h="1983789">
                <a:moveTo>
                  <a:pt x="3245" y="9"/>
                </a:moveTo>
                <a:lnTo>
                  <a:pt x="15204102" y="5431"/>
                </a:lnTo>
                <a:lnTo>
                  <a:pt x="15186337" y="1355647"/>
                </a:lnTo>
                <a:cubicBezTo>
                  <a:pt x="15178152" y="1354867"/>
                  <a:pt x="4688274" y="1982244"/>
                  <a:pt x="4688054" y="1983789"/>
                </a:cubicBezTo>
                <a:cubicBezTo>
                  <a:pt x="4693433" y="1980303"/>
                  <a:pt x="29640" y="1152530"/>
                  <a:pt x="8643" y="1149837"/>
                </a:cubicBezTo>
                <a:cubicBezTo>
                  <a:pt x="9088" y="1160072"/>
                  <a:pt x="-6583" y="-3676"/>
                  <a:pt x="3245" y="9"/>
                </a:cubicBezTo>
                <a:close/>
              </a:path>
            </a:pathLst>
          </a:custGeom>
          <a:ln w="50800">
            <a:noFill/>
          </a:ln>
        </p:spPr>
        <p:txBody>
          <a:bodyPr/>
          <a:lstStyle/>
          <a:p>
            <a:pPr marL="304778" marR="0" lvl="0" indent="-304778" algn="l" defTabSz="1219108" rtl="0" eaLnBrk="1" fontAlgn="auto" latinLnBrk="0" hangingPunct="1">
              <a:lnSpc>
                <a:spcPct val="90000"/>
              </a:lnSpc>
              <a:spcBef>
                <a:spcPts val="1333"/>
              </a:spcBef>
              <a:spcAft>
                <a:spcPts val="0"/>
              </a:spcAft>
              <a:buClrTx/>
              <a:buSzTx/>
              <a:buFont typeface="Arial" panose="020B0604020202020204" pitchFamily="34" charset="0"/>
              <a:buNone/>
              <a:tabLst/>
              <a:defRPr/>
            </a:pPr>
            <a:r>
              <a:rPr lang="en-US" noProof="0"/>
              <a:t>Picture</a:t>
            </a:r>
          </a:p>
        </p:txBody>
      </p:sp>
      <p:sp>
        <p:nvSpPr>
          <p:cNvPr id="8" name="Marcador de texto 5">
            <a:extLst>
              <a:ext uri="{FF2B5EF4-FFF2-40B4-BE49-F238E27FC236}">
                <a16:creationId xmlns:a16="http://schemas.microsoft.com/office/drawing/2014/main" id="{A3DE6BDD-49CB-2678-12A3-6065BF84B196}"/>
              </a:ext>
            </a:extLst>
          </p:cNvPr>
          <p:cNvSpPr>
            <a:spLocks noGrp="1"/>
          </p:cNvSpPr>
          <p:nvPr>
            <p:ph type="body" sz="quarter" idx="25" hasCustomPrompt="1"/>
          </p:nvPr>
        </p:nvSpPr>
        <p:spPr>
          <a:xfrm>
            <a:off x="4039281" y="6417750"/>
            <a:ext cx="4113439" cy="195084"/>
          </a:xfrm>
          <a:prstGeom prst="rect">
            <a:avLst/>
          </a:prstGeom>
        </p:spPr>
        <p:txBody>
          <a:bodyPr/>
          <a:lstStyle>
            <a:lvl1pPr marL="0" indent="0" algn="ctr">
              <a:buNone/>
              <a:defRPr sz="933">
                <a:solidFill>
                  <a:schemeClr val="bg1"/>
                </a:solidFill>
              </a:defRPr>
            </a:lvl1pPr>
          </a:lstStyle>
          <a:p>
            <a:r>
              <a:rPr lang="es-ES" err="1"/>
              <a:t>Lorem</a:t>
            </a:r>
            <a:r>
              <a:rPr lang="es-ES"/>
              <a:t> </a:t>
            </a:r>
            <a:r>
              <a:rPr lang="es-ES" err="1"/>
              <a:t>ipsum</a:t>
            </a:r>
            <a:r>
              <a:rPr lang="es-ES"/>
              <a:t> dolor </a:t>
            </a:r>
            <a:r>
              <a:rPr lang="es-ES" err="1"/>
              <a:t>sit</a:t>
            </a:r>
            <a:r>
              <a:rPr lang="es-ES"/>
              <a:t> </a:t>
            </a:r>
            <a:r>
              <a:rPr lang="es-ES" err="1"/>
              <a:t>amet</a:t>
            </a:r>
            <a:r>
              <a:rPr lang="es-ES"/>
              <a:t>.</a:t>
            </a:r>
          </a:p>
        </p:txBody>
      </p:sp>
      <p:sp>
        <p:nvSpPr>
          <p:cNvPr id="9" name="Slide Number Placeholder 5">
            <a:extLst>
              <a:ext uri="{FF2B5EF4-FFF2-40B4-BE49-F238E27FC236}">
                <a16:creationId xmlns:a16="http://schemas.microsoft.com/office/drawing/2014/main" id="{B7C728DA-76B5-197E-6D6E-D742F68E3C7A}"/>
              </a:ext>
            </a:extLst>
          </p:cNvPr>
          <p:cNvSpPr>
            <a:spLocks noGrp="1"/>
          </p:cNvSpPr>
          <p:nvPr>
            <p:ph type="sldNum" sz="quarter" idx="4"/>
          </p:nvPr>
        </p:nvSpPr>
        <p:spPr>
          <a:xfrm>
            <a:off x="10910403" y="6356351"/>
            <a:ext cx="1042415" cy="365125"/>
          </a:xfrm>
          <a:prstGeom prst="rect">
            <a:avLst/>
          </a:prstGeom>
        </p:spPr>
        <p:txBody>
          <a:bodyPr vert="horz" lIns="91440" tIns="45720" rIns="91440" bIns="45720" rtlCol="0" anchor="ctr"/>
          <a:lstStyle>
            <a:lvl1pPr algn="r">
              <a:defRPr sz="933">
                <a:solidFill>
                  <a:schemeClr val="bg1"/>
                </a:solidFill>
              </a:defRPr>
            </a:lvl1pPr>
          </a:lstStyle>
          <a:p>
            <a:fld id="{96F64DD7-E411-6141-89FE-121B5323FD5F}" type="slidenum">
              <a:rPr lang="en-US" smtClean="0"/>
              <a:pPr/>
              <a:t>‹Nº›</a:t>
            </a:fld>
            <a:endParaRPr lang="en-US"/>
          </a:p>
        </p:txBody>
      </p:sp>
    </p:spTree>
    <p:extLst>
      <p:ext uri="{BB962C8B-B14F-4D97-AF65-F5344CB8AC3E}">
        <p14:creationId xmlns:p14="http://schemas.microsoft.com/office/powerpoint/2010/main" val="2590147770"/>
      </p:ext>
    </p:extLst>
  </p:cSld>
  <p:clrMapOvr>
    <a:masterClrMapping/>
  </p:clrMapOvr>
  <p:extLst>
    <p:ext uri="{DCECCB84-F9BA-43D5-87BE-67443E8EF086}">
      <p15:sldGuideLst xmlns:p15="http://schemas.microsoft.com/office/powerpoint/2012/main">
        <p15:guide id="1" orient="horz" pos="2867">
          <p15:clr>
            <a:srgbClr val="FBAE40"/>
          </p15:clr>
        </p15:guide>
        <p15:guide id="2" pos="2880">
          <p15:clr>
            <a:srgbClr val="FBAE40"/>
          </p15:clr>
        </p15:guide>
        <p15:guide id="3" orient="horz" pos="35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 Image 8">
    <p:bg>
      <p:bgPr>
        <a:solidFill>
          <a:schemeClr val="bg1"/>
        </a:solidFill>
        <a:effectLst/>
      </p:bgPr>
    </p:bg>
    <p:spTree>
      <p:nvGrpSpPr>
        <p:cNvPr id="1" name=""/>
        <p:cNvGrpSpPr/>
        <p:nvPr/>
      </p:nvGrpSpPr>
      <p:grpSpPr>
        <a:xfrm>
          <a:off x="0" y="0"/>
          <a:ext cx="0" cy="0"/>
          <a:chOff x="0" y="0"/>
          <a:chExt cx="0" cy="0"/>
        </a:xfrm>
      </p:grpSpPr>
      <p:sp>
        <p:nvSpPr>
          <p:cNvPr id="3" name="Título 1">
            <a:extLst>
              <a:ext uri="{FF2B5EF4-FFF2-40B4-BE49-F238E27FC236}">
                <a16:creationId xmlns:a16="http://schemas.microsoft.com/office/drawing/2014/main" id="{6A7163C3-6C67-E27A-BD86-1F428AEE1090}"/>
              </a:ext>
            </a:extLst>
          </p:cNvPr>
          <p:cNvSpPr>
            <a:spLocks noGrp="1"/>
          </p:cNvSpPr>
          <p:nvPr>
            <p:ph type="title" hasCustomPrompt="1"/>
          </p:nvPr>
        </p:nvSpPr>
        <p:spPr>
          <a:xfrm>
            <a:off x="768352" y="1437883"/>
            <a:ext cx="5327648" cy="913949"/>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3200" baseline="0">
                <a:solidFill>
                  <a:schemeClr val="accent2"/>
                </a:solidFill>
              </a:defRPr>
            </a:lvl1pPr>
          </a:lstStyle>
          <a:p>
            <a:r>
              <a:rPr lang="en-US" noProof="0"/>
              <a:t>Headline is Arial Reg. 24pt.</a:t>
            </a:r>
            <a:br>
              <a:rPr lang="en-US" noProof="0"/>
            </a:br>
            <a:r>
              <a:rPr lang="en-US" noProof="0"/>
              <a:t>Lorem ipsum dolor sit </a:t>
            </a:r>
            <a:r>
              <a:rPr lang="en-US" noProof="0" err="1"/>
              <a:t>amet</a:t>
            </a:r>
            <a:r>
              <a:rPr lang="en-US" noProof="0"/>
              <a:t>.</a:t>
            </a:r>
          </a:p>
        </p:txBody>
      </p:sp>
      <p:sp>
        <p:nvSpPr>
          <p:cNvPr id="4" name="Marcador de texto 5">
            <a:extLst>
              <a:ext uri="{FF2B5EF4-FFF2-40B4-BE49-F238E27FC236}">
                <a16:creationId xmlns:a16="http://schemas.microsoft.com/office/drawing/2014/main" id="{7603340C-8E25-AA7C-F012-C1912DE9362B}"/>
              </a:ext>
            </a:extLst>
          </p:cNvPr>
          <p:cNvSpPr>
            <a:spLocks noGrp="1"/>
          </p:cNvSpPr>
          <p:nvPr>
            <p:ph type="body" sz="quarter" idx="12" hasCustomPrompt="1"/>
          </p:nvPr>
        </p:nvSpPr>
        <p:spPr>
          <a:xfrm>
            <a:off x="768351" y="2487538"/>
            <a:ext cx="4193935" cy="405357"/>
          </a:xfrm>
          <a:prstGeom prst="rect">
            <a:avLst/>
          </a:prstGeom>
        </p:spPr>
        <p:txBody>
          <a:bodyPr lIns="0" tIns="0" rIns="0" bIns="0">
            <a:noAutofit/>
          </a:bodyPr>
          <a:lstStyle>
            <a:lvl1pPr marL="0" indent="0">
              <a:lnSpc>
                <a:spcPct val="100000"/>
              </a:lnSpc>
              <a:spcBef>
                <a:spcPts val="0"/>
              </a:spcBef>
              <a:buNone/>
              <a:defRPr sz="1733" baseline="0">
                <a:solidFill>
                  <a:schemeClr val="accent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Subhead is Arial Regular 13/Simple pt.</a:t>
            </a:r>
          </a:p>
        </p:txBody>
      </p:sp>
      <p:sp>
        <p:nvSpPr>
          <p:cNvPr id="6" name="Marcador de texto 5">
            <a:extLst>
              <a:ext uri="{FF2B5EF4-FFF2-40B4-BE49-F238E27FC236}">
                <a16:creationId xmlns:a16="http://schemas.microsoft.com/office/drawing/2014/main" id="{50553BA4-0A31-A33B-E8A9-32A38D3456E0}"/>
              </a:ext>
            </a:extLst>
          </p:cNvPr>
          <p:cNvSpPr>
            <a:spLocks noGrp="1"/>
          </p:cNvSpPr>
          <p:nvPr>
            <p:ph type="body" sz="quarter" idx="16" hasCustomPrompt="1"/>
          </p:nvPr>
        </p:nvSpPr>
        <p:spPr>
          <a:xfrm>
            <a:off x="6527800" y="1437881"/>
            <a:ext cx="4895851" cy="1253016"/>
          </a:xfrm>
          <a:prstGeom prst="rect">
            <a:avLst/>
          </a:prstGeom>
        </p:spPr>
        <p:txBody>
          <a:bodyPr lIns="0" tIns="0" rIns="0" bIns="0">
            <a:noAutofit/>
          </a:bodyPr>
          <a:lstStyle>
            <a:lvl1pPr marL="0" indent="0">
              <a:lnSpc>
                <a:spcPct val="100000"/>
              </a:lnSpc>
              <a:spcBef>
                <a:spcPts val="0"/>
              </a:spcBef>
              <a:buNone/>
              <a:defRPr sz="1200" baseline="0">
                <a:solidFill>
                  <a:schemeClr val="accent1"/>
                </a:solidFill>
              </a:defRPr>
            </a:lvl1pPr>
            <a:lvl2pPr marL="457189" indent="0">
              <a:buNone/>
              <a:defRPr/>
            </a:lvl2pPr>
            <a:lvl3pPr marL="914377" indent="0">
              <a:buNone/>
              <a:defRPr/>
            </a:lvl3pPr>
            <a:lvl4pPr marL="1371566" indent="0">
              <a:buNone/>
              <a:defRPr/>
            </a:lvl4pPr>
            <a:lvl5pPr marL="1828754" indent="0">
              <a:buNone/>
              <a:defRPr/>
            </a:lvl5pPr>
          </a:lstStyle>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err="1"/>
              <a:t>Bodycopy</a:t>
            </a:r>
            <a:r>
              <a:rPr lang="en-US" noProof="0"/>
              <a:t> is Arial Regular 9/Simple pt. Lorem ipsum dolor si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ipsum dolor sit </a:t>
            </a:r>
            <a:r>
              <a:rPr lang="en-US" noProof="0" err="1"/>
              <a:t>amet</a:t>
            </a:r>
            <a:r>
              <a:rPr lang="en-US" noProof="0"/>
              <a:t> lorem ipsum dolor sit </a:t>
            </a:r>
            <a:r>
              <a:rPr lang="en-US" noProof="0" err="1"/>
              <a:t>amet</a:t>
            </a:r>
            <a:r>
              <a:rPr lang="en-US" noProof="0"/>
              <a:t>. Lorem ipsum dolor sit ipsum dolor sit </a:t>
            </a:r>
            <a:r>
              <a:rPr lang="en-US" noProof="0" err="1"/>
              <a:t>amet</a:t>
            </a:r>
            <a:r>
              <a:rPr lang="en-US" noProof="0"/>
              <a:t> lorem ipsum dolor sit </a:t>
            </a:r>
            <a:r>
              <a:rPr lang="en-US" noProof="0" err="1"/>
              <a:t>amet</a:t>
            </a:r>
            <a:r>
              <a:rPr lang="en-US" noProof="0"/>
              <a:t>. Lorem ipsum dolor sit dolor sit </a:t>
            </a:r>
            <a:r>
              <a:rPr lang="en-US" noProof="0" err="1"/>
              <a:t>amet</a:t>
            </a:r>
            <a:r>
              <a:rPr lang="en-US" noProof="0"/>
              <a:t> lorem ipsum dolor sit </a:t>
            </a:r>
            <a:r>
              <a:rPr lang="en-US" noProof="0" err="1"/>
              <a:t>amet</a:t>
            </a:r>
            <a:r>
              <a:rPr lang="en-US" noProof="0"/>
              <a:t>.</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noProof="0"/>
          </a:p>
          <a:p>
            <a:pPr lvl="0"/>
            <a:endParaRPr lang="en-US" noProof="0"/>
          </a:p>
        </p:txBody>
      </p:sp>
      <p:sp>
        <p:nvSpPr>
          <p:cNvPr id="7" name="Marcador de texto 6">
            <a:extLst>
              <a:ext uri="{FF2B5EF4-FFF2-40B4-BE49-F238E27FC236}">
                <a16:creationId xmlns:a16="http://schemas.microsoft.com/office/drawing/2014/main" id="{B1CC7596-053A-8FA9-40E0-21393FADE7AD}"/>
              </a:ext>
            </a:extLst>
          </p:cNvPr>
          <p:cNvSpPr>
            <a:spLocks noGrp="1"/>
          </p:cNvSpPr>
          <p:nvPr>
            <p:ph type="body" sz="quarter" idx="25" hasCustomPrompt="1"/>
          </p:nvPr>
        </p:nvSpPr>
        <p:spPr>
          <a:xfrm>
            <a:off x="0" y="4563"/>
            <a:ext cx="12192000" cy="842544"/>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2"/>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8" name="Marcador de imagen 7">
            <a:extLst>
              <a:ext uri="{FF2B5EF4-FFF2-40B4-BE49-F238E27FC236}">
                <a16:creationId xmlns:a16="http://schemas.microsoft.com/office/drawing/2014/main" id="{DECCC20D-ABA1-559E-F220-19999FA3138D}"/>
              </a:ext>
            </a:extLst>
          </p:cNvPr>
          <p:cNvSpPr>
            <a:spLocks noGrp="1"/>
          </p:cNvSpPr>
          <p:nvPr>
            <p:ph type="pic" sz="quarter" idx="20" hasCustomPrompt="1"/>
          </p:nvPr>
        </p:nvSpPr>
        <p:spPr>
          <a:xfrm>
            <a:off x="4375" y="3602648"/>
            <a:ext cx="12207685" cy="3265953"/>
          </a:xfrm>
          <a:custGeom>
            <a:avLst/>
            <a:gdLst>
              <a:gd name="connsiteX0" fmla="*/ 0 w 8411266"/>
              <a:gd name="connsiteY0" fmla="*/ 0 h 2915921"/>
              <a:gd name="connsiteX1" fmla="*/ 8411266 w 8411266"/>
              <a:gd name="connsiteY1" fmla="*/ 0 h 2915921"/>
              <a:gd name="connsiteX2" fmla="*/ 8411266 w 8411266"/>
              <a:gd name="connsiteY2" fmla="*/ 2915921 h 2915921"/>
              <a:gd name="connsiteX3" fmla="*/ 0 w 8411266"/>
              <a:gd name="connsiteY3" fmla="*/ 2915921 h 2915921"/>
              <a:gd name="connsiteX4" fmla="*/ 0 w 8411266"/>
              <a:gd name="connsiteY4" fmla="*/ 0 h 2915921"/>
              <a:gd name="connsiteX0" fmla="*/ 0 w 8411266"/>
              <a:gd name="connsiteY0" fmla="*/ 0 h 2915922"/>
              <a:gd name="connsiteX1" fmla="*/ 8411266 w 8411266"/>
              <a:gd name="connsiteY1" fmla="*/ 0 h 2915922"/>
              <a:gd name="connsiteX2" fmla="*/ 8411266 w 8411266"/>
              <a:gd name="connsiteY2" fmla="*/ 2915921 h 2915922"/>
              <a:gd name="connsiteX3" fmla="*/ 7668987 w 8411266"/>
              <a:gd name="connsiteY3" fmla="*/ 2915922 h 2915922"/>
              <a:gd name="connsiteX4" fmla="*/ 0 w 8411266"/>
              <a:gd name="connsiteY4" fmla="*/ 2915921 h 2915922"/>
              <a:gd name="connsiteX5" fmla="*/ 0 w 8411266"/>
              <a:gd name="connsiteY5" fmla="*/ 0 h 2915922"/>
              <a:gd name="connsiteX0" fmla="*/ 0 w 8411266"/>
              <a:gd name="connsiteY0" fmla="*/ 0 h 2915922"/>
              <a:gd name="connsiteX1" fmla="*/ 8411266 w 8411266"/>
              <a:gd name="connsiteY1" fmla="*/ 0 h 2915922"/>
              <a:gd name="connsiteX2" fmla="*/ 8405886 w 8411266"/>
              <a:gd name="connsiteY2" fmla="*/ 2238189 h 2915922"/>
              <a:gd name="connsiteX3" fmla="*/ 8411266 w 8411266"/>
              <a:gd name="connsiteY3" fmla="*/ 2915921 h 2915922"/>
              <a:gd name="connsiteX4" fmla="*/ 7668987 w 8411266"/>
              <a:gd name="connsiteY4" fmla="*/ 2915922 h 2915922"/>
              <a:gd name="connsiteX5" fmla="*/ 0 w 8411266"/>
              <a:gd name="connsiteY5" fmla="*/ 2915921 h 2915922"/>
              <a:gd name="connsiteX6" fmla="*/ 0 w 8411266"/>
              <a:gd name="connsiteY6" fmla="*/ 0 h 2915922"/>
              <a:gd name="connsiteX0" fmla="*/ 0 w 8411782"/>
              <a:gd name="connsiteY0" fmla="*/ 0 h 2915922"/>
              <a:gd name="connsiteX1" fmla="*/ 8411266 w 8411782"/>
              <a:gd name="connsiteY1" fmla="*/ 0 h 2915922"/>
              <a:gd name="connsiteX2" fmla="*/ 8411265 w 8411782"/>
              <a:gd name="connsiteY2" fmla="*/ 2211294 h 2915922"/>
              <a:gd name="connsiteX3" fmla="*/ 8411266 w 8411782"/>
              <a:gd name="connsiteY3" fmla="*/ 2915921 h 2915922"/>
              <a:gd name="connsiteX4" fmla="*/ 7668987 w 8411782"/>
              <a:gd name="connsiteY4" fmla="*/ 2915922 h 2915922"/>
              <a:gd name="connsiteX5" fmla="*/ 0 w 8411782"/>
              <a:gd name="connsiteY5" fmla="*/ 2915921 h 2915922"/>
              <a:gd name="connsiteX6" fmla="*/ 0 w 8411782"/>
              <a:gd name="connsiteY6" fmla="*/ 0 h 2915922"/>
              <a:gd name="connsiteX0" fmla="*/ 0 w 8519559"/>
              <a:gd name="connsiteY0" fmla="*/ 0 h 2915922"/>
              <a:gd name="connsiteX1" fmla="*/ 8411266 w 8519559"/>
              <a:gd name="connsiteY1" fmla="*/ 0 h 2915922"/>
              <a:gd name="connsiteX2" fmla="*/ 8411265 w 8519559"/>
              <a:gd name="connsiteY2" fmla="*/ 2211294 h 2915922"/>
              <a:gd name="connsiteX3" fmla="*/ 7668987 w 8519559"/>
              <a:gd name="connsiteY3" fmla="*/ 2915922 h 2915922"/>
              <a:gd name="connsiteX4" fmla="*/ 0 w 8519559"/>
              <a:gd name="connsiteY4" fmla="*/ 2915921 h 2915922"/>
              <a:gd name="connsiteX5" fmla="*/ 0 w 8519559"/>
              <a:gd name="connsiteY5" fmla="*/ 0 h 2915922"/>
              <a:gd name="connsiteX0" fmla="*/ 0 w 8568374"/>
              <a:gd name="connsiteY0" fmla="*/ 0 h 2915922"/>
              <a:gd name="connsiteX1" fmla="*/ 8411266 w 8568374"/>
              <a:gd name="connsiteY1" fmla="*/ 0 h 2915922"/>
              <a:gd name="connsiteX2" fmla="*/ 8411265 w 8568374"/>
              <a:gd name="connsiteY2" fmla="*/ 2211294 h 2915922"/>
              <a:gd name="connsiteX3" fmla="*/ 7668987 w 8568374"/>
              <a:gd name="connsiteY3" fmla="*/ 2915922 h 2915922"/>
              <a:gd name="connsiteX4" fmla="*/ 0 w 8568374"/>
              <a:gd name="connsiteY4" fmla="*/ 2915921 h 2915922"/>
              <a:gd name="connsiteX5" fmla="*/ 0 w 8568374"/>
              <a:gd name="connsiteY5" fmla="*/ 0 h 2915922"/>
              <a:gd name="connsiteX0" fmla="*/ 0 w 8411782"/>
              <a:gd name="connsiteY0" fmla="*/ 0 h 2915922"/>
              <a:gd name="connsiteX1" fmla="*/ 8411266 w 8411782"/>
              <a:gd name="connsiteY1" fmla="*/ 0 h 2915922"/>
              <a:gd name="connsiteX2" fmla="*/ 8411265 w 8411782"/>
              <a:gd name="connsiteY2" fmla="*/ 2211294 h 2915922"/>
              <a:gd name="connsiteX3" fmla="*/ 7668987 w 8411782"/>
              <a:gd name="connsiteY3" fmla="*/ 2915922 h 2915922"/>
              <a:gd name="connsiteX4" fmla="*/ 0 w 8411782"/>
              <a:gd name="connsiteY4" fmla="*/ 2915921 h 2915922"/>
              <a:gd name="connsiteX5" fmla="*/ 0 w 8411782"/>
              <a:gd name="connsiteY5" fmla="*/ 0 h 2915922"/>
              <a:gd name="connsiteX0" fmla="*/ 0 w 8418465"/>
              <a:gd name="connsiteY0" fmla="*/ 0 h 2915922"/>
              <a:gd name="connsiteX1" fmla="*/ 8411266 w 8418465"/>
              <a:gd name="connsiteY1" fmla="*/ 0 h 2915922"/>
              <a:gd name="connsiteX2" fmla="*/ 8418046 w 8418465"/>
              <a:gd name="connsiteY2" fmla="*/ 2519966 h 2915922"/>
              <a:gd name="connsiteX3" fmla="*/ 7668987 w 8418465"/>
              <a:gd name="connsiteY3" fmla="*/ 2915922 h 2915922"/>
              <a:gd name="connsiteX4" fmla="*/ 0 w 8418465"/>
              <a:gd name="connsiteY4" fmla="*/ 2915921 h 2915922"/>
              <a:gd name="connsiteX5" fmla="*/ 0 w 8418465"/>
              <a:gd name="connsiteY5" fmla="*/ 0 h 2915922"/>
              <a:gd name="connsiteX0" fmla="*/ 0 w 8425205"/>
              <a:gd name="connsiteY0" fmla="*/ 0 h 2915922"/>
              <a:gd name="connsiteX1" fmla="*/ 8411266 w 8425205"/>
              <a:gd name="connsiteY1" fmla="*/ 0 h 2915922"/>
              <a:gd name="connsiteX2" fmla="*/ 8424827 w 8425205"/>
              <a:gd name="connsiteY2" fmla="*/ 2522560 h 2915922"/>
              <a:gd name="connsiteX3" fmla="*/ 7668987 w 8425205"/>
              <a:gd name="connsiteY3" fmla="*/ 2915922 h 2915922"/>
              <a:gd name="connsiteX4" fmla="*/ 0 w 8425205"/>
              <a:gd name="connsiteY4" fmla="*/ 2915921 h 2915922"/>
              <a:gd name="connsiteX5" fmla="*/ 0 w 8425205"/>
              <a:gd name="connsiteY5" fmla="*/ 0 h 2915922"/>
              <a:gd name="connsiteX0" fmla="*/ 0 w 8411783"/>
              <a:gd name="connsiteY0" fmla="*/ 0 h 2915922"/>
              <a:gd name="connsiteX1" fmla="*/ 8411266 w 8411783"/>
              <a:gd name="connsiteY1" fmla="*/ 0 h 2915922"/>
              <a:gd name="connsiteX2" fmla="*/ 8411265 w 8411783"/>
              <a:gd name="connsiteY2" fmla="*/ 2506997 h 2915922"/>
              <a:gd name="connsiteX3" fmla="*/ 7668987 w 8411783"/>
              <a:gd name="connsiteY3" fmla="*/ 2915922 h 2915922"/>
              <a:gd name="connsiteX4" fmla="*/ 0 w 8411783"/>
              <a:gd name="connsiteY4" fmla="*/ 2915921 h 2915922"/>
              <a:gd name="connsiteX5" fmla="*/ 0 w 8411783"/>
              <a:gd name="connsiteY5" fmla="*/ 0 h 2915922"/>
              <a:gd name="connsiteX0" fmla="*/ 0 w 8411781"/>
              <a:gd name="connsiteY0" fmla="*/ 0 h 2918516"/>
              <a:gd name="connsiteX1" fmla="*/ 8411266 w 8411781"/>
              <a:gd name="connsiteY1" fmla="*/ 0 h 2918516"/>
              <a:gd name="connsiteX2" fmla="*/ 8411265 w 8411781"/>
              <a:gd name="connsiteY2" fmla="*/ 2506997 h 2918516"/>
              <a:gd name="connsiteX3" fmla="*/ 7431649 w 8411781"/>
              <a:gd name="connsiteY3" fmla="*/ 2918516 h 2918516"/>
              <a:gd name="connsiteX4" fmla="*/ 0 w 8411781"/>
              <a:gd name="connsiteY4" fmla="*/ 2915921 h 2918516"/>
              <a:gd name="connsiteX5" fmla="*/ 0 w 8411781"/>
              <a:gd name="connsiteY5" fmla="*/ 0 h 2918516"/>
              <a:gd name="connsiteX0" fmla="*/ 0 w 8411783"/>
              <a:gd name="connsiteY0" fmla="*/ 0 h 2921109"/>
              <a:gd name="connsiteX1" fmla="*/ 8411266 w 8411783"/>
              <a:gd name="connsiteY1" fmla="*/ 0 h 2921109"/>
              <a:gd name="connsiteX2" fmla="*/ 8411265 w 8411783"/>
              <a:gd name="connsiteY2" fmla="*/ 2506997 h 2921109"/>
              <a:gd name="connsiteX3" fmla="*/ 7431649 w 8411783"/>
              <a:gd name="connsiteY3" fmla="*/ 2918516 h 2921109"/>
              <a:gd name="connsiteX4" fmla="*/ 0 w 8411783"/>
              <a:gd name="connsiteY4" fmla="*/ 2921109 h 2921109"/>
              <a:gd name="connsiteX5" fmla="*/ 0 w 8411783"/>
              <a:gd name="connsiteY5" fmla="*/ 0 h 2921109"/>
              <a:gd name="connsiteX0" fmla="*/ 0 w 8412159"/>
              <a:gd name="connsiteY0" fmla="*/ 0 h 2921109"/>
              <a:gd name="connsiteX1" fmla="*/ 8411266 w 8412159"/>
              <a:gd name="connsiteY1" fmla="*/ 0 h 2921109"/>
              <a:gd name="connsiteX2" fmla="*/ 8411265 w 8412159"/>
              <a:gd name="connsiteY2" fmla="*/ 2506997 h 2921109"/>
              <a:gd name="connsiteX3" fmla="*/ 7431649 w 8412159"/>
              <a:gd name="connsiteY3" fmla="*/ 2918516 h 2921109"/>
              <a:gd name="connsiteX4" fmla="*/ 0 w 8412159"/>
              <a:gd name="connsiteY4" fmla="*/ 2921109 h 2921109"/>
              <a:gd name="connsiteX5" fmla="*/ 0 w 8412159"/>
              <a:gd name="connsiteY5" fmla="*/ 0 h 2921109"/>
              <a:gd name="connsiteX0" fmla="*/ 13562 w 8412159"/>
              <a:gd name="connsiteY0" fmla="*/ 0 h 2921109"/>
              <a:gd name="connsiteX1" fmla="*/ 8411266 w 8412159"/>
              <a:gd name="connsiteY1" fmla="*/ 0 h 2921109"/>
              <a:gd name="connsiteX2" fmla="*/ 8411265 w 8412159"/>
              <a:gd name="connsiteY2" fmla="*/ 2506997 h 2921109"/>
              <a:gd name="connsiteX3" fmla="*/ 7431649 w 8412159"/>
              <a:gd name="connsiteY3" fmla="*/ 2918516 h 2921109"/>
              <a:gd name="connsiteX4" fmla="*/ 0 w 8412159"/>
              <a:gd name="connsiteY4" fmla="*/ 2921109 h 2921109"/>
              <a:gd name="connsiteX5" fmla="*/ 13562 w 8412159"/>
              <a:gd name="connsiteY5" fmla="*/ 0 h 2921109"/>
              <a:gd name="connsiteX0" fmla="*/ 13562 w 8415929"/>
              <a:gd name="connsiteY0" fmla="*/ 0 h 2922720"/>
              <a:gd name="connsiteX1" fmla="*/ 8411266 w 8415929"/>
              <a:gd name="connsiteY1" fmla="*/ 0 h 2922720"/>
              <a:gd name="connsiteX2" fmla="*/ 8411265 w 8415929"/>
              <a:gd name="connsiteY2" fmla="*/ 2506997 h 2922720"/>
              <a:gd name="connsiteX3" fmla="*/ 7514079 w 8415929"/>
              <a:gd name="connsiteY3" fmla="*/ 2922720 h 2922720"/>
              <a:gd name="connsiteX4" fmla="*/ 0 w 8415929"/>
              <a:gd name="connsiteY4" fmla="*/ 2921109 h 2922720"/>
              <a:gd name="connsiteX5" fmla="*/ 13562 w 8415929"/>
              <a:gd name="connsiteY5" fmla="*/ 0 h 2922720"/>
              <a:gd name="connsiteX0" fmla="*/ 13562 w 8415929"/>
              <a:gd name="connsiteY0" fmla="*/ 0 h 2922720"/>
              <a:gd name="connsiteX1" fmla="*/ 8411266 w 8415929"/>
              <a:gd name="connsiteY1" fmla="*/ 0 h 2922720"/>
              <a:gd name="connsiteX2" fmla="*/ 8411265 w 8415929"/>
              <a:gd name="connsiteY2" fmla="*/ 2481772 h 2922720"/>
              <a:gd name="connsiteX3" fmla="*/ 7514079 w 8415929"/>
              <a:gd name="connsiteY3" fmla="*/ 2922720 h 2922720"/>
              <a:gd name="connsiteX4" fmla="*/ 0 w 8415929"/>
              <a:gd name="connsiteY4" fmla="*/ 2921109 h 2922720"/>
              <a:gd name="connsiteX5" fmla="*/ 13562 w 8415929"/>
              <a:gd name="connsiteY5" fmla="*/ 0 h 2922720"/>
              <a:gd name="connsiteX0" fmla="*/ 13562 w 8414282"/>
              <a:gd name="connsiteY0" fmla="*/ 0 h 2922720"/>
              <a:gd name="connsiteX1" fmla="*/ 8411266 w 8414282"/>
              <a:gd name="connsiteY1" fmla="*/ 0 h 2922720"/>
              <a:gd name="connsiteX2" fmla="*/ 8411265 w 8414282"/>
              <a:gd name="connsiteY2" fmla="*/ 2481772 h 2922720"/>
              <a:gd name="connsiteX3" fmla="*/ 7514079 w 8414282"/>
              <a:gd name="connsiteY3" fmla="*/ 2922720 h 2922720"/>
              <a:gd name="connsiteX4" fmla="*/ 0 w 8414282"/>
              <a:gd name="connsiteY4" fmla="*/ 2921109 h 2922720"/>
              <a:gd name="connsiteX5" fmla="*/ 13562 w 8414282"/>
              <a:gd name="connsiteY5" fmla="*/ 0 h 2922720"/>
              <a:gd name="connsiteX0" fmla="*/ 13562 w 8418988"/>
              <a:gd name="connsiteY0" fmla="*/ 0 h 2926924"/>
              <a:gd name="connsiteX1" fmla="*/ 8411266 w 8418988"/>
              <a:gd name="connsiteY1" fmla="*/ 0 h 2926924"/>
              <a:gd name="connsiteX2" fmla="*/ 8411265 w 8418988"/>
              <a:gd name="connsiteY2" fmla="*/ 2481772 h 2926924"/>
              <a:gd name="connsiteX3" fmla="*/ 7567541 w 8418988"/>
              <a:gd name="connsiteY3" fmla="*/ 2926924 h 2926924"/>
              <a:gd name="connsiteX4" fmla="*/ 0 w 8418988"/>
              <a:gd name="connsiteY4" fmla="*/ 2921109 h 2926924"/>
              <a:gd name="connsiteX5" fmla="*/ 13562 w 8418988"/>
              <a:gd name="connsiteY5" fmla="*/ 0 h 2926924"/>
              <a:gd name="connsiteX0" fmla="*/ 13562 w 8411933"/>
              <a:gd name="connsiteY0" fmla="*/ 0 h 2926924"/>
              <a:gd name="connsiteX1" fmla="*/ 8411266 w 8411933"/>
              <a:gd name="connsiteY1" fmla="*/ 0 h 2926924"/>
              <a:gd name="connsiteX2" fmla="*/ 8411265 w 8411933"/>
              <a:gd name="connsiteY2" fmla="*/ 2481772 h 2926924"/>
              <a:gd name="connsiteX3" fmla="*/ 7567541 w 8411933"/>
              <a:gd name="connsiteY3" fmla="*/ 2926924 h 2926924"/>
              <a:gd name="connsiteX4" fmla="*/ 0 w 8411933"/>
              <a:gd name="connsiteY4" fmla="*/ 2921109 h 2926924"/>
              <a:gd name="connsiteX5" fmla="*/ 13562 w 8411933"/>
              <a:gd name="connsiteY5" fmla="*/ 0 h 2926924"/>
              <a:gd name="connsiteX0" fmla="*/ 2313266 w 8411933"/>
              <a:gd name="connsiteY0" fmla="*/ 0 h 3278300"/>
              <a:gd name="connsiteX1" fmla="*/ 8411266 w 8411933"/>
              <a:gd name="connsiteY1" fmla="*/ 351376 h 3278300"/>
              <a:gd name="connsiteX2" fmla="*/ 8411265 w 8411933"/>
              <a:gd name="connsiteY2" fmla="*/ 2833148 h 3278300"/>
              <a:gd name="connsiteX3" fmla="*/ 7567541 w 8411933"/>
              <a:gd name="connsiteY3" fmla="*/ 3278300 h 3278300"/>
              <a:gd name="connsiteX4" fmla="*/ 0 w 8411933"/>
              <a:gd name="connsiteY4" fmla="*/ 3272485 h 3278300"/>
              <a:gd name="connsiteX5" fmla="*/ 2313266 w 8411933"/>
              <a:gd name="connsiteY5" fmla="*/ 0 h 3278300"/>
              <a:gd name="connsiteX0" fmla="*/ 1267 w 6099934"/>
              <a:gd name="connsiteY0" fmla="*/ 0 h 3278300"/>
              <a:gd name="connsiteX1" fmla="*/ 6099267 w 6099934"/>
              <a:gd name="connsiteY1" fmla="*/ 351376 h 3278300"/>
              <a:gd name="connsiteX2" fmla="*/ 6099266 w 6099934"/>
              <a:gd name="connsiteY2" fmla="*/ 2833148 h 3278300"/>
              <a:gd name="connsiteX3" fmla="*/ 5255542 w 6099934"/>
              <a:gd name="connsiteY3" fmla="*/ 3278300 h 3278300"/>
              <a:gd name="connsiteX4" fmla="*/ 1602 w 6099934"/>
              <a:gd name="connsiteY4" fmla="*/ 3276184 h 3278300"/>
              <a:gd name="connsiteX5" fmla="*/ 1267 w 6099934"/>
              <a:gd name="connsiteY5" fmla="*/ 0 h 3278300"/>
              <a:gd name="connsiteX0" fmla="*/ 1267 w 6099934"/>
              <a:gd name="connsiteY0" fmla="*/ 0 h 3278300"/>
              <a:gd name="connsiteX1" fmla="*/ 6099267 w 6099934"/>
              <a:gd name="connsiteY1" fmla="*/ 3698 h 3278300"/>
              <a:gd name="connsiteX2" fmla="*/ 6099266 w 6099934"/>
              <a:gd name="connsiteY2" fmla="*/ 2833148 h 3278300"/>
              <a:gd name="connsiteX3" fmla="*/ 5255542 w 6099934"/>
              <a:gd name="connsiteY3" fmla="*/ 3278300 h 3278300"/>
              <a:gd name="connsiteX4" fmla="*/ 1602 w 6099934"/>
              <a:gd name="connsiteY4" fmla="*/ 3276184 h 3278300"/>
              <a:gd name="connsiteX5" fmla="*/ 1267 w 6099934"/>
              <a:gd name="connsiteY5" fmla="*/ 0 h 3278300"/>
              <a:gd name="connsiteX0" fmla="*/ -1 w 6098666"/>
              <a:gd name="connsiteY0" fmla="*/ 0 h 3278300"/>
              <a:gd name="connsiteX1" fmla="*/ 6097999 w 6098666"/>
              <a:gd name="connsiteY1" fmla="*/ 3698 h 3278300"/>
              <a:gd name="connsiteX2" fmla="*/ 6097998 w 6098666"/>
              <a:gd name="connsiteY2" fmla="*/ 2833148 h 3278300"/>
              <a:gd name="connsiteX3" fmla="*/ 5254274 w 6098666"/>
              <a:gd name="connsiteY3" fmla="*/ 3278300 h 3278300"/>
              <a:gd name="connsiteX4" fmla="*/ 334 w 6098666"/>
              <a:gd name="connsiteY4" fmla="*/ 3276184 h 3278300"/>
              <a:gd name="connsiteX5" fmla="*/ -1 w 6098666"/>
              <a:gd name="connsiteY5" fmla="*/ 0 h 3278300"/>
              <a:gd name="connsiteX0" fmla="*/ 1 w 6098668"/>
              <a:gd name="connsiteY0" fmla="*/ 0 h 3278300"/>
              <a:gd name="connsiteX1" fmla="*/ 6098001 w 6098668"/>
              <a:gd name="connsiteY1" fmla="*/ 3698 h 3278300"/>
              <a:gd name="connsiteX2" fmla="*/ 6098000 w 6098668"/>
              <a:gd name="connsiteY2" fmla="*/ 2833148 h 3278300"/>
              <a:gd name="connsiteX3" fmla="*/ 5254276 w 6098668"/>
              <a:gd name="connsiteY3" fmla="*/ 3278300 h 3278300"/>
              <a:gd name="connsiteX4" fmla="*/ 336 w 6098668"/>
              <a:gd name="connsiteY4" fmla="*/ 3276184 h 3278300"/>
              <a:gd name="connsiteX5" fmla="*/ 1 w 6098668"/>
              <a:gd name="connsiteY5" fmla="*/ 0 h 3278300"/>
              <a:gd name="connsiteX0" fmla="*/ -1 w 6098666"/>
              <a:gd name="connsiteY0" fmla="*/ 0 h 3278300"/>
              <a:gd name="connsiteX1" fmla="*/ 6097999 w 6098666"/>
              <a:gd name="connsiteY1" fmla="*/ 3698 h 3278300"/>
              <a:gd name="connsiteX2" fmla="*/ 6097998 w 6098666"/>
              <a:gd name="connsiteY2" fmla="*/ 2833148 h 3278300"/>
              <a:gd name="connsiteX3" fmla="*/ 5254274 w 6098666"/>
              <a:gd name="connsiteY3" fmla="*/ 3278300 h 3278300"/>
              <a:gd name="connsiteX4" fmla="*/ 334 w 6098666"/>
              <a:gd name="connsiteY4" fmla="*/ 3276184 h 3278300"/>
              <a:gd name="connsiteX5" fmla="*/ -1 w 6098666"/>
              <a:gd name="connsiteY5" fmla="*/ 0 h 3278300"/>
              <a:gd name="connsiteX0" fmla="*/ 1 w 6098796"/>
              <a:gd name="connsiteY0" fmla="*/ 0 h 3278300"/>
              <a:gd name="connsiteX1" fmla="*/ 6098001 w 6098796"/>
              <a:gd name="connsiteY1" fmla="*/ 3698 h 3278300"/>
              <a:gd name="connsiteX2" fmla="*/ 6098000 w 6098796"/>
              <a:gd name="connsiteY2" fmla="*/ 2833148 h 3278300"/>
              <a:gd name="connsiteX3" fmla="*/ 5254276 w 6098796"/>
              <a:gd name="connsiteY3" fmla="*/ 3278300 h 3278300"/>
              <a:gd name="connsiteX4" fmla="*/ 336 w 6098796"/>
              <a:gd name="connsiteY4" fmla="*/ 3276184 h 3278300"/>
              <a:gd name="connsiteX5" fmla="*/ 1 w 6098796"/>
              <a:gd name="connsiteY5" fmla="*/ 0 h 3278300"/>
              <a:gd name="connsiteX0" fmla="*/ -1 w 6098794"/>
              <a:gd name="connsiteY0" fmla="*/ 0 h 3276184"/>
              <a:gd name="connsiteX1" fmla="*/ 6097999 w 6098794"/>
              <a:gd name="connsiteY1" fmla="*/ 3698 h 3276184"/>
              <a:gd name="connsiteX2" fmla="*/ 6097998 w 6098794"/>
              <a:gd name="connsiteY2" fmla="*/ 2833148 h 3276184"/>
              <a:gd name="connsiteX3" fmla="*/ 3259278 w 6098794"/>
              <a:gd name="connsiteY3" fmla="*/ 3273473 h 3276184"/>
              <a:gd name="connsiteX4" fmla="*/ 334 w 6098794"/>
              <a:gd name="connsiteY4" fmla="*/ 3276184 h 3276184"/>
              <a:gd name="connsiteX5" fmla="*/ -1 w 6098794"/>
              <a:gd name="connsiteY5" fmla="*/ 0 h 3276184"/>
              <a:gd name="connsiteX0" fmla="*/ 1 w 6098000"/>
              <a:gd name="connsiteY0" fmla="*/ 0 h 3276184"/>
              <a:gd name="connsiteX1" fmla="*/ 6098001 w 6098000"/>
              <a:gd name="connsiteY1" fmla="*/ 3698 h 3276184"/>
              <a:gd name="connsiteX2" fmla="*/ 6079864 w 6098000"/>
              <a:gd name="connsiteY2" fmla="*/ 2529014 h 3276184"/>
              <a:gd name="connsiteX3" fmla="*/ 3259280 w 6098000"/>
              <a:gd name="connsiteY3" fmla="*/ 3273473 h 3276184"/>
              <a:gd name="connsiteX4" fmla="*/ 336 w 6098000"/>
              <a:gd name="connsiteY4" fmla="*/ 3276184 h 3276184"/>
              <a:gd name="connsiteX5" fmla="*/ 1 w 6098000"/>
              <a:gd name="connsiteY5" fmla="*/ 0 h 3276184"/>
              <a:gd name="connsiteX0" fmla="*/ 8737 w 6106737"/>
              <a:gd name="connsiteY0" fmla="*/ 0 h 3273473"/>
              <a:gd name="connsiteX1" fmla="*/ 6106737 w 6106737"/>
              <a:gd name="connsiteY1" fmla="*/ 3698 h 3273473"/>
              <a:gd name="connsiteX2" fmla="*/ 6088600 w 6106737"/>
              <a:gd name="connsiteY2" fmla="*/ 2529014 h 3273473"/>
              <a:gd name="connsiteX3" fmla="*/ 3268016 w 6106737"/>
              <a:gd name="connsiteY3" fmla="*/ 3273473 h 3273473"/>
              <a:gd name="connsiteX4" fmla="*/ 3 w 6106737"/>
              <a:gd name="connsiteY4" fmla="*/ 2329989 h 3273473"/>
              <a:gd name="connsiteX5" fmla="*/ 8737 w 6106737"/>
              <a:gd name="connsiteY5" fmla="*/ 0 h 3273473"/>
              <a:gd name="connsiteX0" fmla="*/ 335189 w 6106735"/>
              <a:gd name="connsiteY0" fmla="*/ 454917 h 3269775"/>
              <a:gd name="connsiteX1" fmla="*/ 6106735 w 6106735"/>
              <a:gd name="connsiteY1" fmla="*/ 0 h 3269775"/>
              <a:gd name="connsiteX2" fmla="*/ 6088598 w 6106735"/>
              <a:gd name="connsiteY2" fmla="*/ 2525316 h 3269775"/>
              <a:gd name="connsiteX3" fmla="*/ 3268014 w 6106735"/>
              <a:gd name="connsiteY3" fmla="*/ 3269775 h 3269775"/>
              <a:gd name="connsiteX4" fmla="*/ 1 w 6106735"/>
              <a:gd name="connsiteY4" fmla="*/ 2326291 h 3269775"/>
              <a:gd name="connsiteX5" fmla="*/ 335189 w 6106735"/>
              <a:gd name="connsiteY5" fmla="*/ 454917 h 3269775"/>
              <a:gd name="connsiteX0" fmla="*/ 335189 w 6106735"/>
              <a:gd name="connsiteY0" fmla="*/ 454917 h 3269775"/>
              <a:gd name="connsiteX1" fmla="*/ 3432891 w 6106735"/>
              <a:gd name="connsiteY1" fmla="*/ 205873 h 3269775"/>
              <a:gd name="connsiteX2" fmla="*/ 6106735 w 6106735"/>
              <a:gd name="connsiteY2" fmla="*/ 0 h 3269775"/>
              <a:gd name="connsiteX3" fmla="*/ 6088598 w 6106735"/>
              <a:gd name="connsiteY3" fmla="*/ 2525316 h 3269775"/>
              <a:gd name="connsiteX4" fmla="*/ 3268014 w 6106735"/>
              <a:gd name="connsiteY4" fmla="*/ 3269775 h 3269775"/>
              <a:gd name="connsiteX5" fmla="*/ 1 w 6106735"/>
              <a:gd name="connsiteY5" fmla="*/ 2326291 h 3269775"/>
              <a:gd name="connsiteX6" fmla="*/ 335189 w 6106735"/>
              <a:gd name="connsiteY6" fmla="*/ 454917 h 3269775"/>
              <a:gd name="connsiteX0" fmla="*/ 335189 w 6106735"/>
              <a:gd name="connsiteY0" fmla="*/ 454917 h 3269775"/>
              <a:gd name="connsiteX1" fmla="*/ 3260597 w 6106735"/>
              <a:gd name="connsiteY1" fmla="*/ 22428 h 3269775"/>
              <a:gd name="connsiteX2" fmla="*/ 6106735 w 6106735"/>
              <a:gd name="connsiteY2" fmla="*/ 0 h 3269775"/>
              <a:gd name="connsiteX3" fmla="*/ 6088598 w 6106735"/>
              <a:gd name="connsiteY3" fmla="*/ 2525316 h 3269775"/>
              <a:gd name="connsiteX4" fmla="*/ 3268014 w 6106735"/>
              <a:gd name="connsiteY4" fmla="*/ 3269775 h 3269775"/>
              <a:gd name="connsiteX5" fmla="*/ 1 w 6106735"/>
              <a:gd name="connsiteY5" fmla="*/ 2326291 h 3269775"/>
              <a:gd name="connsiteX6" fmla="*/ 335189 w 6106735"/>
              <a:gd name="connsiteY6" fmla="*/ 454917 h 3269775"/>
              <a:gd name="connsiteX0" fmla="*/ 335189 w 6124871"/>
              <a:gd name="connsiteY0" fmla="*/ 432489 h 3247347"/>
              <a:gd name="connsiteX1" fmla="*/ 3260597 w 6124871"/>
              <a:gd name="connsiteY1" fmla="*/ 0 h 3247347"/>
              <a:gd name="connsiteX2" fmla="*/ 6124871 w 6124871"/>
              <a:gd name="connsiteY2" fmla="*/ 281705 h 3247347"/>
              <a:gd name="connsiteX3" fmla="*/ 6088598 w 6124871"/>
              <a:gd name="connsiteY3" fmla="*/ 2502888 h 3247347"/>
              <a:gd name="connsiteX4" fmla="*/ 3268014 w 6124871"/>
              <a:gd name="connsiteY4" fmla="*/ 3247347 h 3247347"/>
              <a:gd name="connsiteX5" fmla="*/ 1 w 6124871"/>
              <a:gd name="connsiteY5" fmla="*/ 2303863 h 3247347"/>
              <a:gd name="connsiteX6" fmla="*/ 335189 w 6124871"/>
              <a:gd name="connsiteY6" fmla="*/ 432489 h 3247347"/>
              <a:gd name="connsiteX0" fmla="*/ 618041 w 6407723"/>
              <a:gd name="connsiteY0" fmla="*/ 432489 h 3247347"/>
              <a:gd name="connsiteX1" fmla="*/ 3543449 w 6407723"/>
              <a:gd name="connsiteY1" fmla="*/ 0 h 3247347"/>
              <a:gd name="connsiteX2" fmla="*/ 6407723 w 6407723"/>
              <a:gd name="connsiteY2" fmla="*/ 281705 h 3247347"/>
              <a:gd name="connsiteX3" fmla="*/ 6371450 w 6407723"/>
              <a:gd name="connsiteY3" fmla="*/ 2502888 h 3247347"/>
              <a:gd name="connsiteX4" fmla="*/ 3550866 w 6407723"/>
              <a:gd name="connsiteY4" fmla="*/ 3247347 h 3247347"/>
              <a:gd name="connsiteX5" fmla="*/ 282853 w 6407723"/>
              <a:gd name="connsiteY5" fmla="*/ 2303863 h 3247347"/>
              <a:gd name="connsiteX6" fmla="*/ 618041 w 6407723"/>
              <a:gd name="connsiteY6" fmla="*/ 432489 h 3247347"/>
              <a:gd name="connsiteX0" fmla="*/ 512943 w 6302625"/>
              <a:gd name="connsiteY0" fmla="*/ 432489 h 3247347"/>
              <a:gd name="connsiteX1" fmla="*/ 3438351 w 6302625"/>
              <a:gd name="connsiteY1" fmla="*/ 0 h 3247347"/>
              <a:gd name="connsiteX2" fmla="*/ 6302625 w 6302625"/>
              <a:gd name="connsiteY2" fmla="*/ 281705 h 3247347"/>
              <a:gd name="connsiteX3" fmla="*/ 6266352 w 6302625"/>
              <a:gd name="connsiteY3" fmla="*/ 2502888 h 3247347"/>
              <a:gd name="connsiteX4" fmla="*/ 3445768 w 6302625"/>
              <a:gd name="connsiteY4" fmla="*/ 3247347 h 3247347"/>
              <a:gd name="connsiteX5" fmla="*/ 177755 w 6302625"/>
              <a:gd name="connsiteY5" fmla="*/ 2303863 h 3247347"/>
              <a:gd name="connsiteX6" fmla="*/ 512943 w 6302625"/>
              <a:gd name="connsiteY6" fmla="*/ 432489 h 3247347"/>
              <a:gd name="connsiteX0" fmla="*/ 512943 w 6302625"/>
              <a:gd name="connsiteY0" fmla="*/ 432489 h 3283326"/>
              <a:gd name="connsiteX1" fmla="*/ 3438351 w 6302625"/>
              <a:gd name="connsiteY1" fmla="*/ 0 h 3283326"/>
              <a:gd name="connsiteX2" fmla="*/ 6302625 w 6302625"/>
              <a:gd name="connsiteY2" fmla="*/ 281705 h 3283326"/>
              <a:gd name="connsiteX3" fmla="*/ 6266352 w 6302625"/>
              <a:gd name="connsiteY3" fmla="*/ 2502888 h 3283326"/>
              <a:gd name="connsiteX4" fmla="*/ 3445768 w 6302625"/>
              <a:gd name="connsiteY4" fmla="*/ 3247347 h 3283326"/>
              <a:gd name="connsiteX5" fmla="*/ 177755 w 6302625"/>
              <a:gd name="connsiteY5" fmla="*/ 2303863 h 3283326"/>
              <a:gd name="connsiteX6" fmla="*/ 512943 w 6302625"/>
              <a:gd name="connsiteY6" fmla="*/ 432489 h 3283326"/>
              <a:gd name="connsiteX0" fmla="*/ 512943 w 6302625"/>
              <a:gd name="connsiteY0" fmla="*/ 432489 h 3283326"/>
              <a:gd name="connsiteX1" fmla="*/ 3438351 w 6302625"/>
              <a:gd name="connsiteY1" fmla="*/ 0 h 3283326"/>
              <a:gd name="connsiteX2" fmla="*/ 6302625 w 6302625"/>
              <a:gd name="connsiteY2" fmla="*/ 281705 h 3283326"/>
              <a:gd name="connsiteX3" fmla="*/ 6266352 w 6302625"/>
              <a:gd name="connsiteY3" fmla="*/ 2502888 h 3283326"/>
              <a:gd name="connsiteX4" fmla="*/ 3445768 w 6302625"/>
              <a:gd name="connsiteY4" fmla="*/ 3247347 h 3283326"/>
              <a:gd name="connsiteX5" fmla="*/ 177755 w 6302625"/>
              <a:gd name="connsiteY5" fmla="*/ 2303863 h 3283326"/>
              <a:gd name="connsiteX6" fmla="*/ 512943 w 6302625"/>
              <a:gd name="connsiteY6" fmla="*/ 432489 h 3283326"/>
              <a:gd name="connsiteX0" fmla="*/ 512943 w 6424948"/>
              <a:gd name="connsiteY0" fmla="*/ 432489 h 3283326"/>
              <a:gd name="connsiteX1" fmla="*/ 3438351 w 6424948"/>
              <a:gd name="connsiteY1" fmla="*/ 0 h 3283326"/>
              <a:gd name="connsiteX2" fmla="*/ 6302625 w 6424948"/>
              <a:gd name="connsiteY2" fmla="*/ 281705 h 3283326"/>
              <a:gd name="connsiteX3" fmla="*/ 6266352 w 6424948"/>
              <a:gd name="connsiteY3" fmla="*/ 2502888 h 3283326"/>
              <a:gd name="connsiteX4" fmla="*/ 3445768 w 6424948"/>
              <a:gd name="connsiteY4" fmla="*/ 3247347 h 3283326"/>
              <a:gd name="connsiteX5" fmla="*/ 177755 w 6424948"/>
              <a:gd name="connsiteY5" fmla="*/ 2303863 h 3283326"/>
              <a:gd name="connsiteX6" fmla="*/ 512943 w 642494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83326"/>
              <a:gd name="connsiteX1" fmla="*/ 3438351 w 6506888"/>
              <a:gd name="connsiteY1" fmla="*/ 0 h 3283326"/>
              <a:gd name="connsiteX2" fmla="*/ 6302625 w 6506888"/>
              <a:gd name="connsiteY2" fmla="*/ 281705 h 3283326"/>
              <a:gd name="connsiteX3" fmla="*/ 6266352 w 6506888"/>
              <a:gd name="connsiteY3" fmla="*/ 2502888 h 3283326"/>
              <a:gd name="connsiteX4" fmla="*/ 3445768 w 6506888"/>
              <a:gd name="connsiteY4" fmla="*/ 3247347 h 3283326"/>
              <a:gd name="connsiteX5" fmla="*/ 177755 w 6506888"/>
              <a:gd name="connsiteY5" fmla="*/ 2303863 h 3283326"/>
              <a:gd name="connsiteX6" fmla="*/ 512943 w 6506888"/>
              <a:gd name="connsiteY6" fmla="*/ 432489 h 3283326"/>
              <a:gd name="connsiteX0" fmla="*/ 512943 w 6506888"/>
              <a:gd name="connsiteY0" fmla="*/ 432489 h 3247782"/>
              <a:gd name="connsiteX1" fmla="*/ 3438351 w 6506888"/>
              <a:gd name="connsiteY1" fmla="*/ 0 h 3247782"/>
              <a:gd name="connsiteX2" fmla="*/ 6302625 w 6506888"/>
              <a:gd name="connsiteY2" fmla="*/ 281705 h 3247782"/>
              <a:gd name="connsiteX3" fmla="*/ 6266352 w 6506888"/>
              <a:gd name="connsiteY3" fmla="*/ 2502888 h 3247782"/>
              <a:gd name="connsiteX4" fmla="*/ 3445768 w 6506888"/>
              <a:gd name="connsiteY4" fmla="*/ 3247347 h 3247782"/>
              <a:gd name="connsiteX5" fmla="*/ 177755 w 6506888"/>
              <a:gd name="connsiteY5" fmla="*/ 2303863 h 3247782"/>
              <a:gd name="connsiteX6" fmla="*/ 512943 w 6506888"/>
              <a:gd name="connsiteY6" fmla="*/ 432489 h 3247782"/>
              <a:gd name="connsiteX0" fmla="*/ 512943 w 6640245"/>
              <a:gd name="connsiteY0" fmla="*/ 464431 h 3279724"/>
              <a:gd name="connsiteX1" fmla="*/ 3438351 w 6640245"/>
              <a:gd name="connsiteY1" fmla="*/ 31942 h 3279724"/>
              <a:gd name="connsiteX2" fmla="*/ 6302625 w 6640245"/>
              <a:gd name="connsiteY2" fmla="*/ 313647 h 3279724"/>
              <a:gd name="connsiteX3" fmla="*/ 6266352 w 6640245"/>
              <a:gd name="connsiteY3" fmla="*/ 2534830 h 3279724"/>
              <a:gd name="connsiteX4" fmla="*/ 3445768 w 6640245"/>
              <a:gd name="connsiteY4" fmla="*/ 3279289 h 3279724"/>
              <a:gd name="connsiteX5" fmla="*/ 177755 w 6640245"/>
              <a:gd name="connsiteY5" fmla="*/ 2335805 h 3279724"/>
              <a:gd name="connsiteX6" fmla="*/ 512943 w 6640245"/>
              <a:gd name="connsiteY6" fmla="*/ 464431 h 3279724"/>
              <a:gd name="connsiteX0" fmla="*/ 512943 w 6640245"/>
              <a:gd name="connsiteY0" fmla="*/ 435033 h 3250326"/>
              <a:gd name="connsiteX1" fmla="*/ 3438351 w 6640245"/>
              <a:gd name="connsiteY1" fmla="*/ 2544 h 3250326"/>
              <a:gd name="connsiteX2" fmla="*/ 6302625 w 6640245"/>
              <a:gd name="connsiteY2" fmla="*/ 284249 h 3250326"/>
              <a:gd name="connsiteX3" fmla="*/ 6266352 w 6640245"/>
              <a:gd name="connsiteY3" fmla="*/ 2505432 h 3250326"/>
              <a:gd name="connsiteX4" fmla="*/ 3445768 w 6640245"/>
              <a:gd name="connsiteY4" fmla="*/ 3249891 h 3250326"/>
              <a:gd name="connsiteX5" fmla="*/ 177755 w 6640245"/>
              <a:gd name="connsiteY5" fmla="*/ 2306407 h 3250326"/>
              <a:gd name="connsiteX6" fmla="*/ 512943 w 6640245"/>
              <a:gd name="connsiteY6" fmla="*/ 435033 h 3250326"/>
              <a:gd name="connsiteX0" fmla="*/ 512943 w 6481361"/>
              <a:gd name="connsiteY0" fmla="*/ 435033 h 3250326"/>
              <a:gd name="connsiteX1" fmla="*/ 3438351 w 6481361"/>
              <a:gd name="connsiteY1" fmla="*/ 2544 h 3250326"/>
              <a:gd name="connsiteX2" fmla="*/ 6302625 w 6481361"/>
              <a:gd name="connsiteY2" fmla="*/ 284249 h 3250326"/>
              <a:gd name="connsiteX3" fmla="*/ 6266352 w 6481361"/>
              <a:gd name="connsiteY3" fmla="*/ 2505432 h 3250326"/>
              <a:gd name="connsiteX4" fmla="*/ 3445768 w 6481361"/>
              <a:gd name="connsiteY4" fmla="*/ 3249891 h 3250326"/>
              <a:gd name="connsiteX5" fmla="*/ 177755 w 6481361"/>
              <a:gd name="connsiteY5" fmla="*/ 2306407 h 3250326"/>
              <a:gd name="connsiteX6" fmla="*/ 512943 w 6481361"/>
              <a:gd name="connsiteY6" fmla="*/ 435033 h 3250326"/>
              <a:gd name="connsiteX0" fmla="*/ 512943 w 6481363"/>
              <a:gd name="connsiteY0" fmla="*/ 435033 h 3250326"/>
              <a:gd name="connsiteX1" fmla="*/ 3438351 w 6481363"/>
              <a:gd name="connsiteY1" fmla="*/ 2544 h 3250326"/>
              <a:gd name="connsiteX2" fmla="*/ 6302625 w 6481363"/>
              <a:gd name="connsiteY2" fmla="*/ 284249 h 3250326"/>
              <a:gd name="connsiteX3" fmla="*/ 6266352 w 6481363"/>
              <a:gd name="connsiteY3" fmla="*/ 2505432 h 3250326"/>
              <a:gd name="connsiteX4" fmla="*/ 3445768 w 6481363"/>
              <a:gd name="connsiteY4" fmla="*/ 3249891 h 3250326"/>
              <a:gd name="connsiteX5" fmla="*/ 177755 w 6481363"/>
              <a:gd name="connsiteY5" fmla="*/ 2306407 h 3250326"/>
              <a:gd name="connsiteX6" fmla="*/ 512943 w 6481363"/>
              <a:gd name="connsiteY6" fmla="*/ 435033 h 3250326"/>
              <a:gd name="connsiteX0" fmla="*/ 512943 w 6481361"/>
              <a:gd name="connsiteY0" fmla="*/ 434187 h 3249480"/>
              <a:gd name="connsiteX1" fmla="*/ 3438351 w 6481361"/>
              <a:gd name="connsiteY1" fmla="*/ 1698 h 3249480"/>
              <a:gd name="connsiteX2" fmla="*/ 6302625 w 6481361"/>
              <a:gd name="connsiteY2" fmla="*/ 283403 h 3249480"/>
              <a:gd name="connsiteX3" fmla="*/ 6266352 w 6481361"/>
              <a:gd name="connsiteY3" fmla="*/ 2504586 h 3249480"/>
              <a:gd name="connsiteX4" fmla="*/ 3445768 w 6481361"/>
              <a:gd name="connsiteY4" fmla="*/ 3249045 h 3249480"/>
              <a:gd name="connsiteX5" fmla="*/ 177755 w 6481361"/>
              <a:gd name="connsiteY5" fmla="*/ 2305561 h 3249480"/>
              <a:gd name="connsiteX6" fmla="*/ 512943 w 6481361"/>
              <a:gd name="connsiteY6" fmla="*/ 434187 h 3249480"/>
              <a:gd name="connsiteX0" fmla="*/ 512943 w 6481363"/>
              <a:gd name="connsiteY0" fmla="*/ 435032 h 3250325"/>
              <a:gd name="connsiteX1" fmla="*/ 3438351 w 6481363"/>
              <a:gd name="connsiteY1" fmla="*/ 2543 h 3250325"/>
              <a:gd name="connsiteX2" fmla="*/ 6302625 w 6481363"/>
              <a:gd name="connsiteY2" fmla="*/ 284248 h 3250325"/>
              <a:gd name="connsiteX3" fmla="*/ 6266352 w 6481363"/>
              <a:gd name="connsiteY3" fmla="*/ 2505431 h 3250325"/>
              <a:gd name="connsiteX4" fmla="*/ 3445768 w 6481363"/>
              <a:gd name="connsiteY4" fmla="*/ 3249890 h 3250325"/>
              <a:gd name="connsiteX5" fmla="*/ 177755 w 6481363"/>
              <a:gd name="connsiteY5" fmla="*/ 2306406 h 3250325"/>
              <a:gd name="connsiteX6" fmla="*/ 512943 w 6481363"/>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512943 w 6302625"/>
              <a:gd name="connsiteY0" fmla="*/ 435032 h 3250325"/>
              <a:gd name="connsiteX1" fmla="*/ 3438351 w 6302625"/>
              <a:gd name="connsiteY1" fmla="*/ 2543 h 3250325"/>
              <a:gd name="connsiteX2" fmla="*/ 6302625 w 6302625"/>
              <a:gd name="connsiteY2" fmla="*/ 284248 h 3250325"/>
              <a:gd name="connsiteX3" fmla="*/ 6266352 w 6302625"/>
              <a:gd name="connsiteY3" fmla="*/ 2505431 h 3250325"/>
              <a:gd name="connsiteX4" fmla="*/ 3445768 w 6302625"/>
              <a:gd name="connsiteY4" fmla="*/ 3249890 h 3250325"/>
              <a:gd name="connsiteX5" fmla="*/ 177755 w 6302625"/>
              <a:gd name="connsiteY5" fmla="*/ 2306406 h 3250325"/>
              <a:gd name="connsiteX6" fmla="*/ 512943 w 6302625"/>
              <a:gd name="connsiteY6" fmla="*/ 435032 h 3250325"/>
              <a:gd name="connsiteX0" fmla="*/ 356750 w 6146432"/>
              <a:gd name="connsiteY0" fmla="*/ 435032 h 3250325"/>
              <a:gd name="connsiteX1" fmla="*/ 3282158 w 6146432"/>
              <a:gd name="connsiteY1" fmla="*/ 2543 h 3250325"/>
              <a:gd name="connsiteX2" fmla="*/ 6146432 w 6146432"/>
              <a:gd name="connsiteY2" fmla="*/ 284248 h 3250325"/>
              <a:gd name="connsiteX3" fmla="*/ 6110159 w 6146432"/>
              <a:gd name="connsiteY3" fmla="*/ 2505431 h 3250325"/>
              <a:gd name="connsiteX4" fmla="*/ 3289575 w 6146432"/>
              <a:gd name="connsiteY4" fmla="*/ 3249890 h 3250325"/>
              <a:gd name="connsiteX5" fmla="*/ 21562 w 6146432"/>
              <a:gd name="connsiteY5" fmla="*/ 2306406 h 3250325"/>
              <a:gd name="connsiteX6" fmla="*/ 356750 w 6146432"/>
              <a:gd name="connsiteY6" fmla="*/ 435032 h 3250325"/>
              <a:gd name="connsiteX0" fmla="*/ 335225 w 6124907"/>
              <a:gd name="connsiteY0" fmla="*/ 435032 h 3250325"/>
              <a:gd name="connsiteX1" fmla="*/ 3260633 w 6124907"/>
              <a:gd name="connsiteY1" fmla="*/ 2543 h 3250325"/>
              <a:gd name="connsiteX2" fmla="*/ 6124907 w 6124907"/>
              <a:gd name="connsiteY2" fmla="*/ 284248 h 3250325"/>
              <a:gd name="connsiteX3" fmla="*/ 6088634 w 6124907"/>
              <a:gd name="connsiteY3" fmla="*/ 2505431 h 3250325"/>
              <a:gd name="connsiteX4" fmla="*/ 3268050 w 6124907"/>
              <a:gd name="connsiteY4" fmla="*/ 3249890 h 3250325"/>
              <a:gd name="connsiteX5" fmla="*/ 37 w 6124907"/>
              <a:gd name="connsiteY5" fmla="*/ 2306406 h 3250325"/>
              <a:gd name="connsiteX6" fmla="*/ 335225 w 6124907"/>
              <a:gd name="connsiteY6" fmla="*/ 435032 h 3250325"/>
              <a:gd name="connsiteX0" fmla="*/ 335225 w 6124907"/>
              <a:gd name="connsiteY0" fmla="*/ 515501 h 3330794"/>
              <a:gd name="connsiteX1" fmla="*/ 3260633 w 6124907"/>
              <a:gd name="connsiteY1" fmla="*/ 83012 h 3330794"/>
              <a:gd name="connsiteX2" fmla="*/ 6124907 w 6124907"/>
              <a:gd name="connsiteY2" fmla="*/ 364717 h 3330794"/>
              <a:gd name="connsiteX3" fmla="*/ 6088634 w 6124907"/>
              <a:gd name="connsiteY3" fmla="*/ 2585900 h 3330794"/>
              <a:gd name="connsiteX4" fmla="*/ 3268050 w 6124907"/>
              <a:gd name="connsiteY4" fmla="*/ 3330359 h 3330794"/>
              <a:gd name="connsiteX5" fmla="*/ 37 w 6124907"/>
              <a:gd name="connsiteY5" fmla="*/ 2386875 h 3330794"/>
              <a:gd name="connsiteX6" fmla="*/ 335225 w 6124907"/>
              <a:gd name="connsiteY6" fmla="*/ 515501 h 3330794"/>
              <a:gd name="connsiteX0" fmla="*/ 335225 w 6124907"/>
              <a:gd name="connsiteY0" fmla="*/ 432489 h 3247782"/>
              <a:gd name="connsiteX1" fmla="*/ 3260633 w 6124907"/>
              <a:gd name="connsiteY1" fmla="*/ 0 h 3247782"/>
              <a:gd name="connsiteX2" fmla="*/ 6124907 w 6124907"/>
              <a:gd name="connsiteY2" fmla="*/ 281705 h 3247782"/>
              <a:gd name="connsiteX3" fmla="*/ 6088634 w 6124907"/>
              <a:gd name="connsiteY3" fmla="*/ 2502888 h 3247782"/>
              <a:gd name="connsiteX4" fmla="*/ 3268050 w 6124907"/>
              <a:gd name="connsiteY4" fmla="*/ 3247347 h 3247782"/>
              <a:gd name="connsiteX5" fmla="*/ 37 w 6124907"/>
              <a:gd name="connsiteY5" fmla="*/ 2303863 h 3247782"/>
              <a:gd name="connsiteX6" fmla="*/ 335225 w 6124907"/>
              <a:gd name="connsiteY6" fmla="*/ 432489 h 3247782"/>
              <a:gd name="connsiteX0" fmla="*/ 335225 w 6223855"/>
              <a:gd name="connsiteY0" fmla="*/ 434186 h 3249479"/>
              <a:gd name="connsiteX1" fmla="*/ 3260633 w 6223855"/>
              <a:gd name="connsiteY1" fmla="*/ 1697 h 3249479"/>
              <a:gd name="connsiteX2" fmla="*/ 6124907 w 6223855"/>
              <a:gd name="connsiteY2" fmla="*/ 283402 h 3249479"/>
              <a:gd name="connsiteX3" fmla="*/ 6088634 w 6223855"/>
              <a:gd name="connsiteY3" fmla="*/ 2504585 h 3249479"/>
              <a:gd name="connsiteX4" fmla="*/ 3268050 w 6223855"/>
              <a:gd name="connsiteY4" fmla="*/ 3249044 h 3249479"/>
              <a:gd name="connsiteX5" fmla="*/ 37 w 6223855"/>
              <a:gd name="connsiteY5" fmla="*/ 2305560 h 3249479"/>
              <a:gd name="connsiteX6" fmla="*/ 335225 w 6223855"/>
              <a:gd name="connsiteY6" fmla="*/ 434186 h 3249479"/>
              <a:gd name="connsiteX0" fmla="*/ 335225 w 6124907"/>
              <a:gd name="connsiteY0" fmla="*/ 435032 h 3250325"/>
              <a:gd name="connsiteX1" fmla="*/ 3260633 w 6124907"/>
              <a:gd name="connsiteY1" fmla="*/ 2543 h 3250325"/>
              <a:gd name="connsiteX2" fmla="*/ 6124907 w 6124907"/>
              <a:gd name="connsiteY2" fmla="*/ 284248 h 3250325"/>
              <a:gd name="connsiteX3" fmla="*/ 6088634 w 6124907"/>
              <a:gd name="connsiteY3" fmla="*/ 2505431 h 3250325"/>
              <a:gd name="connsiteX4" fmla="*/ 3268050 w 6124907"/>
              <a:gd name="connsiteY4" fmla="*/ 3249890 h 3250325"/>
              <a:gd name="connsiteX5" fmla="*/ 37 w 6124907"/>
              <a:gd name="connsiteY5" fmla="*/ 2306406 h 3250325"/>
              <a:gd name="connsiteX6" fmla="*/ 335225 w 6124907"/>
              <a:gd name="connsiteY6" fmla="*/ 435032 h 3250325"/>
              <a:gd name="connsiteX0" fmla="*/ 335225 w 6124907"/>
              <a:gd name="connsiteY0" fmla="*/ 515501 h 3330794"/>
              <a:gd name="connsiteX1" fmla="*/ 3260633 w 6124907"/>
              <a:gd name="connsiteY1" fmla="*/ 83012 h 3330794"/>
              <a:gd name="connsiteX2" fmla="*/ 6124907 w 6124907"/>
              <a:gd name="connsiteY2" fmla="*/ 364717 h 3330794"/>
              <a:gd name="connsiteX3" fmla="*/ 6088634 w 6124907"/>
              <a:gd name="connsiteY3" fmla="*/ 2585900 h 3330794"/>
              <a:gd name="connsiteX4" fmla="*/ 3268050 w 6124907"/>
              <a:gd name="connsiteY4" fmla="*/ 3330359 h 3330794"/>
              <a:gd name="connsiteX5" fmla="*/ 37 w 6124907"/>
              <a:gd name="connsiteY5" fmla="*/ 2386875 h 3330794"/>
              <a:gd name="connsiteX6" fmla="*/ 335225 w 6124907"/>
              <a:gd name="connsiteY6" fmla="*/ 515501 h 3330794"/>
              <a:gd name="connsiteX0" fmla="*/ 335225 w 6124907"/>
              <a:gd name="connsiteY0" fmla="*/ 432489 h 3247782"/>
              <a:gd name="connsiteX1" fmla="*/ 3260633 w 6124907"/>
              <a:gd name="connsiteY1" fmla="*/ 0 h 3247782"/>
              <a:gd name="connsiteX2" fmla="*/ 6124907 w 6124907"/>
              <a:gd name="connsiteY2" fmla="*/ 281705 h 3247782"/>
              <a:gd name="connsiteX3" fmla="*/ 6088634 w 6124907"/>
              <a:gd name="connsiteY3" fmla="*/ 2502888 h 3247782"/>
              <a:gd name="connsiteX4" fmla="*/ 3268050 w 6124907"/>
              <a:gd name="connsiteY4" fmla="*/ 3247347 h 3247782"/>
              <a:gd name="connsiteX5" fmla="*/ 37 w 6124907"/>
              <a:gd name="connsiteY5" fmla="*/ 2303863 h 3247782"/>
              <a:gd name="connsiteX6" fmla="*/ 335225 w 6124907"/>
              <a:gd name="connsiteY6" fmla="*/ 432489 h 3247782"/>
              <a:gd name="connsiteX0" fmla="*/ 335225 w 6223855"/>
              <a:gd name="connsiteY0" fmla="*/ 434186 h 3249479"/>
              <a:gd name="connsiteX1" fmla="*/ 3260633 w 6223855"/>
              <a:gd name="connsiteY1" fmla="*/ 1697 h 3249479"/>
              <a:gd name="connsiteX2" fmla="*/ 6124907 w 6223855"/>
              <a:gd name="connsiteY2" fmla="*/ 283402 h 3249479"/>
              <a:gd name="connsiteX3" fmla="*/ 6088634 w 6223855"/>
              <a:gd name="connsiteY3" fmla="*/ 2504585 h 3249479"/>
              <a:gd name="connsiteX4" fmla="*/ 3268050 w 6223855"/>
              <a:gd name="connsiteY4" fmla="*/ 3249044 h 3249479"/>
              <a:gd name="connsiteX5" fmla="*/ 37 w 6223855"/>
              <a:gd name="connsiteY5" fmla="*/ 2305560 h 3249479"/>
              <a:gd name="connsiteX6" fmla="*/ 335225 w 6223855"/>
              <a:gd name="connsiteY6" fmla="*/ 434186 h 3249479"/>
              <a:gd name="connsiteX0" fmla="*/ 335225 w 6124907"/>
              <a:gd name="connsiteY0" fmla="*/ 435032 h 3250325"/>
              <a:gd name="connsiteX1" fmla="*/ 3260633 w 6124907"/>
              <a:gd name="connsiteY1" fmla="*/ 2543 h 3250325"/>
              <a:gd name="connsiteX2" fmla="*/ 6124907 w 6124907"/>
              <a:gd name="connsiteY2" fmla="*/ 284248 h 3250325"/>
              <a:gd name="connsiteX3" fmla="*/ 6088634 w 6124907"/>
              <a:gd name="connsiteY3" fmla="*/ 2505431 h 3250325"/>
              <a:gd name="connsiteX4" fmla="*/ 3268050 w 6124907"/>
              <a:gd name="connsiteY4" fmla="*/ 3249890 h 3250325"/>
              <a:gd name="connsiteX5" fmla="*/ 37 w 6124907"/>
              <a:gd name="connsiteY5" fmla="*/ 2306406 h 3250325"/>
              <a:gd name="connsiteX6" fmla="*/ 335225 w 6124907"/>
              <a:gd name="connsiteY6" fmla="*/ 435032 h 3250325"/>
              <a:gd name="connsiteX0" fmla="*/ 335225 w 6124907"/>
              <a:gd name="connsiteY0" fmla="*/ 434001 h 3249294"/>
              <a:gd name="connsiteX1" fmla="*/ 3260633 w 6124907"/>
              <a:gd name="connsiteY1" fmla="*/ 1512 h 3249294"/>
              <a:gd name="connsiteX2" fmla="*/ 6124907 w 6124907"/>
              <a:gd name="connsiteY2" fmla="*/ 283217 h 3249294"/>
              <a:gd name="connsiteX3" fmla="*/ 6088634 w 6124907"/>
              <a:gd name="connsiteY3" fmla="*/ 2504400 h 3249294"/>
              <a:gd name="connsiteX4" fmla="*/ 3268050 w 6124907"/>
              <a:gd name="connsiteY4" fmla="*/ 3248859 h 3249294"/>
              <a:gd name="connsiteX5" fmla="*/ 37 w 6124907"/>
              <a:gd name="connsiteY5" fmla="*/ 2305375 h 3249294"/>
              <a:gd name="connsiteX6" fmla="*/ 335225 w 6124907"/>
              <a:gd name="connsiteY6" fmla="*/ 434001 h 3249294"/>
              <a:gd name="connsiteX0" fmla="*/ 335225 w 6124907"/>
              <a:gd name="connsiteY0" fmla="*/ 432489 h 3247782"/>
              <a:gd name="connsiteX1" fmla="*/ 3260633 w 6124907"/>
              <a:gd name="connsiteY1" fmla="*/ 0 h 3247782"/>
              <a:gd name="connsiteX2" fmla="*/ 6124907 w 6124907"/>
              <a:gd name="connsiteY2" fmla="*/ 281705 h 3247782"/>
              <a:gd name="connsiteX3" fmla="*/ 6088634 w 6124907"/>
              <a:gd name="connsiteY3" fmla="*/ 2502888 h 3247782"/>
              <a:gd name="connsiteX4" fmla="*/ 3268050 w 6124907"/>
              <a:gd name="connsiteY4" fmla="*/ 3247347 h 3247782"/>
              <a:gd name="connsiteX5" fmla="*/ 37 w 6124907"/>
              <a:gd name="connsiteY5" fmla="*/ 2303863 h 3247782"/>
              <a:gd name="connsiteX6" fmla="*/ 335225 w 6124907"/>
              <a:gd name="connsiteY6" fmla="*/ 432489 h 3247782"/>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512181 h 3327474"/>
              <a:gd name="connsiteX1" fmla="*/ 3260633 w 6088641"/>
              <a:gd name="connsiteY1" fmla="*/ 79692 h 3327474"/>
              <a:gd name="connsiteX2" fmla="*/ 5816589 w 6088641"/>
              <a:gd name="connsiteY2" fmla="*/ 361397 h 3327474"/>
              <a:gd name="connsiteX3" fmla="*/ 6088634 w 6088641"/>
              <a:gd name="connsiteY3" fmla="*/ 2582580 h 3327474"/>
              <a:gd name="connsiteX4" fmla="*/ 3268050 w 6088641"/>
              <a:gd name="connsiteY4" fmla="*/ 3327039 h 3327474"/>
              <a:gd name="connsiteX5" fmla="*/ 37 w 6088641"/>
              <a:gd name="connsiteY5" fmla="*/ 2383555 h 3327474"/>
              <a:gd name="connsiteX6" fmla="*/ 335225 w 6088641"/>
              <a:gd name="connsiteY6" fmla="*/ 512181 h 3327474"/>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434186 h 3249479"/>
              <a:gd name="connsiteX1" fmla="*/ 3260633 w 6088641"/>
              <a:gd name="connsiteY1" fmla="*/ 1697 h 3249479"/>
              <a:gd name="connsiteX2" fmla="*/ 5816589 w 6088641"/>
              <a:gd name="connsiteY2" fmla="*/ 283402 h 3249479"/>
              <a:gd name="connsiteX3" fmla="*/ 6088634 w 6088641"/>
              <a:gd name="connsiteY3" fmla="*/ 2504585 h 3249479"/>
              <a:gd name="connsiteX4" fmla="*/ 3268050 w 6088641"/>
              <a:gd name="connsiteY4" fmla="*/ 3249044 h 3249479"/>
              <a:gd name="connsiteX5" fmla="*/ 37 w 6088641"/>
              <a:gd name="connsiteY5" fmla="*/ 2305560 h 3249479"/>
              <a:gd name="connsiteX6" fmla="*/ 335225 w 6088641"/>
              <a:gd name="connsiteY6" fmla="*/ 434186 h 3249479"/>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434692 h 3249985"/>
              <a:gd name="connsiteX1" fmla="*/ 3260633 w 6088641"/>
              <a:gd name="connsiteY1" fmla="*/ 2203 h 3249985"/>
              <a:gd name="connsiteX2" fmla="*/ 5816589 w 6088641"/>
              <a:gd name="connsiteY2" fmla="*/ 283908 h 3249985"/>
              <a:gd name="connsiteX3" fmla="*/ 6088634 w 6088641"/>
              <a:gd name="connsiteY3" fmla="*/ 2505091 h 3249985"/>
              <a:gd name="connsiteX4" fmla="*/ 3268050 w 6088641"/>
              <a:gd name="connsiteY4" fmla="*/ 3249550 h 3249985"/>
              <a:gd name="connsiteX5" fmla="*/ 37 w 6088641"/>
              <a:gd name="connsiteY5" fmla="*/ 2306066 h 3249985"/>
              <a:gd name="connsiteX6" fmla="*/ 335225 w 6088641"/>
              <a:gd name="connsiteY6" fmla="*/ 434692 h 3249985"/>
              <a:gd name="connsiteX0" fmla="*/ 335225 w 6088641"/>
              <a:gd name="connsiteY0" fmla="*/ 434455 h 3249748"/>
              <a:gd name="connsiteX1" fmla="*/ 3260633 w 6088641"/>
              <a:gd name="connsiteY1" fmla="*/ 1966 h 3249748"/>
              <a:gd name="connsiteX2" fmla="*/ 5816589 w 6088641"/>
              <a:gd name="connsiteY2" fmla="*/ 283671 h 3249748"/>
              <a:gd name="connsiteX3" fmla="*/ 6088634 w 6088641"/>
              <a:gd name="connsiteY3" fmla="*/ 2504854 h 3249748"/>
              <a:gd name="connsiteX4" fmla="*/ 3268050 w 6088641"/>
              <a:gd name="connsiteY4" fmla="*/ 3249313 h 3249748"/>
              <a:gd name="connsiteX5" fmla="*/ 37 w 6088641"/>
              <a:gd name="connsiteY5" fmla="*/ 2305829 h 3249748"/>
              <a:gd name="connsiteX6" fmla="*/ 335225 w 6088641"/>
              <a:gd name="connsiteY6" fmla="*/ 434455 h 3249748"/>
              <a:gd name="connsiteX0" fmla="*/ 335225 w 6088641"/>
              <a:gd name="connsiteY0" fmla="*/ 478129 h 3293422"/>
              <a:gd name="connsiteX1" fmla="*/ 3260633 w 6088641"/>
              <a:gd name="connsiteY1" fmla="*/ 45640 h 3293422"/>
              <a:gd name="connsiteX2" fmla="*/ 4969580 w 6088641"/>
              <a:gd name="connsiteY2" fmla="*/ 22169 h 3293422"/>
              <a:gd name="connsiteX3" fmla="*/ 5816589 w 6088641"/>
              <a:gd name="connsiteY3" fmla="*/ 327345 h 3293422"/>
              <a:gd name="connsiteX4" fmla="*/ 6088634 w 6088641"/>
              <a:gd name="connsiteY4" fmla="*/ 2548528 h 3293422"/>
              <a:gd name="connsiteX5" fmla="*/ 3268050 w 6088641"/>
              <a:gd name="connsiteY5" fmla="*/ 3292987 h 3293422"/>
              <a:gd name="connsiteX6" fmla="*/ 37 w 6088641"/>
              <a:gd name="connsiteY6" fmla="*/ 2349503 h 3293422"/>
              <a:gd name="connsiteX7" fmla="*/ 335225 w 6088641"/>
              <a:gd name="connsiteY7" fmla="*/ 478129 h 3293422"/>
              <a:gd name="connsiteX0" fmla="*/ 335225 w 6088641"/>
              <a:gd name="connsiteY0" fmla="*/ 464432 h 3279725"/>
              <a:gd name="connsiteX1" fmla="*/ 3260633 w 6088641"/>
              <a:gd name="connsiteY1" fmla="*/ 31943 h 3279725"/>
              <a:gd name="connsiteX2" fmla="*/ 5816589 w 6088641"/>
              <a:gd name="connsiteY2" fmla="*/ 313648 h 3279725"/>
              <a:gd name="connsiteX3" fmla="*/ 6088634 w 6088641"/>
              <a:gd name="connsiteY3" fmla="*/ 2534831 h 3279725"/>
              <a:gd name="connsiteX4" fmla="*/ 3268050 w 6088641"/>
              <a:gd name="connsiteY4" fmla="*/ 3279290 h 3279725"/>
              <a:gd name="connsiteX5" fmla="*/ 37 w 6088641"/>
              <a:gd name="connsiteY5" fmla="*/ 2335806 h 3279725"/>
              <a:gd name="connsiteX6" fmla="*/ 335225 w 6088641"/>
              <a:gd name="connsiteY6" fmla="*/ 464432 h 3279725"/>
              <a:gd name="connsiteX0" fmla="*/ 335225 w 6088641"/>
              <a:gd name="connsiteY0" fmla="*/ 434187 h 3249480"/>
              <a:gd name="connsiteX1" fmla="*/ 3260633 w 6088641"/>
              <a:gd name="connsiteY1" fmla="*/ 1698 h 3249480"/>
              <a:gd name="connsiteX2" fmla="*/ 5816589 w 6088641"/>
              <a:gd name="connsiteY2" fmla="*/ 283403 h 3249480"/>
              <a:gd name="connsiteX3" fmla="*/ 6088634 w 6088641"/>
              <a:gd name="connsiteY3" fmla="*/ 2504586 h 3249480"/>
              <a:gd name="connsiteX4" fmla="*/ 3268050 w 6088641"/>
              <a:gd name="connsiteY4" fmla="*/ 3249045 h 3249480"/>
              <a:gd name="connsiteX5" fmla="*/ 37 w 6088641"/>
              <a:gd name="connsiteY5" fmla="*/ 2305561 h 3249480"/>
              <a:gd name="connsiteX6" fmla="*/ 335225 w 6088641"/>
              <a:gd name="connsiteY6" fmla="*/ 434187 h 3249480"/>
              <a:gd name="connsiteX0" fmla="*/ 335225 w 6088641"/>
              <a:gd name="connsiteY0" fmla="*/ 434187 h 3249480"/>
              <a:gd name="connsiteX1" fmla="*/ 3260633 w 6088641"/>
              <a:gd name="connsiteY1" fmla="*/ 1698 h 3249480"/>
              <a:gd name="connsiteX2" fmla="*/ 5816589 w 6088641"/>
              <a:gd name="connsiteY2" fmla="*/ 283403 h 3249480"/>
              <a:gd name="connsiteX3" fmla="*/ 6088634 w 6088641"/>
              <a:gd name="connsiteY3" fmla="*/ 2504586 h 3249480"/>
              <a:gd name="connsiteX4" fmla="*/ 3268050 w 6088641"/>
              <a:gd name="connsiteY4" fmla="*/ 3249045 h 3249480"/>
              <a:gd name="connsiteX5" fmla="*/ 37 w 6088641"/>
              <a:gd name="connsiteY5" fmla="*/ 2305561 h 3249480"/>
              <a:gd name="connsiteX6" fmla="*/ 335225 w 6088641"/>
              <a:gd name="connsiteY6" fmla="*/ 434187 h 3249480"/>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512181 h 3327474"/>
              <a:gd name="connsiteX1" fmla="*/ 3260633 w 6088641"/>
              <a:gd name="connsiteY1" fmla="*/ 79692 h 3327474"/>
              <a:gd name="connsiteX2" fmla="*/ 5816589 w 6088641"/>
              <a:gd name="connsiteY2" fmla="*/ 361397 h 3327474"/>
              <a:gd name="connsiteX3" fmla="*/ 6088634 w 6088641"/>
              <a:gd name="connsiteY3" fmla="*/ 2582580 h 3327474"/>
              <a:gd name="connsiteX4" fmla="*/ 3268050 w 6088641"/>
              <a:gd name="connsiteY4" fmla="*/ 3327039 h 3327474"/>
              <a:gd name="connsiteX5" fmla="*/ 37 w 6088641"/>
              <a:gd name="connsiteY5" fmla="*/ 2383555 h 3327474"/>
              <a:gd name="connsiteX6" fmla="*/ 335225 w 6088641"/>
              <a:gd name="connsiteY6" fmla="*/ 512181 h 3327474"/>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434186 h 3249479"/>
              <a:gd name="connsiteX1" fmla="*/ 3260633 w 6088641"/>
              <a:gd name="connsiteY1" fmla="*/ 1697 h 3249479"/>
              <a:gd name="connsiteX2" fmla="*/ 5816589 w 6088641"/>
              <a:gd name="connsiteY2" fmla="*/ 283402 h 3249479"/>
              <a:gd name="connsiteX3" fmla="*/ 6088634 w 6088641"/>
              <a:gd name="connsiteY3" fmla="*/ 2504585 h 3249479"/>
              <a:gd name="connsiteX4" fmla="*/ 3268050 w 6088641"/>
              <a:gd name="connsiteY4" fmla="*/ 3249044 h 3249479"/>
              <a:gd name="connsiteX5" fmla="*/ 37 w 6088641"/>
              <a:gd name="connsiteY5" fmla="*/ 2305560 h 3249479"/>
              <a:gd name="connsiteX6" fmla="*/ 335225 w 6088641"/>
              <a:gd name="connsiteY6" fmla="*/ 434186 h 3249479"/>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433957 h 3249250"/>
              <a:gd name="connsiteX1" fmla="*/ 3260633 w 6088641"/>
              <a:gd name="connsiteY1" fmla="*/ 1468 h 3249250"/>
              <a:gd name="connsiteX2" fmla="*/ 5816589 w 6088641"/>
              <a:gd name="connsiteY2" fmla="*/ 283173 h 3249250"/>
              <a:gd name="connsiteX3" fmla="*/ 6088634 w 6088641"/>
              <a:gd name="connsiteY3" fmla="*/ 2504356 h 3249250"/>
              <a:gd name="connsiteX4" fmla="*/ 3268050 w 6088641"/>
              <a:gd name="connsiteY4" fmla="*/ 3248815 h 3249250"/>
              <a:gd name="connsiteX5" fmla="*/ 37 w 6088641"/>
              <a:gd name="connsiteY5" fmla="*/ 2305331 h 3249250"/>
              <a:gd name="connsiteX6" fmla="*/ 335225 w 6088641"/>
              <a:gd name="connsiteY6" fmla="*/ 433957 h 3249250"/>
              <a:gd name="connsiteX0" fmla="*/ 335225 w 6088641"/>
              <a:gd name="connsiteY0" fmla="*/ 433944 h 3249237"/>
              <a:gd name="connsiteX1" fmla="*/ 3260633 w 6088641"/>
              <a:gd name="connsiteY1" fmla="*/ 1455 h 3249237"/>
              <a:gd name="connsiteX2" fmla="*/ 5816589 w 6088641"/>
              <a:gd name="connsiteY2" fmla="*/ 283160 h 3249237"/>
              <a:gd name="connsiteX3" fmla="*/ 6088634 w 6088641"/>
              <a:gd name="connsiteY3" fmla="*/ 2504343 h 3249237"/>
              <a:gd name="connsiteX4" fmla="*/ 3268050 w 6088641"/>
              <a:gd name="connsiteY4" fmla="*/ 3248802 h 3249237"/>
              <a:gd name="connsiteX5" fmla="*/ 37 w 6088641"/>
              <a:gd name="connsiteY5" fmla="*/ 2305318 h 3249237"/>
              <a:gd name="connsiteX6" fmla="*/ 335225 w 6088641"/>
              <a:gd name="connsiteY6" fmla="*/ 433944 h 3249237"/>
              <a:gd name="connsiteX0" fmla="*/ 335225 w 6088641"/>
              <a:gd name="connsiteY0" fmla="*/ 433390 h 3248683"/>
              <a:gd name="connsiteX1" fmla="*/ 3260633 w 6088641"/>
              <a:gd name="connsiteY1" fmla="*/ 901 h 3248683"/>
              <a:gd name="connsiteX2" fmla="*/ 5816589 w 6088641"/>
              <a:gd name="connsiteY2" fmla="*/ 282606 h 3248683"/>
              <a:gd name="connsiteX3" fmla="*/ 6088634 w 6088641"/>
              <a:gd name="connsiteY3" fmla="*/ 2503789 h 3248683"/>
              <a:gd name="connsiteX4" fmla="*/ 3268050 w 6088641"/>
              <a:gd name="connsiteY4" fmla="*/ 3248248 h 3248683"/>
              <a:gd name="connsiteX5" fmla="*/ 37 w 6088641"/>
              <a:gd name="connsiteY5" fmla="*/ 2304764 h 3248683"/>
              <a:gd name="connsiteX6" fmla="*/ 335225 w 6088641"/>
              <a:gd name="connsiteY6" fmla="*/ 433390 h 3248683"/>
              <a:gd name="connsiteX0" fmla="*/ 335225 w 6088641"/>
              <a:gd name="connsiteY0" fmla="*/ 512181 h 3327474"/>
              <a:gd name="connsiteX1" fmla="*/ 3260633 w 6088641"/>
              <a:gd name="connsiteY1" fmla="*/ 79692 h 3327474"/>
              <a:gd name="connsiteX2" fmla="*/ 5816589 w 6088641"/>
              <a:gd name="connsiteY2" fmla="*/ 361397 h 3327474"/>
              <a:gd name="connsiteX3" fmla="*/ 6088634 w 6088641"/>
              <a:gd name="connsiteY3" fmla="*/ 2582580 h 3327474"/>
              <a:gd name="connsiteX4" fmla="*/ 3268050 w 6088641"/>
              <a:gd name="connsiteY4" fmla="*/ 3327039 h 3327474"/>
              <a:gd name="connsiteX5" fmla="*/ 37 w 6088641"/>
              <a:gd name="connsiteY5" fmla="*/ 2383555 h 3327474"/>
              <a:gd name="connsiteX6" fmla="*/ 335225 w 6088641"/>
              <a:gd name="connsiteY6" fmla="*/ 512181 h 3327474"/>
              <a:gd name="connsiteX0" fmla="*/ 335225 w 6088641"/>
              <a:gd name="connsiteY0" fmla="*/ 516824 h 3332117"/>
              <a:gd name="connsiteX1" fmla="*/ 3260633 w 6088641"/>
              <a:gd name="connsiteY1" fmla="*/ 84335 h 3332117"/>
              <a:gd name="connsiteX2" fmla="*/ 5816589 w 6088641"/>
              <a:gd name="connsiteY2" fmla="*/ 366040 h 3332117"/>
              <a:gd name="connsiteX3" fmla="*/ 6088634 w 6088641"/>
              <a:gd name="connsiteY3" fmla="*/ 2587223 h 3332117"/>
              <a:gd name="connsiteX4" fmla="*/ 3268050 w 6088641"/>
              <a:gd name="connsiteY4" fmla="*/ 3331682 h 3332117"/>
              <a:gd name="connsiteX5" fmla="*/ 37 w 6088641"/>
              <a:gd name="connsiteY5" fmla="*/ 2388198 h 3332117"/>
              <a:gd name="connsiteX6" fmla="*/ 335225 w 6088641"/>
              <a:gd name="connsiteY6" fmla="*/ 516824 h 3332117"/>
              <a:gd name="connsiteX0" fmla="*/ 335225 w 6088641"/>
              <a:gd name="connsiteY0" fmla="*/ 512182 h 3327475"/>
              <a:gd name="connsiteX1" fmla="*/ 3260633 w 6088641"/>
              <a:gd name="connsiteY1" fmla="*/ 79693 h 3327475"/>
              <a:gd name="connsiteX2" fmla="*/ 5816589 w 6088641"/>
              <a:gd name="connsiteY2" fmla="*/ 361398 h 3327475"/>
              <a:gd name="connsiteX3" fmla="*/ 6088634 w 6088641"/>
              <a:gd name="connsiteY3" fmla="*/ 2582581 h 3327475"/>
              <a:gd name="connsiteX4" fmla="*/ 3268050 w 6088641"/>
              <a:gd name="connsiteY4" fmla="*/ 3327040 h 3327475"/>
              <a:gd name="connsiteX5" fmla="*/ 37 w 6088641"/>
              <a:gd name="connsiteY5" fmla="*/ 2383556 h 3327475"/>
              <a:gd name="connsiteX6" fmla="*/ 335225 w 6088641"/>
              <a:gd name="connsiteY6" fmla="*/ 512182 h 3327475"/>
              <a:gd name="connsiteX0" fmla="*/ 335225 w 6088641"/>
              <a:gd name="connsiteY0" fmla="*/ 432489 h 3247782"/>
              <a:gd name="connsiteX1" fmla="*/ 3260633 w 6088641"/>
              <a:gd name="connsiteY1" fmla="*/ 0 h 3247782"/>
              <a:gd name="connsiteX2" fmla="*/ 5816589 w 6088641"/>
              <a:gd name="connsiteY2" fmla="*/ 281705 h 3247782"/>
              <a:gd name="connsiteX3" fmla="*/ 6088634 w 6088641"/>
              <a:gd name="connsiteY3" fmla="*/ 2502888 h 3247782"/>
              <a:gd name="connsiteX4" fmla="*/ 3268050 w 6088641"/>
              <a:gd name="connsiteY4" fmla="*/ 3247347 h 3247782"/>
              <a:gd name="connsiteX5" fmla="*/ 37 w 6088641"/>
              <a:gd name="connsiteY5" fmla="*/ 2303863 h 3247782"/>
              <a:gd name="connsiteX6" fmla="*/ 335225 w 6088641"/>
              <a:gd name="connsiteY6" fmla="*/ 432489 h 3247782"/>
              <a:gd name="connsiteX0" fmla="*/ 335225 w 6088641"/>
              <a:gd name="connsiteY0" fmla="*/ 433961 h 3249254"/>
              <a:gd name="connsiteX1" fmla="*/ 3260633 w 6088641"/>
              <a:gd name="connsiteY1" fmla="*/ 1472 h 3249254"/>
              <a:gd name="connsiteX2" fmla="*/ 5816589 w 6088641"/>
              <a:gd name="connsiteY2" fmla="*/ 283177 h 3249254"/>
              <a:gd name="connsiteX3" fmla="*/ 6088634 w 6088641"/>
              <a:gd name="connsiteY3" fmla="*/ 2504360 h 3249254"/>
              <a:gd name="connsiteX4" fmla="*/ 3268050 w 6088641"/>
              <a:gd name="connsiteY4" fmla="*/ 3248819 h 3249254"/>
              <a:gd name="connsiteX5" fmla="*/ 37 w 6088641"/>
              <a:gd name="connsiteY5" fmla="*/ 2305335 h 3249254"/>
              <a:gd name="connsiteX6" fmla="*/ 335225 w 6088641"/>
              <a:gd name="connsiteY6" fmla="*/ 433961 h 3249254"/>
              <a:gd name="connsiteX0" fmla="*/ 335225 w 6088641"/>
              <a:gd name="connsiteY0" fmla="*/ 434186 h 3249479"/>
              <a:gd name="connsiteX1" fmla="*/ 3260633 w 6088641"/>
              <a:gd name="connsiteY1" fmla="*/ 1697 h 3249479"/>
              <a:gd name="connsiteX2" fmla="*/ 5816589 w 6088641"/>
              <a:gd name="connsiteY2" fmla="*/ 283402 h 3249479"/>
              <a:gd name="connsiteX3" fmla="*/ 6088634 w 6088641"/>
              <a:gd name="connsiteY3" fmla="*/ 2504585 h 3249479"/>
              <a:gd name="connsiteX4" fmla="*/ 3268050 w 6088641"/>
              <a:gd name="connsiteY4" fmla="*/ 3249044 h 3249479"/>
              <a:gd name="connsiteX5" fmla="*/ 37 w 6088641"/>
              <a:gd name="connsiteY5" fmla="*/ 2305560 h 3249479"/>
              <a:gd name="connsiteX6" fmla="*/ 335225 w 6088641"/>
              <a:gd name="connsiteY6" fmla="*/ 434186 h 3249479"/>
              <a:gd name="connsiteX0" fmla="*/ 335225 w 6088641"/>
              <a:gd name="connsiteY0" fmla="*/ 435032 h 3250325"/>
              <a:gd name="connsiteX1" fmla="*/ 3260633 w 6088641"/>
              <a:gd name="connsiteY1" fmla="*/ 2543 h 3250325"/>
              <a:gd name="connsiteX2" fmla="*/ 5816589 w 6088641"/>
              <a:gd name="connsiteY2" fmla="*/ 284248 h 3250325"/>
              <a:gd name="connsiteX3" fmla="*/ 6088634 w 6088641"/>
              <a:gd name="connsiteY3" fmla="*/ 2505431 h 3250325"/>
              <a:gd name="connsiteX4" fmla="*/ 3268050 w 6088641"/>
              <a:gd name="connsiteY4" fmla="*/ 3249890 h 3250325"/>
              <a:gd name="connsiteX5" fmla="*/ 37 w 6088641"/>
              <a:gd name="connsiteY5" fmla="*/ 2306406 h 3250325"/>
              <a:gd name="connsiteX6" fmla="*/ 335225 w 6088641"/>
              <a:gd name="connsiteY6" fmla="*/ 435032 h 3250325"/>
              <a:gd name="connsiteX0" fmla="*/ 335225 w 6088641"/>
              <a:gd name="connsiteY0" fmla="*/ 509718 h 3325011"/>
              <a:gd name="connsiteX1" fmla="*/ 3260633 w 6088641"/>
              <a:gd name="connsiteY1" fmla="*/ 77229 h 3325011"/>
              <a:gd name="connsiteX2" fmla="*/ 5816589 w 6088641"/>
              <a:gd name="connsiteY2" fmla="*/ 358934 h 3325011"/>
              <a:gd name="connsiteX3" fmla="*/ 6088634 w 6088641"/>
              <a:gd name="connsiteY3" fmla="*/ 2580117 h 3325011"/>
              <a:gd name="connsiteX4" fmla="*/ 3268050 w 6088641"/>
              <a:gd name="connsiteY4" fmla="*/ 3324576 h 3325011"/>
              <a:gd name="connsiteX5" fmla="*/ 37 w 6088641"/>
              <a:gd name="connsiteY5" fmla="*/ 2381092 h 3325011"/>
              <a:gd name="connsiteX6" fmla="*/ 335225 w 6088641"/>
              <a:gd name="connsiteY6" fmla="*/ 509718 h 3325011"/>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088641"/>
              <a:gd name="connsiteY0" fmla="*/ 440004 h 3255297"/>
              <a:gd name="connsiteX1" fmla="*/ 3260633 w 6088641"/>
              <a:gd name="connsiteY1" fmla="*/ 7515 h 3255297"/>
              <a:gd name="connsiteX2" fmla="*/ 6088634 w 6088641"/>
              <a:gd name="connsiteY2" fmla="*/ 2510403 h 3255297"/>
              <a:gd name="connsiteX3" fmla="*/ 3268050 w 6088641"/>
              <a:gd name="connsiteY3" fmla="*/ 3254862 h 3255297"/>
              <a:gd name="connsiteX4" fmla="*/ 37 w 6088641"/>
              <a:gd name="connsiteY4" fmla="*/ 2311378 h 3255297"/>
              <a:gd name="connsiteX5" fmla="*/ 335225 w 6088641"/>
              <a:gd name="connsiteY5" fmla="*/ 440004 h 3255297"/>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088641"/>
              <a:gd name="connsiteY0" fmla="*/ 432489 h 3247782"/>
              <a:gd name="connsiteX1" fmla="*/ 3260633 w 6088641"/>
              <a:gd name="connsiteY1" fmla="*/ 0 h 3247782"/>
              <a:gd name="connsiteX2" fmla="*/ 6088634 w 6088641"/>
              <a:gd name="connsiteY2" fmla="*/ 2502888 h 3247782"/>
              <a:gd name="connsiteX3" fmla="*/ 3268050 w 6088641"/>
              <a:gd name="connsiteY3" fmla="*/ 3247347 h 3247782"/>
              <a:gd name="connsiteX4" fmla="*/ 37 w 6088641"/>
              <a:gd name="connsiteY4" fmla="*/ 2303863 h 3247782"/>
              <a:gd name="connsiteX5" fmla="*/ 335225 w 6088641"/>
              <a:gd name="connsiteY5" fmla="*/ 432489 h 3247782"/>
              <a:gd name="connsiteX0" fmla="*/ 335225 w 6123026"/>
              <a:gd name="connsiteY0" fmla="*/ 432489 h 3247782"/>
              <a:gd name="connsiteX1" fmla="*/ 3260633 w 6123026"/>
              <a:gd name="connsiteY1" fmla="*/ 0 h 3247782"/>
              <a:gd name="connsiteX2" fmla="*/ 4736515 w 6123026"/>
              <a:gd name="connsiteY2" fmla="*/ 1160782 h 3247782"/>
              <a:gd name="connsiteX3" fmla="*/ 6088634 w 6123026"/>
              <a:gd name="connsiteY3" fmla="*/ 2502888 h 3247782"/>
              <a:gd name="connsiteX4" fmla="*/ 3268050 w 6123026"/>
              <a:gd name="connsiteY4" fmla="*/ 3247347 h 3247782"/>
              <a:gd name="connsiteX5" fmla="*/ 37 w 6123026"/>
              <a:gd name="connsiteY5" fmla="*/ 2303863 h 3247782"/>
              <a:gd name="connsiteX6" fmla="*/ 335225 w 6123026"/>
              <a:gd name="connsiteY6" fmla="*/ 432489 h 3247782"/>
              <a:gd name="connsiteX0" fmla="*/ 335225 w 6213970"/>
              <a:gd name="connsiteY0" fmla="*/ 432489 h 3247782"/>
              <a:gd name="connsiteX1" fmla="*/ 3260633 w 6213970"/>
              <a:gd name="connsiteY1" fmla="*/ 0 h 3247782"/>
              <a:gd name="connsiteX2" fmla="*/ 5748245 w 6213970"/>
              <a:gd name="connsiteY2" fmla="*/ 440703 h 3247782"/>
              <a:gd name="connsiteX3" fmla="*/ 6088634 w 6213970"/>
              <a:gd name="connsiteY3" fmla="*/ 2502888 h 3247782"/>
              <a:gd name="connsiteX4" fmla="*/ 3268050 w 6213970"/>
              <a:gd name="connsiteY4" fmla="*/ 3247347 h 3247782"/>
              <a:gd name="connsiteX5" fmla="*/ 37 w 6213970"/>
              <a:gd name="connsiteY5" fmla="*/ 2303863 h 3247782"/>
              <a:gd name="connsiteX6" fmla="*/ 335225 w 6213970"/>
              <a:gd name="connsiteY6" fmla="*/ 432489 h 3247782"/>
              <a:gd name="connsiteX0" fmla="*/ 335225 w 6213972"/>
              <a:gd name="connsiteY0" fmla="*/ 432489 h 3247782"/>
              <a:gd name="connsiteX1" fmla="*/ 3260633 w 6213972"/>
              <a:gd name="connsiteY1" fmla="*/ 0 h 3247782"/>
              <a:gd name="connsiteX2" fmla="*/ 5748245 w 6213972"/>
              <a:gd name="connsiteY2" fmla="*/ 440703 h 3247782"/>
              <a:gd name="connsiteX3" fmla="*/ 6088634 w 6213972"/>
              <a:gd name="connsiteY3" fmla="*/ 2502888 h 3247782"/>
              <a:gd name="connsiteX4" fmla="*/ 3268050 w 6213972"/>
              <a:gd name="connsiteY4" fmla="*/ 3247347 h 3247782"/>
              <a:gd name="connsiteX5" fmla="*/ 37 w 6213972"/>
              <a:gd name="connsiteY5" fmla="*/ 2303863 h 3247782"/>
              <a:gd name="connsiteX6" fmla="*/ 335225 w 6213972"/>
              <a:gd name="connsiteY6" fmla="*/ 432489 h 3247782"/>
              <a:gd name="connsiteX0" fmla="*/ 335225 w 6213970"/>
              <a:gd name="connsiteY0" fmla="*/ 432489 h 3247782"/>
              <a:gd name="connsiteX1" fmla="*/ 3260633 w 6213970"/>
              <a:gd name="connsiteY1" fmla="*/ 0 h 3247782"/>
              <a:gd name="connsiteX2" fmla="*/ 5748245 w 6213970"/>
              <a:gd name="connsiteY2" fmla="*/ 440703 h 3247782"/>
              <a:gd name="connsiteX3" fmla="*/ 6088634 w 6213970"/>
              <a:gd name="connsiteY3" fmla="*/ 2502888 h 3247782"/>
              <a:gd name="connsiteX4" fmla="*/ 3268050 w 6213970"/>
              <a:gd name="connsiteY4" fmla="*/ 3247347 h 3247782"/>
              <a:gd name="connsiteX5" fmla="*/ 37 w 6213970"/>
              <a:gd name="connsiteY5" fmla="*/ 2303863 h 3247782"/>
              <a:gd name="connsiteX6" fmla="*/ 335225 w 6213970"/>
              <a:gd name="connsiteY6" fmla="*/ 432489 h 3247782"/>
              <a:gd name="connsiteX0" fmla="*/ 335225 w 6147867"/>
              <a:gd name="connsiteY0" fmla="*/ 432489 h 3247782"/>
              <a:gd name="connsiteX1" fmla="*/ 3260633 w 6147867"/>
              <a:gd name="connsiteY1" fmla="*/ 0 h 3247782"/>
              <a:gd name="connsiteX2" fmla="*/ 5748245 w 6147867"/>
              <a:gd name="connsiteY2" fmla="*/ 440703 h 3247782"/>
              <a:gd name="connsiteX3" fmla="*/ 6088634 w 6147867"/>
              <a:gd name="connsiteY3" fmla="*/ 2502888 h 3247782"/>
              <a:gd name="connsiteX4" fmla="*/ 3268050 w 6147867"/>
              <a:gd name="connsiteY4" fmla="*/ 3247347 h 3247782"/>
              <a:gd name="connsiteX5" fmla="*/ 37 w 6147867"/>
              <a:gd name="connsiteY5" fmla="*/ 2303863 h 3247782"/>
              <a:gd name="connsiteX6" fmla="*/ 335225 w 6147867"/>
              <a:gd name="connsiteY6" fmla="*/ 432489 h 3247782"/>
              <a:gd name="connsiteX0" fmla="*/ 335225 w 6088640"/>
              <a:gd name="connsiteY0" fmla="*/ 432489 h 3247782"/>
              <a:gd name="connsiteX1" fmla="*/ 3260633 w 6088640"/>
              <a:gd name="connsiteY1" fmla="*/ 0 h 3247782"/>
              <a:gd name="connsiteX2" fmla="*/ 5748245 w 6088640"/>
              <a:gd name="connsiteY2" fmla="*/ 440703 h 3247782"/>
              <a:gd name="connsiteX3" fmla="*/ 6088634 w 6088640"/>
              <a:gd name="connsiteY3" fmla="*/ 2502888 h 3247782"/>
              <a:gd name="connsiteX4" fmla="*/ 3268050 w 6088640"/>
              <a:gd name="connsiteY4" fmla="*/ 3247347 h 3247782"/>
              <a:gd name="connsiteX5" fmla="*/ 37 w 6088640"/>
              <a:gd name="connsiteY5" fmla="*/ 2303863 h 3247782"/>
              <a:gd name="connsiteX6" fmla="*/ 335225 w 6088640"/>
              <a:gd name="connsiteY6" fmla="*/ 432489 h 3247782"/>
              <a:gd name="connsiteX0" fmla="*/ 335225 w 6088642"/>
              <a:gd name="connsiteY0" fmla="*/ 432489 h 3247782"/>
              <a:gd name="connsiteX1" fmla="*/ 3260633 w 6088642"/>
              <a:gd name="connsiteY1" fmla="*/ 0 h 3247782"/>
              <a:gd name="connsiteX2" fmla="*/ 5748245 w 6088642"/>
              <a:gd name="connsiteY2" fmla="*/ 440703 h 3247782"/>
              <a:gd name="connsiteX3" fmla="*/ 6088634 w 6088642"/>
              <a:gd name="connsiteY3" fmla="*/ 2502888 h 3247782"/>
              <a:gd name="connsiteX4" fmla="*/ 3268050 w 6088642"/>
              <a:gd name="connsiteY4" fmla="*/ 3247347 h 3247782"/>
              <a:gd name="connsiteX5" fmla="*/ 37 w 6088642"/>
              <a:gd name="connsiteY5" fmla="*/ 2303863 h 3247782"/>
              <a:gd name="connsiteX6" fmla="*/ 335225 w 6088642"/>
              <a:gd name="connsiteY6" fmla="*/ 432489 h 3247782"/>
              <a:gd name="connsiteX0" fmla="*/ 335225 w 6088640"/>
              <a:gd name="connsiteY0" fmla="*/ 432489 h 3247782"/>
              <a:gd name="connsiteX1" fmla="*/ 3260633 w 6088640"/>
              <a:gd name="connsiteY1" fmla="*/ 0 h 3247782"/>
              <a:gd name="connsiteX2" fmla="*/ 5748245 w 6088640"/>
              <a:gd name="connsiteY2" fmla="*/ 440703 h 3247782"/>
              <a:gd name="connsiteX3" fmla="*/ 6088634 w 6088640"/>
              <a:gd name="connsiteY3" fmla="*/ 2502888 h 3247782"/>
              <a:gd name="connsiteX4" fmla="*/ 3268050 w 6088640"/>
              <a:gd name="connsiteY4" fmla="*/ 3247347 h 3247782"/>
              <a:gd name="connsiteX5" fmla="*/ 37 w 6088640"/>
              <a:gd name="connsiteY5" fmla="*/ 2303863 h 3247782"/>
              <a:gd name="connsiteX6" fmla="*/ 335225 w 6088640"/>
              <a:gd name="connsiteY6" fmla="*/ 432489 h 3247782"/>
              <a:gd name="connsiteX0" fmla="*/ 335225 w 6088642"/>
              <a:gd name="connsiteY0" fmla="*/ 432489 h 3247782"/>
              <a:gd name="connsiteX1" fmla="*/ 3260633 w 6088642"/>
              <a:gd name="connsiteY1" fmla="*/ 0 h 3247782"/>
              <a:gd name="connsiteX2" fmla="*/ 5748245 w 6088642"/>
              <a:gd name="connsiteY2" fmla="*/ 440703 h 3247782"/>
              <a:gd name="connsiteX3" fmla="*/ 6088634 w 6088642"/>
              <a:gd name="connsiteY3" fmla="*/ 2502888 h 3247782"/>
              <a:gd name="connsiteX4" fmla="*/ 3268050 w 6088642"/>
              <a:gd name="connsiteY4" fmla="*/ 3247347 h 3247782"/>
              <a:gd name="connsiteX5" fmla="*/ 37 w 6088642"/>
              <a:gd name="connsiteY5" fmla="*/ 2303863 h 3247782"/>
              <a:gd name="connsiteX6" fmla="*/ 335225 w 6088642"/>
              <a:gd name="connsiteY6" fmla="*/ 432489 h 3247782"/>
              <a:gd name="connsiteX0" fmla="*/ 353201 w 6106621"/>
              <a:gd name="connsiteY0" fmla="*/ 432489 h 3263671"/>
              <a:gd name="connsiteX1" fmla="*/ 3278609 w 6106621"/>
              <a:gd name="connsiteY1" fmla="*/ 0 h 3263671"/>
              <a:gd name="connsiteX2" fmla="*/ 5766221 w 6106621"/>
              <a:gd name="connsiteY2" fmla="*/ 440703 h 3263671"/>
              <a:gd name="connsiteX3" fmla="*/ 6106610 w 6106621"/>
              <a:gd name="connsiteY3" fmla="*/ 2502888 h 3263671"/>
              <a:gd name="connsiteX4" fmla="*/ 3286026 w 6106621"/>
              <a:gd name="connsiteY4" fmla="*/ 3247347 h 3263671"/>
              <a:gd name="connsiteX5" fmla="*/ 53 w 6106621"/>
              <a:gd name="connsiteY5" fmla="*/ 1620527 h 3263671"/>
              <a:gd name="connsiteX6" fmla="*/ 353201 w 6106621"/>
              <a:gd name="connsiteY6" fmla="*/ 432489 h 3263671"/>
              <a:gd name="connsiteX0" fmla="*/ 353201 w 6106621"/>
              <a:gd name="connsiteY0" fmla="*/ 432489 h 3263671"/>
              <a:gd name="connsiteX1" fmla="*/ 3278609 w 6106621"/>
              <a:gd name="connsiteY1" fmla="*/ 0 h 3263671"/>
              <a:gd name="connsiteX2" fmla="*/ 5766221 w 6106621"/>
              <a:gd name="connsiteY2" fmla="*/ 440703 h 3263671"/>
              <a:gd name="connsiteX3" fmla="*/ 6106610 w 6106621"/>
              <a:gd name="connsiteY3" fmla="*/ 2502888 h 3263671"/>
              <a:gd name="connsiteX4" fmla="*/ 3286026 w 6106621"/>
              <a:gd name="connsiteY4" fmla="*/ 3247347 h 3263671"/>
              <a:gd name="connsiteX5" fmla="*/ 53 w 6106621"/>
              <a:gd name="connsiteY5" fmla="*/ 1620527 h 3263671"/>
              <a:gd name="connsiteX6" fmla="*/ 353201 w 6106621"/>
              <a:gd name="connsiteY6" fmla="*/ 432489 h 3263671"/>
              <a:gd name="connsiteX0" fmla="*/ 353201 w 6106621"/>
              <a:gd name="connsiteY0" fmla="*/ 432489 h 3263671"/>
              <a:gd name="connsiteX1" fmla="*/ 3278609 w 6106621"/>
              <a:gd name="connsiteY1" fmla="*/ 0 h 3263671"/>
              <a:gd name="connsiteX2" fmla="*/ 5766221 w 6106621"/>
              <a:gd name="connsiteY2" fmla="*/ 440703 h 3263671"/>
              <a:gd name="connsiteX3" fmla="*/ 6106610 w 6106621"/>
              <a:gd name="connsiteY3" fmla="*/ 2502888 h 3263671"/>
              <a:gd name="connsiteX4" fmla="*/ 3286026 w 6106621"/>
              <a:gd name="connsiteY4" fmla="*/ 3247347 h 3263671"/>
              <a:gd name="connsiteX5" fmla="*/ 53 w 6106621"/>
              <a:gd name="connsiteY5" fmla="*/ 1620527 h 3263671"/>
              <a:gd name="connsiteX6" fmla="*/ 353201 w 6106621"/>
              <a:gd name="connsiteY6" fmla="*/ 432489 h 3263671"/>
              <a:gd name="connsiteX0" fmla="*/ 464353 w 6217770"/>
              <a:gd name="connsiteY0" fmla="*/ 432489 h 3391714"/>
              <a:gd name="connsiteX1" fmla="*/ 3389761 w 6217770"/>
              <a:gd name="connsiteY1" fmla="*/ 0 h 3391714"/>
              <a:gd name="connsiteX2" fmla="*/ 5877373 w 6217770"/>
              <a:gd name="connsiteY2" fmla="*/ 440703 h 3391714"/>
              <a:gd name="connsiteX3" fmla="*/ 6217762 w 6217770"/>
              <a:gd name="connsiteY3" fmla="*/ 2502888 h 3391714"/>
              <a:gd name="connsiteX4" fmla="*/ 2490214 w 6217770"/>
              <a:gd name="connsiteY4" fmla="*/ 3377277 h 3391714"/>
              <a:gd name="connsiteX5" fmla="*/ 111205 w 6217770"/>
              <a:gd name="connsiteY5" fmla="*/ 1620527 h 3391714"/>
              <a:gd name="connsiteX6" fmla="*/ 464353 w 6217770"/>
              <a:gd name="connsiteY6" fmla="*/ 432489 h 3391714"/>
              <a:gd name="connsiteX0" fmla="*/ 464353 w 6217767"/>
              <a:gd name="connsiteY0" fmla="*/ 432489 h 3377283"/>
              <a:gd name="connsiteX1" fmla="*/ 3389761 w 6217767"/>
              <a:gd name="connsiteY1" fmla="*/ 0 h 3377283"/>
              <a:gd name="connsiteX2" fmla="*/ 5877373 w 6217767"/>
              <a:gd name="connsiteY2" fmla="*/ 440703 h 3377283"/>
              <a:gd name="connsiteX3" fmla="*/ 6217762 w 6217767"/>
              <a:gd name="connsiteY3" fmla="*/ 2502888 h 3377283"/>
              <a:gd name="connsiteX4" fmla="*/ 2490214 w 6217767"/>
              <a:gd name="connsiteY4" fmla="*/ 3377277 h 3377283"/>
              <a:gd name="connsiteX5" fmla="*/ 111205 w 6217767"/>
              <a:gd name="connsiteY5" fmla="*/ 1620527 h 3377283"/>
              <a:gd name="connsiteX6" fmla="*/ 464353 w 6217767"/>
              <a:gd name="connsiteY6" fmla="*/ 432489 h 3377283"/>
              <a:gd name="connsiteX0" fmla="*/ 464353 w 6217767"/>
              <a:gd name="connsiteY0" fmla="*/ 432489 h 3377435"/>
              <a:gd name="connsiteX1" fmla="*/ 3389761 w 6217767"/>
              <a:gd name="connsiteY1" fmla="*/ 0 h 3377435"/>
              <a:gd name="connsiteX2" fmla="*/ 5877373 w 6217767"/>
              <a:gd name="connsiteY2" fmla="*/ 440703 h 3377435"/>
              <a:gd name="connsiteX3" fmla="*/ 6217762 w 6217767"/>
              <a:gd name="connsiteY3" fmla="*/ 2502888 h 3377435"/>
              <a:gd name="connsiteX4" fmla="*/ 2490214 w 6217767"/>
              <a:gd name="connsiteY4" fmla="*/ 3377277 h 3377435"/>
              <a:gd name="connsiteX5" fmla="*/ 111205 w 6217767"/>
              <a:gd name="connsiteY5" fmla="*/ 1620527 h 3377435"/>
              <a:gd name="connsiteX6" fmla="*/ 464353 w 6217767"/>
              <a:gd name="connsiteY6" fmla="*/ 432489 h 3377435"/>
              <a:gd name="connsiteX0" fmla="*/ 464353 w 6217767"/>
              <a:gd name="connsiteY0" fmla="*/ 432489 h 3377435"/>
              <a:gd name="connsiteX1" fmla="*/ 3389761 w 6217767"/>
              <a:gd name="connsiteY1" fmla="*/ 0 h 3377435"/>
              <a:gd name="connsiteX2" fmla="*/ 5877373 w 6217767"/>
              <a:gd name="connsiteY2" fmla="*/ 440703 h 3377435"/>
              <a:gd name="connsiteX3" fmla="*/ 6217762 w 6217767"/>
              <a:gd name="connsiteY3" fmla="*/ 2502888 h 3377435"/>
              <a:gd name="connsiteX4" fmla="*/ 2490214 w 6217767"/>
              <a:gd name="connsiteY4" fmla="*/ 3377277 h 3377435"/>
              <a:gd name="connsiteX5" fmla="*/ 111205 w 6217767"/>
              <a:gd name="connsiteY5" fmla="*/ 1620527 h 3377435"/>
              <a:gd name="connsiteX6" fmla="*/ 464353 w 6217767"/>
              <a:gd name="connsiteY6" fmla="*/ 432489 h 3377435"/>
              <a:gd name="connsiteX0" fmla="*/ 464353 w 6217767"/>
              <a:gd name="connsiteY0" fmla="*/ 432489 h 3377435"/>
              <a:gd name="connsiteX1" fmla="*/ 3389761 w 6217767"/>
              <a:gd name="connsiteY1" fmla="*/ 0 h 3377435"/>
              <a:gd name="connsiteX2" fmla="*/ 5877373 w 6217767"/>
              <a:gd name="connsiteY2" fmla="*/ 440703 h 3377435"/>
              <a:gd name="connsiteX3" fmla="*/ 6217762 w 6217767"/>
              <a:gd name="connsiteY3" fmla="*/ 2502888 h 3377435"/>
              <a:gd name="connsiteX4" fmla="*/ 2490214 w 6217767"/>
              <a:gd name="connsiteY4" fmla="*/ 3377277 h 3377435"/>
              <a:gd name="connsiteX5" fmla="*/ 111205 w 6217767"/>
              <a:gd name="connsiteY5" fmla="*/ 1620527 h 3377435"/>
              <a:gd name="connsiteX6" fmla="*/ 464353 w 6217767"/>
              <a:gd name="connsiteY6" fmla="*/ 432489 h 3377435"/>
              <a:gd name="connsiteX0" fmla="*/ 464353 w 6217767"/>
              <a:gd name="connsiteY0" fmla="*/ 432489 h 3377435"/>
              <a:gd name="connsiteX1" fmla="*/ 3389761 w 6217767"/>
              <a:gd name="connsiteY1" fmla="*/ 0 h 3377435"/>
              <a:gd name="connsiteX2" fmla="*/ 5877373 w 6217767"/>
              <a:gd name="connsiteY2" fmla="*/ 440703 h 3377435"/>
              <a:gd name="connsiteX3" fmla="*/ 6217762 w 6217767"/>
              <a:gd name="connsiteY3" fmla="*/ 2502888 h 3377435"/>
              <a:gd name="connsiteX4" fmla="*/ 2490214 w 6217767"/>
              <a:gd name="connsiteY4" fmla="*/ 3377277 h 3377435"/>
              <a:gd name="connsiteX5" fmla="*/ 111205 w 6217767"/>
              <a:gd name="connsiteY5" fmla="*/ 1620527 h 3377435"/>
              <a:gd name="connsiteX6" fmla="*/ 464353 w 6217767"/>
              <a:gd name="connsiteY6" fmla="*/ 432489 h 3377435"/>
              <a:gd name="connsiteX0" fmla="*/ 353260 w 6106674"/>
              <a:gd name="connsiteY0" fmla="*/ 432489 h 3377439"/>
              <a:gd name="connsiteX1" fmla="*/ 3278668 w 6106674"/>
              <a:gd name="connsiteY1" fmla="*/ 0 h 3377439"/>
              <a:gd name="connsiteX2" fmla="*/ 5766280 w 6106674"/>
              <a:gd name="connsiteY2" fmla="*/ 440703 h 3377439"/>
              <a:gd name="connsiteX3" fmla="*/ 6106669 w 6106674"/>
              <a:gd name="connsiteY3" fmla="*/ 2502888 h 3377439"/>
              <a:gd name="connsiteX4" fmla="*/ 2379121 w 6106674"/>
              <a:gd name="connsiteY4" fmla="*/ 3377277 h 3377439"/>
              <a:gd name="connsiteX5" fmla="*/ 112 w 6106674"/>
              <a:gd name="connsiteY5" fmla="*/ 1620527 h 3377439"/>
              <a:gd name="connsiteX6" fmla="*/ 353260 w 6106674"/>
              <a:gd name="connsiteY6" fmla="*/ 432489 h 3377439"/>
              <a:gd name="connsiteX0" fmla="*/ 353204 w 6106618"/>
              <a:gd name="connsiteY0" fmla="*/ 432489 h 3377392"/>
              <a:gd name="connsiteX1" fmla="*/ 3278612 w 6106618"/>
              <a:gd name="connsiteY1" fmla="*/ 0 h 3377392"/>
              <a:gd name="connsiteX2" fmla="*/ 5766224 w 6106618"/>
              <a:gd name="connsiteY2" fmla="*/ 440703 h 3377392"/>
              <a:gd name="connsiteX3" fmla="*/ 6106613 w 6106618"/>
              <a:gd name="connsiteY3" fmla="*/ 2502888 h 3377392"/>
              <a:gd name="connsiteX4" fmla="*/ 2379065 w 6106618"/>
              <a:gd name="connsiteY4" fmla="*/ 3377277 h 3377392"/>
              <a:gd name="connsiteX5" fmla="*/ 56 w 6106618"/>
              <a:gd name="connsiteY5" fmla="*/ 1620527 h 3377392"/>
              <a:gd name="connsiteX6" fmla="*/ 353204 w 6106618"/>
              <a:gd name="connsiteY6" fmla="*/ 432489 h 3377392"/>
              <a:gd name="connsiteX0" fmla="*/ 353202 w 6106616"/>
              <a:gd name="connsiteY0" fmla="*/ 432489 h 3377392"/>
              <a:gd name="connsiteX1" fmla="*/ 3278610 w 6106616"/>
              <a:gd name="connsiteY1" fmla="*/ 0 h 3377392"/>
              <a:gd name="connsiteX2" fmla="*/ 5766222 w 6106616"/>
              <a:gd name="connsiteY2" fmla="*/ 440703 h 3377392"/>
              <a:gd name="connsiteX3" fmla="*/ 6106611 w 6106616"/>
              <a:gd name="connsiteY3" fmla="*/ 2502888 h 3377392"/>
              <a:gd name="connsiteX4" fmla="*/ 2379063 w 6106616"/>
              <a:gd name="connsiteY4" fmla="*/ 3377277 h 3377392"/>
              <a:gd name="connsiteX5" fmla="*/ 54 w 6106616"/>
              <a:gd name="connsiteY5" fmla="*/ 1620527 h 3377392"/>
              <a:gd name="connsiteX6" fmla="*/ 353202 w 6106616"/>
              <a:gd name="connsiteY6" fmla="*/ 432489 h 3377392"/>
              <a:gd name="connsiteX0" fmla="*/ 353202 w 6106616"/>
              <a:gd name="connsiteY0" fmla="*/ 600917 h 3545820"/>
              <a:gd name="connsiteX1" fmla="*/ 2919417 w 6106616"/>
              <a:gd name="connsiteY1" fmla="*/ 0 h 3545820"/>
              <a:gd name="connsiteX2" fmla="*/ 5766222 w 6106616"/>
              <a:gd name="connsiteY2" fmla="*/ 609131 h 3545820"/>
              <a:gd name="connsiteX3" fmla="*/ 6106611 w 6106616"/>
              <a:gd name="connsiteY3" fmla="*/ 2671316 h 3545820"/>
              <a:gd name="connsiteX4" fmla="*/ 2379063 w 6106616"/>
              <a:gd name="connsiteY4" fmla="*/ 3545705 h 3545820"/>
              <a:gd name="connsiteX5" fmla="*/ 54 w 6106616"/>
              <a:gd name="connsiteY5" fmla="*/ 1788955 h 3545820"/>
              <a:gd name="connsiteX6" fmla="*/ 353202 w 6106616"/>
              <a:gd name="connsiteY6" fmla="*/ 600917 h 3545820"/>
              <a:gd name="connsiteX0" fmla="*/ 353202 w 6116436"/>
              <a:gd name="connsiteY0" fmla="*/ 600917 h 3545820"/>
              <a:gd name="connsiteX1" fmla="*/ 2919417 w 6116436"/>
              <a:gd name="connsiteY1" fmla="*/ 0 h 3545820"/>
              <a:gd name="connsiteX2" fmla="*/ 6116436 w 6116436"/>
              <a:gd name="connsiteY2" fmla="*/ 1143288 h 3545820"/>
              <a:gd name="connsiteX3" fmla="*/ 6106611 w 6116436"/>
              <a:gd name="connsiteY3" fmla="*/ 2671316 h 3545820"/>
              <a:gd name="connsiteX4" fmla="*/ 2379063 w 6116436"/>
              <a:gd name="connsiteY4" fmla="*/ 3545705 h 3545820"/>
              <a:gd name="connsiteX5" fmla="*/ 54 w 6116436"/>
              <a:gd name="connsiteY5" fmla="*/ 1788955 h 3545820"/>
              <a:gd name="connsiteX6" fmla="*/ 353202 w 6116436"/>
              <a:gd name="connsiteY6" fmla="*/ 600917 h 3545820"/>
              <a:gd name="connsiteX0" fmla="*/ 353202 w 7085417"/>
              <a:gd name="connsiteY0" fmla="*/ 600917 h 4090923"/>
              <a:gd name="connsiteX1" fmla="*/ 2919417 w 7085417"/>
              <a:gd name="connsiteY1" fmla="*/ 0 h 4090923"/>
              <a:gd name="connsiteX2" fmla="*/ 6116436 w 7085417"/>
              <a:gd name="connsiteY2" fmla="*/ 1143288 h 4090923"/>
              <a:gd name="connsiteX3" fmla="*/ 7085414 w 7085417"/>
              <a:gd name="connsiteY3" fmla="*/ 4090923 h 4090923"/>
              <a:gd name="connsiteX4" fmla="*/ 2379063 w 7085417"/>
              <a:gd name="connsiteY4" fmla="*/ 3545705 h 4090923"/>
              <a:gd name="connsiteX5" fmla="*/ 54 w 7085417"/>
              <a:gd name="connsiteY5" fmla="*/ 1788955 h 4090923"/>
              <a:gd name="connsiteX6" fmla="*/ 353202 w 7085417"/>
              <a:gd name="connsiteY6" fmla="*/ 600917 h 4090923"/>
              <a:gd name="connsiteX0" fmla="*/ 479202 w 7211418"/>
              <a:gd name="connsiteY0" fmla="*/ 600917 h 4090923"/>
              <a:gd name="connsiteX1" fmla="*/ 3045417 w 7211418"/>
              <a:gd name="connsiteY1" fmla="*/ 0 h 4090923"/>
              <a:gd name="connsiteX2" fmla="*/ 6242436 w 7211418"/>
              <a:gd name="connsiteY2" fmla="*/ 1143288 h 4090923"/>
              <a:gd name="connsiteX3" fmla="*/ 7211414 w 7211418"/>
              <a:gd name="connsiteY3" fmla="*/ 4090923 h 4090923"/>
              <a:gd name="connsiteX4" fmla="*/ 3034876 w 7211418"/>
              <a:gd name="connsiteY4" fmla="*/ 4084674 h 4090923"/>
              <a:gd name="connsiteX5" fmla="*/ 126054 w 7211418"/>
              <a:gd name="connsiteY5" fmla="*/ 1788955 h 4090923"/>
              <a:gd name="connsiteX6" fmla="*/ 479202 w 7211418"/>
              <a:gd name="connsiteY6" fmla="*/ 600917 h 4090923"/>
              <a:gd name="connsiteX0" fmla="*/ 479202 w 7221240"/>
              <a:gd name="connsiteY0" fmla="*/ 1093785 h 4583791"/>
              <a:gd name="connsiteX1" fmla="*/ 3045417 w 7221240"/>
              <a:gd name="connsiteY1" fmla="*/ 492868 h 4583791"/>
              <a:gd name="connsiteX2" fmla="*/ 7221240 w 7221240"/>
              <a:gd name="connsiteY2" fmla="*/ 0 h 4583791"/>
              <a:gd name="connsiteX3" fmla="*/ 7211414 w 7221240"/>
              <a:gd name="connsiteY3" fmla="*/ 4583791 h 4583791"/>
              <a:gd name="connsiteX4" fmla="*/ 3034876 w 7221240"/>
              <a:gd name="connsiteY4" fmla="*/ 4577542 h 4583791"/>
              <a:gd name="connsiteX5" fmla="*/ 126054 w 7221240"/>
              <a:gd name="connsiteY5" fmla="*/ 2281823 h 4583791"/>
              <a:gd name="connsiteX6" fmla="*/ 479202 w 7221240"/>
              <a:gd name="connsiteY6" fmla="*/ 1093785 h 4583791"/>
              <a:gd name="connsiteX0" fmla="*/ 479202 w 7221240"/>
              <a:gd name="connsiteY0" fmla="*/ 1096576 h 4586582"/>
              <a:gd name="connsiteX1" fmla="*/ 3656047 w 7221240"/>
              <a:gd name="connsiteY1" fmla="*/ 0 h 4586582"/>
              <a:gd name="connsiteX2" fmla="*/ 7221240 w 7221240"/>
              <a:gd name="connsiteY2" fmla="*/ 2791 h 4586582"/>
              <a:gd name="connsiteX3" fmla="*/ 7211414 w 7221240"/>
              <a:gd name="connsiteY3" fmla="*/ 4586582 h 4586582"/>
              <a:gd name="connsiteX4" fmla="*/ 3034876 w 7221240"/>
              <a:gd name="connsiteY4" fmla="*/ 4580333 h 4586582"/>
              <a:gd name="connsiteX5" fmla="*/ 126054 w 7221240"/>
              <a:gd name="connsiteY5" fmla="*/ 2284614 h 4586582"/>
              <a:gd name="connsiteX6" fmla="*/ 479202 w 7221240"/>
              <a:gd name="connsiteY6" fmla="*/ 1096576 h 4586582"/>
              <a:gd name="connsiteX0" fmla="*/ 4967 w 6747005"/>
              <a:gd name="connsiteY0" fmla="*/ 1096576 h 4586582"/>
              <a:gd name="connsiteX1" fmla="*/ 3181812 w 6747005"/>
              <a:gd name="connsiteY1" fmla="*/ 0 h 4586582"/>
              <a:gd name="connsiteX2" fmla="*/ 6747005 w 6747005"/>
              <a:gd name="connsiteY2" fmla="*/ 2791 h 4586582"/>
              <a:gd name="connsiteX3" fmla="*/ 6737179 w 6747005"/>
              <a:gd name="connsiteY3" fmla="*/ 4586582 h 4586582"/>
              <a:gd name="connsiteX4" fmla="*/ 2560641 w 6747005"/>
              <a:gd name="connsiteY4" fmla="*/ 4580333 h 4586582"/>
              <a:gd name="connsiteX5" fmla="*/ 4967 w 6747005"/>
              <a:gd name="connsiteY5" fmla="*/ 1096576 h 4586582"/>
              <a:gd name="connsiteX0" fmla="*/ 146702 w 6888740"/>
              <a:gd name="connsiteY0" fmla="*/ 1096576 h 4586582"/>
              <a:gd name="connsiteX1" fmla="*/ 3323547 w 6888740"/>
              <a:gd name="connsiteY1" fmla="*/ 0 h 4586582"/>
              <a:gd name="connsiteX2" fmla="*/ 6888740 w 6888740"/>
              <a:gd name="connsiteY2" fmla="*/ 2791 h 4586582"/>
              <a:gd name="connsiteX3" fmla="*/ 6878914 w 6888740"/>
              <a:gd name="connsiteY3" fmla="*/ 4586582 h 4586582"/>
              <a:gd name="connsiteX4" fmla="*/ 2702376 w 6888740"/>
              <a:gd name="connsiteY4" fmla="*/ 4580333 h 4586582"/>
              <a:gd name="connsiteX5" fmla="*/ 146702 w 6888740"/>
              <a:gd name="connsiteY5" fmla="*/ 1096576 h 4586582"/>
              <a:gd name="connsiteX0" fmla="*/ 146702 w 6888740"/>
              <a:gd name="connsiteY0" fmla="*/ 1096576 h 4586582"/>
              <a:gd name="connsiteX1" fmla="*/ 3323547 w 6888740"/>
              <a:gd name="connsiteY1" fmla="*/ 0 h 4586582"/>
              <a:gd name="connsiteX2" fmla="*/ 6888740 w 6888740"/>
              <a:gd name="connsiteY2" fmla="*/ 2791 h 4586582"/>
              <a:gd name="connsiteX3" fmla="*/ 6878914 w 6888740"/>
              <a:gd name="connsiteY3" fmla="*/ 4586582 h 4586582"/>
              <a:gd name="connsiteX4" fmla="*/ 2702376 w 6888740"/>
              <a:gd name="connsiteY4" fmla="*/ 4580333 h 4586582"/>
              <a:gd name="connsiteX5" fmla="*/ 146702 w 6888740"/>
              <a:gd name="connsiteY5" fmla="*/ 1096576 h 4586582"/>
              <a:gd name="connsiteX0" fmla="*/ 49 w 6742087"/>
              <a:gd name="connsiteY0" fmla="*/ 1096576 h 4586582"/>
              <a:gd name="connsiteX1" fmla="*/ 3176894 w 6742087"/>
              <a:gd name="connsiteY1" fmla="*/ 0 h 4586582"/>
              <a:gd name="connsiteX2" fmla="*/ 6742087 w 6742087"/>
              <a:gd name="connsiteY2" fmla="*/ 2791 h 4586582"/>
              <a:gd name="connsiteX3" fmla="*/ 6732261 w 6742087"/>
              <a:gd name="connsiteY3" fmla="*/ 4586582 h 4586582"/>
              <a:gd name="connsiteX4" fmla="*/ 2555723 w 6742087"/>
              <a:gd name="connsiteY4" fmla="*/ 4580333 h 4586582"/>
              <a:gd name="connsiteX5" fmla="*/ 49 w 6742087"/>
              <a:gd name="connsiteY5" fmla="*/ 1096576 h 4586582"/>
              <a:gd name="connsiteX0" fmla="*/ 29 w 6742067"/>
              <a:gd name="connsiteY0" fmla="*/ 1096576 h 4586582"/>
              <a:gd name="connsiteX1" fmla="*/ 3176874 w 6742067"/>
              <a:gd name="connsiteY1" fmla="*/ 0 h 4586582"/>
              <a:gd name="connsiteX2" fmla="*/ 6742067 w 6742067"/>
              <a:gd name="connsiteY2" fmla="*/ 2791 h 4586582"/>
              <a:gd name="connsiteX3" fmla="*/ 6732241 w 6742067"/>
              <a:gd name="connsiteY3" fmla="*/ 4586582 h 4586582"/>
              <a:gd name="connsiteX4" fmla="*/ 2555703 w 6742067"/>
              <a:gd name="connsiteY4" fmla="*/ 4580333 h 4586582"/>
              <a:gd name="connsiteX5" fmla="*/ 29 w 6742067"/>
              <a:gd name="connsiteY5" fmla="*/ 1096576 h 4586582"/>
              <a:gd name="connsiteX0" fmla="*/ 35 w 6266141"/>
              <a:gd name="connsiteY0" fmla="*/ 1693292 h 4586582"/>
              <a:gd name="connsiteX1" fmla="*/ 2700948 w 6266141"/>
              <a:gd name="connsiteY1" fmla="*/ 0 h 4586582"/>
              <a:gd name="connsiteX2" fmla="*/ 6266141 w 6266141"/>
              <a:gd name="connsiteY2" fmla="*/ 2791 h 4586582"/>
              <a:gd name="connsiteX3" fmla="*/ 6256315 w 6266141"/>
              <a:gd name="connsiteY3" fmla="*/ 4586582 h 4586582"/>
              <a:gd name="connsiteX4" fmla="*/ 2079777 w 6266141"/>
              <a:gd name="connsiteY4" fmla="*/ 4580333 h 4586582"/>
              <a:gd name="connsiteX5" fmla="*/ 35 w 6266141"/>
              <a:gd name="connsiteY5" fmla="*/ 1693292 h 4586582"/>
              <a:gd name="connsiteX0" fmla="*/ 35 w 6266141"/>
              <a:gd name="connsiteY0" fmla="*/ 1690502 h 4583792"/>
              <a:gd name="connsiteX1" fmla="*/ 1892761 w 6266141"/>
              <a:gd name="connsiteY1" fmla="*/ 2022 h 4583792"/>
              <a:gd name="connsiteX2" fmla="*/ 6266141 w 6266141"/>
              <a:gd name="connsiteY2" fmla="*/ 1 h 4583792"/>
              <a:gd name="connsiteX3" fmla="*/ 6256315 w 6266141"/>
              <a:gd name="connsiteY3" fmla="*/ 4583792 h 4583792"/>
              <a:gd name="connsiteX4" fmla="*/ 2079777 w 6266141"/>
              <a:gd name="connsiteY4" fmla="*/ 4577543 h 4583792"/>
              <a:gd name="connsiteX5" fmla="*/ 35 w 6266141"/>
              <a:gd name="connsiteY5" fmla="*/ 1690502 h 4583792"/>
              <a:gd name="connsiteX0" fmla="*/ 53 w 6266159"/>
              <a:gd name="connsiteY0" fmla="*/ 1690502 h 4583792"/>
              <a:gd name="connsiteX1" fmla="*/ 1892779 w 6266159"/>
              <a:gd name="connsiteY1" fmla="*/ 2022 h 4583792"/>
              <a:gd name="connsiteX2" fmla="*/ 6266159 w 6266159"/>
              <a:gd name="connsiteY2" fmla="*/ 1 h 4583792"/>
              <a:gd name="connsiteX3" fmla="*/ 6256333 w 6266159"/>
              <a:gd name="connsiteY3" fmla="*/ 4583792 h 4583792"/>
              <a:gd name="connsiteX4" fmla="*/ 1316507 w 6266159"/>
              <a:gd name="connsiteY4" fmla="*/ 4577543 h 4583792"/>
              <a:gd name="connsiteX5" fmla="*/ 53 w 6266159"/>
              <a:gd name="connsiteY5" fmla="*/ 1690502 h 4583792"/>
              <a:gd name="connsiteX0" fmla="*/ 28 w 6266134"/>
              <a:gd name="connsiteY0" fmla="*/ 1690502 h 4583792"/>
              <a:gd name="connsiteX1" fmla="*/ 1892754 w 6266134"/>
              <a:gd name="connsiteY1" fmla="*/ 2022 h 4583792"/>
              <a:gd name="connsiteX2" fmla="*/ 6266134 w 6266134"/>
              <a:gd name="connsiteY2" fmla="*/ 1 h 4583792"/>
              <a:gd name="connsiteX3" fmla="*/ 6256308 w 6266134"/>
              <a:gd name="connsiteY3" fmla="*/ 4583792 h 4583792"/>
              <a:gd name="connsiteX4" fmla="*/ 2573660 w 6266134"/>
              <a:gd name="connsiteY4" fmla="*/ 4577543 h 4583792"/>
              <a:gd name="connsiteX5" fmla="*/ 28 w 6266134"/>
              <a:gd name="connsiteY5" fmla="*/ 1690502 h 4583792"/>
              <a:gd name="connsiteX0" fmla="*/ 50 w 5125717"/>
              <a:gd name="connsiteY0" fmla="*/ 1623131 h 4583792"/>
              <a:gd name="connsiteX1" fmla="*/ 752337 w 5125717"/>
              <a:gd name="connsiteY1" fmla="*/ 2022 h 4583792"/>
              <a:gd name="connsiteX2" fmla="*/ 5125717 w 5125717"/>
              <a:gd name="connsiteY2" fmla="*/ 1 h 4583792"/>
              <a:gd name="connsiteX3" fmla="*/ 5115891 w 5125717"/>
              <a:gd name="connsiteY3" fmla="*/ 4583792 h 4583792"/>
              <a:gd name="connsiteX4" fmla="*/ 1433243 w 5125717"/>
              <a:gd name="connsiteY4" fmla="*/ 4577543 h 4583792"/>
              <a:gd name="connsiteX5" fmla="*/ 50 w 5125717"/>
              <a:gd name="connsiteY5" fmla="*/ 1623131 h 4583792"/>
              <a:gd name="connsiteX0" fmla="*/ 50 w 5125717"/>
              <a:gd name="connsiteY0" fmla="*/ 1623131 h 4583792"/>
              <a:gd name="connsiteX1" fmla="*/ 1345007 w 5125717"/>
              <a:gd name="connsiteY1" fmla="*/ 2022 h 4583792"/>
              <a:gd name="connsiteX2" fmla="*/ 5125717 w 5125717"/>
              <a:gd name="connsiteY2" fmla="*/ 1 h 4583792"/>
              <a:gd name="connsiteX3" fmla="*/ 5115891 w 5125717"/>
              <a:gd name="connsiteY3" fmla="*/ 4583792 h 4583792"/>
              <a:gd name="connsiteX4" fmla="*/ 1433243 w 5125717"/>
              <a:gd name="connsiteY4" fmla="*/ 4577543 h 4583792"/>
              <a:gd name="connsiteX5" fmla="*/ 50 w 5125717"/>
              <a:gd name="connsiteY5" fmla="*/ 1623131 h 4583792"/>
              <a:gd name="connsiteX0" fmla="*/ 50 w 5115897"/>
              <a:gd name="connsiteY0" fmla="*/ 1621109 h 4581770"/>
              <a:gd name="connsiteX1" fmla="*/ 1345007 w 5115897"/>
              <a:gd name="connsiteY1" fmla="*/ 0 h 4581770"/>
              <a:gd name="connsiteX2" fmla="*/ 4146914 w 5115897"/>
              <a:gd name="connsiteY2" fmla="*/ 2791 h 4581770"/>
              <a:gd name="connsiteX3" fmla="*/ 5115891 w 5115897"/>
              <a:gd name="connsiteY3" fmla="*/ 4581770 h 4581770"/>
              <a:gd name="connsiteX4" fmla="*/ 1433243 w 5115897"/>
              <a:gd name="connsiteY4" fmla="*/ 4575521 h 4581770"/>
              <a:gd name="connsiteX5" fmla="*/ 50 w 5115897"/>
              <a:gd name="connsiteY5" fmla="*/ 1621109 h 4581770"/>
              <a:gd name="connsiteX0" fmla="*/ 50 w 4164035"/>
              <a:gd name="connsiteY0" fmla="*/ 1621109 h 4581770"/>
              <a:gd name="connsiteX1" fmla="*/ 1345007 w 4164035"/>
              <a:gd name="connsiteY1" fmla="*/ 0 h 4581770"/>
              <a:gd name="connsiteX2" fmla="*/ 4146914 w 4164035"/>
              <a:gd name="connsiteY2" fmla="*/ 2791 h 4581770"/>
              <a:gd name="connsiteX3" fmla="*/ 4164029 w 4164035"/>
              <a:gd name="connsiteY3" fmla="*/ 4581770 h 4581770"/>
              <a:gd name="connsiteX4" fmla="*/ 1433243 w 4164035"/>
              <a:gd name="connsiteY4" fmla="*/ 4575521 h 4581770"/>
              <a:gd name="connsiteX5" fmla="*/ 50 w 4164035"/>
              <a:gd name="connsiteY5" fmla="*/ 1621109 h 4581770"/>
              <a:gd name="connsiteX0" fmla="*/ 3245 w 4167228"/>
              <a:gd name="connsiteY0" fmla="*/ 1621109 h 4581770"/>
              <a:gd name="connsiteX1" fmla="*/ 1348202 w 4167228"/>
              <a:gd name="connsiteY1" fmla="*/ 0 h 4581770"/>
              <a:gd name="connsiteX2" fmla="*/ 4150109 w 4167228"/>
              <a:gd name="connsiteY2" fmla="*/ 2791 h 4581770"/>
              <a:gd name="connsiteX3" fmla="*/ 4167224 w 4167228"/>
              <a:gd name="connsiteY3" fmla="*/ 4581770 h 4581770"/>
              <a:gd name="connsiteX4" fmla="*/ 8644 w 4167228"/>
              <a:gd name="connsiteY4" fmla="*/ 4575521 h 4581770"/>
              <a:gd name="connsiteX5" fmla="*/ 3245 w 4167228"/>
              <a:gd name="connsiteY5" fmla="*/ 1621109 h 4581770"/>
              <a:gd name="connsiteX0" fmla="*/ 3245 w 4167230"/>
              <a:gd name="connsiteY0" fmla="*/ 1618319 h 4578980"/>
              <a:gd name="connsiteX1" fmla="*/ 3144170 w 4167230"/>
              <a:gd name="connsiteY1" fmla="*/ 54956 h 4578980"/>
              <a:gd name="connsiteX2" fmla="*/ 4150109 w 4167230"/>
              <a:gd name="connsiteY2" fmla="*/ 1 h 4578980"/>
              <a:gd name="connsiteX3" fmla="*/ 4167224 w 4167230"/>
              <a:gd name="connsiteY3" fmla="*/ 4578980 h 4578980"/>
              <a:gd name="connsiteX4" fmla="*/ 8644 w 4167230"/>
              <a:gd name="connsiteY4" fmla="*/ 4572731 h 4578980"/>
              <a:gd name="connsiteX5" fmla="*/ 3245 w 4167230"/>
              <a:gd name="connsiteY5" fmla="*/ 1618319 h 4578980"/>
              <a:gd name="connsiteX0" fmla="*/ 3245 w 4167228"/>
              <a:gd name="connsiteY0" fmla="*/ 2 h 4592007"/>
              <a:gd name="connsiteX1" fmla="*/ 3144170 w 4167228"/>
              <a:gd name="connsiteY1" fmla="*/ 67983 h 4592007"/>
              <a:gd name="connsiteX2" fmla="*/ 4150109 w 4167228"/>
              <a:gd name="connsiteY2" fmla="*/ 13028 h 4592007"/>
              <a:gd name="connsiteX3" fmla="*/ 4167224 w 4167228"/>
              <a:gd name="connsiteY3" fmla="*/ 4592007 h 4592007"/>
              <a:gd name="connsiteX4" fmla="*/ 8644 w 4167228"/>
              <a:gd name="connsiteY4" fmla="*/ 4585758 h 4592007"/>
              <a:gd name="connsiteX5" fmla="*/ 3245 w 4167228"/>
              <a:gd name="connsiteY5" fmla="*/ 2 h 4592007"/>
              <a:gd name="connsiteX0" fmla="*/ 3245 w 4167230"/>
              <a:gd name="connsiteY0" fmla="*/ 2 h 4592007"/>
              <a:gd name="connsiteX1" fmla="*/ 3144170 w 4167230"/>
              <a:gd name="connsiteY1" fmla="*/ 67983 h 4592007"/>
              <a:gd name="connsiteX2" fmla="*/ 2812112 w 4167230"/>
              <a:gd name="connsiteY2" fmla="*/ 2294022 h 4592007"/>
              <a:gd name="connsiteX3" fmla="*/ 4167224 w 4167230"/>
              <a:gd name="connsiteY3" fmla="*/ 4592007 h 4592007"/>
              <a:gd name="connsiteX4" fmla="*/ 8644 w 4167230"/>
              <a:gd name="connsiteY4" fmla="*/ 4585758 h 4592007"/>
              <a:gd name="connsiteX5" fmla="*/ 3245 w 4167230"/>
              <a:gd name="connsiteY5" fmla="*/ 2 h 4592007"/>
              <a:gd name="connsiteX0" fmla="*/ 3245 w 4167228"/>
              <a:gd name="connsiteY0" fmla="*/ 2 h 4592007"/>
              <a:gd name="connsiteX1" fmla="*/ 3790719 w 4167228"/>
              <a:gd name="connsiteY1" fmla="*/ 5424 h 4592007"/>
              <a:gd name="connsiteX2" fmla="*/ 2812112 w 4167228"/>
              <a:gd name="connsiteY2" fmla="*/ 2294022 h 4592007"/>
              <a:gd name="connsiteX3" fmla="*/ 4167224 w 4167228"/>
              <a:gd name="connsiteY3" fmla="*/ 4592007 h 4592007"/>
              <a:gd name="connsiteX4" fmla="*/ 8644 w 4167228"/>
              <a:gd name="connsiteY4" fmla="*/ 4585758 h 4592007"/>
              <a:gd name="connsiteX5" fmla="*/ 3245 w 4167228"/>
              <a:gd name="connsiteY5" fmla="*/ 2 h 4592007"/>
              <a:gd name="connsiteX0" fmla="*/ 3245 w 4167230"/>
              <a:gd name="connsiteY0" fmla="*/ 2 h 4592007"/>
              <a:gd name="connsiteX1" fmla="*/ 3790719 w 4167230"/>
              <a:gd name="connsiteY1" fmla="*/ 5424 h 4592007"/>
              <a:gd name="connsiteX2" fmla="*/ 3252124 w 4167230"/>
              <a:gd name="connsiteY2" fmla="*/ 1461508 h 4592007"/>
              <a:gd name="connsiteX3" fmla="*/ 4167224 w 4167230"/>
              <a:gd name="connsiteY3" fmla="*/ 4592007 h 4592007"/>
              <a:gd name="connsiteX4" fmla="*/ 8644 w 4167230"/>
              <a:gd name="connsiteY4" fmla="*/ 4585758 h 4592007"/>
              <a:gd name="connsiteX5" fmla="*/ 3245 w 4167230"/>
              <a:gd name="connsiteY5" fmla="*/ 2 h 4592007"/>
              <a:gd name="connsiteX0" fmla="*/ 3245 w 15204102"/>
              <a:gd name="connsiteY0" fmla="*/ 2 h 4592007"/>
              <a:gd name="connsiteX1" fmla="*/ 15204102 w 15204102"/>
              <a:gd name="connsiteY1" fmla="*/ 5424 h 4592007"/>
              <a:gd name="connsiteX2" fmla="*/ 3252124 w 15204102"/>
              <a:gd name="connsiteY2" fmla="*/ 1461508 h 4592007"/>
              <a:gd name="connsiteX3" fmla="*/ 4167224 w 15204102"/>
              <a:gd name="connsiteY3" fmla="*/ 4592007 h 4592007"/>
              <a:gd name="connsiteX4" fmla="*/ 8644 w 15204102"/>
              <a:gd name="connsiteY4" fmla="*/ 4585758 h 4592007"/>
              <a:gd name="connsiteX5" fmla="*/ 3245 w 15204102"/>
              <a:gd name="connsiteY5" fmla="*/ 2 h 4592007"/>
              <a:gd name="connsiteX0" fmla="*/ 3245 w 15204102"/>
              <a:gd name="connsiteY0" fmla="*/ 2 h 4592007"/>
              <a:gd name="connsiteX1" fmla="*/ 15204102 w 15204102"/>
              <a:gd name="connsiteY1" fmla="*/ 5424 h 4592007"/>
              <a:gd name="connsiteX2" fmla="*/ 15186337 w 15204102"/>
              <a:gd name="connsiteY2" fmla="*/ 975473 h 4592007"/>
              <a:gd name="connsiteX3" fmla="*/ 4167224 w 15204102"/>
              <a:gd name="connsiteY3" fmla="*/ 4592007 h 4592007"/>
              <a:gd name="connsiteX4" fmla="*/ 8644 w 15204102"/>
              <a:gd name="connsiteY4" fmla="*/ 4585758 h 4592007"/>
              <a:gd name="connsiteX5" fmla="*/ 3245 w 15204102"/>
              <a:gd name="connsiteY5" fmla="*/ 2 h 4592007"/>
              <a:gd name="connsiteX0" fmla="*/ 3245 w 15204102"/>
              <a:gd name="connsiteY0" fmla="*/ 2 h 4585775"/>
              <a:gd name="connsiteX1" fmla="*/ 15204102 w 15204102"/>
              <a:gd name="connsiteY1" fmla="*/ 5424 h 4585775"/>
              <a:gd name="connsiteX2" fmla="*/ 15186337 w 15204102"/>
              <a:gd name="connsiteY2" fmla="*/ 975473 h 4585775"/>
              <a:gd name="connsiteX3" fmla="*/ 7795082 w 15204102"/>
              <a:gd name="connsiteY3" fmla="*/ 1156079 h 4585775"/>
              <a:gd name="connsiteX4" fmla="*/ 8644 w 15204102"/>
              <a:gd name="connsiteY4" fmla="*/ 4585758 h 4585775"/>
              <a:gd name="connsiteX5" fmla="*/ 3245 w 15204102"/>
              <a:gd name="connsiteY5" fmla="*/ 2 h 4585775"/>
              <a:gd name="connsiteX0" fmla="*/ 5394 w 15206251"/>
              <a:gd name="connsiteY0" fmla="*/ 10 h 1156087"/>
              <a:gd name="connsiteX1" fmla="*/ 15206251 w 15206251"/>
              <a:gd name="connsiteY1" fmla="*/ 5432 h 1156087"/>
              <a:gd name="connsiteX2" fmla="*/ 15188486 w 15206251"/>
              <a:gd name="connsiteY2" fmla="*/ 975481 h 1156087"/>
              <a:gd name="connsiteX3" fmla="*/ 7797231 w 15206251"/>
              <a:gd name="connsiteY3" fmla="*/ 1156087 h 1156087"/>
              <a:gd name="connsiteX4" fmla="*/ 1812 w 15206251"/>
              <a:gd name="connsiteY4" fmla="*/ 976598 h 1156087"/>
              <a:gd name="connsiteX5" fmla="*/ 5394 w 15206251"/>
              <a:gd name="connsiteY5" fmla="*/ 10 h 1156087"/>
              <a:gd name="connsiteX0" fmla="*/ 5396 w 15206253"/>
              <a:gd name="connsiteY0" fmla="*/ 10 h 1800925"/>
              <a:gd name="connsiteX1" fmla="*/ 15206253 w 15206253"/>
              <a:gd name="connsiteY1" fmla="*/ 5432 h 1800925"/>
              <a:gd name="connsiteX2" fmla="*/ 15188488 w 15206253"/>
              <a:gd name="connsiteY2" fmla="*/ 975481 h 1800925"/>
              <a:gd name="connsiteX3" fmla="*/ 5094300 w 15206253"/>
              <a:gd name="connsiteY3" fmla="*/ 1800925 h 1800925"/>
              <a:gd name="connsiteX4" fmla="*/ 1814 w 15206253"/>
              <a:gd name="connsiteY4" fmla="*/ 976598 h 1800925"/>
              <a:gd name="connsiteX5" fmla="*/ 5396 w 15206253"/>
              <a:gd name="connsiteY5" fmla="*/ 10 h 1800925"/>
              <a:gd name="connsiteX0" fmla="*/ 5396 w 15206253"/>
              <a:gd name="connsiteY0" fmla="*/ 10 h 1800925"/>
              <a:gd name="connsiteX1" fmla="*/ 15206253 w 15206253"/>
              <a:gd name="connsiteY1" fmla="*/ 5432 h 1800925"/>
              <a:gd name="connsiteX2" fmla="*/ 15188488 w 15206253"/>
              <a:gd name="connsiteY2" fmla="*/ 1216093 h 1800925"/>
              <a:gd name="connsiteX3" fmla="*/ 5094300 w 15206253"/>
              <a:gd name="connsiteY3" fmla="*/ 1800925 h 1800925"/>
              <a:gd name="connsiteX4" fmla="*/ 1814 w 15206253"/>
              <a:gd name="connsiteY4" fmla="*/ 976598 h 1800925"/>
              <a:gd name="connsiteX5" fmla="*/ 5396 w 15206253"/>
              <a:gd name="connsiteY5" fmla="*/ 10 h 1800925"/>
              <a:gd name="connsiteX0" fmla="*/ 3247 w 15204104"/>
              <a:gd name="connsiteY0" fmla="*/ 9 h 1800924"/>
              <a:gd name="connsiteX1" fmla="*/ 15204104 w 15204104"/>
              <a:gd name="connsiteY1" fmla="*/ 5431 h 1800924"/>
              <a:gd name="connsiteX2" fmla="*/ 15186339 w 15204104"/>
              <a:gd name="connsiteY2" fmla="*/ 1216092 h 1800924"/>
              <a:gd name="connsiteX3" fmla="*/ 5092151 w 15204104"/>
              <a:gd name="connsiteY3" fmla="*/ 1800924 h 1800924"/>
              <a:gd name="connsiteX4" fmla="*/ 8645 w 15204104"/>
              <a:gd name="connsiteY4" fmla="*/ 1149837 h 1800924"/>
              <a:gd name="connsiteX5" fmla="*/ 3247 w 15204104"/>
              <a:gd name="connsiteY5" fmla="*/ 9 h 1800924"/>
              <a:gd name="connsiteX0" fmla="*/ 3245 w 15204102"/>
              <a:gd name="connsiteY0" fmla="*/ 9 h 1983789"/>
              <a:gd name="connsiteX1" fmla="*/ 15204102 w 15204102"/>
              <a:gd name="connsiteY1" fmla="*/ 5431 h 1983789"/>
              <a:gd name="connsiteX2" fmla="*/ 15186337 w 15204102"/>
              <a:gd name="connsiteY2" fmla="*/ 1216092 h 1983789"/>
              <a:gd name="connsiteX3" fmla="*/ 4688054 w 15204102"/>
              <a:gd name="connsiteY3" fmla="*/ 1983789 h 1983789"/>
              <a:gd name="connsiteX4" fmla="*/ 8643 w 15204102"/>
              <a:gd name="connsiteY4" fmla="*/ 1149837 h 1983789"/>
              <a:gd name="connsiteX5" fmla="*/ 3245 w 15204102"/>
              <a:gd name="connsiteY5" fmla="*/ 9 h 1983789"/>
              <a:gd name="connsiteX0" fmla="*/ 3245 w 15204102"/>
              <a:gd name="connsiteY0" fmla="*/ 9 h 1983789"/>
              <a:gd name="connsiteX1" fmla="*/ 15204102 w 15204102"/>
              <a:gd name="connsiteY1" fmla="*/ 5431 h 1983789"/>
              <a:gd name="connsiteX2" fmla="*/ 15186337 w 15204102"/>
              <a:gd name="connsiteY2" fmla="*/ 1355647 h 1983789"/>
              <a:gd name="connsiteX3" fmla="*/ 4688054 w 15204102"/>
              <a:gd name="connsiteY3" fmla="*/ 1983789 h 1983789"/>
              <a:gd name="connsiteX4" fmla="*/ 8643 w 15204102"/>
              <a:gd name="connsiteY4" fmla="*/ 1149837 h 1983789"/>
              <a:gd name="connsiteX5" fmla="*/ 3245 w 15204102"/>
              <a:gd name="connsiteY5" fmla="*/ 9 h 1983789"/>
              <a:gd name="connsiteX0" fmla="*/ 3245 w 15204102"/>
              <a:gd name="connsiteY0" fmla="*/ 9 h 1990861"/>
              <a:gd name="connsiteX1" fmla="*/ 15204102 w 15204102"/>
              <a:gd name="connsiteY1" fmla="*/ 5431 h 1990861"/>
              <a:gd name="connsiteX2" fmla="*/ 15186337 w 15204102"/>
              <a:gd name="connsiteY2" fmla="*/ 1990861 h 1990861"/>
              <a:gd name="connsiteX3" fmla="*/ 4688054 w 15204102"/>
              <a:gd name="connsiteY3" fmla="*/ 1983789 h 1990861"/>
              <a:gd name="connsiteX4" fmla="*/ 8643 w 15204102"/>
              <a:gd name="connsiteY4" fmla="*/ 1149837 h 1990861"/>
              <a:gd name="connsiteX5" fmla="*/ 3245 w 15204102"/>
              <a:gd name="connsiteY5" fmla="*/ 9 h 1990861"/>
              <a:gd name="connsiteX0" fmla="*/ 3245 w 15204102"/>
              <a:gd name="connsiteY0" fmla="*/ 9 h 1990861"/>
              <a:gd name="connsiteX1" fmla="*/ 15204102 w 15204102"/>
              <a:gd name="connsiteY1" fmla="*/ 5431 h 1990861"/>
              <a:gd name="connsiteX2" fmla="*/ 15186337 w 15204102"/>
              <a:gd name="connsiteY2" fmla="*/ 1990861 h 1990861"/>
              <a:gd name="connsiteX3" fmla="*/ 9556 w 15204102"/>
              <a:gd name="connsiteY3" fmla="*/ 1983789 h 1990861"/>
              <a:gd name="connsiteX4" fmla="*/ 8643 w 15204102"/>
              <a:gd name="connsiteY4" fmla="*/ 1149837 h 1990861"/>
              <a:gd name="connsiteX5" fmla="*/ 3245 w 15204102"/>
              <a:gd name="connsiteY5" fmla="*/ 9 h 1990861"/>
              <a:gd name="connsiteX0" fmla="*/ 4484522 w 15195458"/>
              <a:gd name="connsiteY0" fmla="*/ 8 h 2005297"/>
              <a:gd name="connsiteX1" fmla="*/ 15195458 w 15195458"/>
              <a:gd name="connsiteY1" fmla="*/ 19867 h 2005297"/>
              <a:gd name="connsiteX2" fmla="*/ 15177693 w 15195458"/>
              <a:gd name="connsiteY2" fmla="*/ 2005297 h 2005297"/>
              <a:gd name="connsiteX3" fmla="*/ 912 w 15195458"/>
              <a:gd name="connsiteY3" fmla="*/ 1998225 h 2005297"/>
              <a:gd name="connsiteX4" fmla="*/ -1 w 15195458"/>
              <a:gd name="connsiteY4" fmla="*/ 1164273 h 2005297"/>
              <a:gd name="connsiteX5" fmla="*/ 4484522 w 15195458"/>
              <a:gd name="connsiteY5" fmla="*/ 8 h 2005297"/>
              <a:gd name="connsiteX0" fmla="*/ 4484524 w 15195460"/>
              <a:gd name="connsiteY0" fmla="*/ 37 h 2005326"/>
              <a:gd name="connsiteX1" fmla="*/ 15195460 w 15195460"/>
              <a:gd name="connsiteY1" fmla="*/ 19896 h 2005326"/>
              <a:gd name="connsiteX2" fmla="*/ 15177695 w 15195460"/>
              <a:gd name="connsiteY2" fmla="*/ 2005326 h 2005326"/>
              <a:gd name="connsiteX3" fmla="*/ 914 w 15195460"/>
              <a:gd name="connsiteY3" fmla="*/ 1998254 h 2005326"/>
              <a:gd name="connsiteX4" fmla="*/ 0 w 15195460"/>
              <a:gd name="connsiteY4" fmla="*/ 254791 h 2005326"/>
              <a:gd name="connsiteX5" fmla="*/ 4484524 w 15195460"/>
              <a:gd name="connsiteY5" fmla="*/ 37 h 2005326"/>
              <a:gd name="connsiteX0" fmla="*/ 4601261 w 15195460"/>
              <a:gd name="connsiteY0" fmla="*/ 22 h 2178551"/>
              <a:gd name="connsiteX1" fmla="*/ 15195460 w 15195460"/>
              <a:gd name="connsiteY1" fmla="*/ 193121 h 2178551"/>
              <a:gd name="connsiteX2" fmla="*/ 15177695 w 15195460"/>
              <a:gd name="connsiteY2" fmla="*/ 2178551 h 2178551"/>
              <a:gd name="connsiteX3" fmla="*/ 914 w 15195460"/>
              <a:gd name="connsiteY3" fmla="*/ 2171479 h 2178551"/>
              <a:gd name="connsiteX4" fmla="*/ 0 w 15195460"/>
              <a:gd name="connsiteY4" fmla="*/ 428016 h 2178551"/>
              <a:gd name="connsiteX5" fmla="*/ 4601261 w 15195460"/>
              <a:gd name="connsiteY5" fmla="*/ 22 h 2178551"/>
              <a:gd name="connsiteX0" fmla="*/ 4601261 w 15195460"/>
              <a:gd name="connsiteY0" fmla="*/ 22 h 2178551"/>
              <a:gd name="connsiteX1" fmla="*/ 15195460 w 15195460"/>
              <a:gd name="connsiteY1" fmla="*/ 375986 h 2178551"/>
              <a:gd name="connsiteX2" fmla="*/ 15177695 w 15195460"/>
              <a:gd name="connsiteY2" fmla="*/ 2178551 h 2178551"/>
              <a:gd name="connsiteX3" fmla="*/ 914 w 15195460"/>
              <a:gd name="connsiteY3" fmla="*/ 2171479 h 2178551"/>
              <a:gd name="connsiteX4" fmla="*/ 0 w 15195460"/>
              <a:gd name="connsiteY4" fmla="*/ 428016 h 2178551"/>
              <a:gd name="connsiteX5" fmla="*/ 4601261 w 15195460"/>
              <a:gd name="connsiteY5" fmla="*/ 22 h 2178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195460" h="2178551">
                <a:moveTo>
                  <a:pt x="4601261" y="22"/>
                </a:moveTo>
                <a:lnTo>
                  <a:pt x="15195460" y="375986"/>
                </a:lnTo>
                <a:lnTo>
                  <a:pt x="15177695" y="2178551"/>
                </a:lnTo>
                <a:cubicBezTo>
                  <a:pt x="15169510" y="2177771"/>
                  <a:pt x="1134" y="2169934"/>
                  <a:pt x="914" y="2171479"/>
                </a:cubicBezTo>
                <a:cubicBezTo>
                  <a:pt x="6293" y="2167993"/>
                  <a:pt x="20997" y="430709"/>
                  <a:pt x="0" y="428016"/>
                </a:cubicBezTo>
                <a:cubicBezTo>
                  <a:pt x="445" y="438251"/>
                  <a:pt x="4591433" y="-3663"/>
                  <a:pt x="4601261" y="22"/>
                </a:cubicBezTo>
                <a:close/>
              </a:path>
            </a:pathLst>
          </a:custGeom>
          <a:ln w="50800">
            <a:noFill/>
          </a:ln>
        </p:spPr>
        <p:txBody>
          <a:bodyPr/>
          <a:lstStyle/>
          <a:p>
            <a:pPr marL="304778" marR="0" lvl="0" indent="-304778" algn="l" defTabSz="1219108" rtl="0" eaLnBrk="1" fontAlgn="auto" latinLnBrk="0" hangingPunct="1">
              <a:lnSpc>
                <a:spcPct val="90000"/>
              </a:lnSpc>
              <a:spcBef>
                <a:spcPts val="1333"/>
              </a:spcBef>
              <a:spcAft>
                <a:spcPts val="0"/>
              </a:spcAft>
              <a:buClrTx/>
              <a:buSzTx/>
              <a:buFont typeface="Arial" panose="020B0604020202020204" pitchFamily="34" charset="0"/>
              <a:buNone/>
              <a:tabLst/>
              <a:defRPr/>
            </a:pPr>
            <a:r>
              <a:rPr lang="en-US" noProof="0"/>
              <a:t>Picture</a:t>
            </a:r>
          </a:p>
        </p:txBody>
      </p:sp>
      <p:sp>
        <p:nvSpPr>
          <p:cNvPr id="10" name="Marcador de texto 5">
            <a:extLst>
              <a:ext uri="{FF2B5EF4-FFF2-40B4-BE49-F238E27FC236}">
                <a16:creationId xmlns:a16="http://schemas.microsoft.com/office/drawing/2014/main" id="{09377459-F50D-3ECF-77FF-349AFD9A99B6}"/>
              </a:ext>
            </a:extLst>
          </p:cNvPr>
          <p:cNvSpPr>
            <a:spLocks noGrp="1"/>
          </p:cNvSpPr>
          <p:nvPr>
            <p:ph type="body" sz="quarter" idx="26" hasCustomPrompt="1"/>
          </p:nvPr>
        </p:nvSpPr>
        <p:spPr>
          <a:xfrm>
            <a:off x="4039281" y="6417750"/>
            <a:ext cx="4113439" cy="195084"/>
          </a:xfrm>
          <a:prstGeom prst="rect">
            <a:avLst/>
          </a:prstGeom>
        </p:spPr>
        <p:txBody>
          <a:bodyPr/>
          <a:lstStyle>
            <a:lvl1pPr marL="0" indent="0" algn="ctr">
              <a:buNone/>
              <a:defRPr sz="933">
                <a:solidFill>
                  <a:schemeClr val="accent1"/>
                </a:solidFill>
              </a:defRPr>
            </a:lvl1pPr>
          </a:lstStyle>
          <a:p>
            <a:r>
              <a:rPr lang="es-ES" err="1"/>
              <a:t>Lorem</a:t>
            </a:r>
            <a:r>
              <a:rPr lang="es-ES"/>
              <a:t> </a:t>
            </a:r>
            <a:r>
              <a:rPr lang="es-ES" err="1"/>
              <a:t>ipsum</a:t>
            </a:r>
            <a:r>
              <a:rPr lang="es-ES"/>
              <a:t> dolor </a:t>
            </a:r>
            <a:r>
              <a:rPr lang="es-ES" err="1"/>
              <a:t>sit</a:t>
            </a:r>
            <a:r>
              <a:rPr lang="es-ES"/>
              <a:t> </a:t>
            </a:r>
            <a:r>
              <a:rPr lang="es-ES" err="1"/>
              <a:t>amet</a:t>
            </a:r>
            <a:r>
              <a:rPr lang="es-ES"/>
              <a:t>.</a:t>
            </a:r>
          </a:p>
        </p:txBody>
      </p:sp>
      <p:sp>
        <p:nvSpPr>
          <p:cNvPr id="11" name="Slide Number Placeholder 5">
            <a:extLst>
              <a:ext uri="{FF2B5EF4-FFF2-40B4-BE49-F238E27FC236}">
                <a16:creationId xmlns:a16="http://schemas.microsoft.com/office/drawing/2014/main" id="{71EF276E-62D8-8D9C-94E9-B534BA2089F0}"/>
              </a:ext>
            </a:extLst>
          </p:cNvPr>
          <p:cNvSpPr>
            <a:spLocks noGrp="1"/>
          </p:cNvSpPr>
          <p:nvPr>
            <p:ph type="sldNum" sz="quarter" idx="4"/>
          </p:nvPr>
        </p:nvSpPr>
        <p:spPr>
          <a:xfrm>
            <a:off x="10910403" y="6356351"/>
            <a:ext cx="1042415" cy="365125"/>
          </a:xfrm>
          <a:prstGeom prst="rect">
            <a:avLst/>
          </a:prstGeom>
        </p:spPr>
        <p:txBody>
          <a:bodyPr vert="horz" lIns="91440" tIns="45720" rIns="91440" bIns="45720" rtlCol="0" anchor="ctr"/>
          <a:lstStyle>
            <a:lvl1pPr algn="r">
              <a:defRPr sz="933">
                <a:solidFill>
                  <a:schemeClr val="accent1"/>
                </a:solidFill>
              </a:defRPr>
            </a:lvl1pPr>
          </a:lstStyle>
          <a:p>
            <a:fld id="{96F64DD7-E411-6141-89FE-121B5323FD5F}" type="slidenum">
              <a:rPr lang="en-US" smtClean="0"/>
              <a:pPr/>
              <a:t>‹Nº›</a:t>
            </a:fld>
            <a:endParaRPr lang="en-US"/>
          </a:p>
        </p:txBody>
      </p:sp>
    </p:spTree>
    <p:extLst>
      <p:ext uri="{BB962C8B-B14F-4D97-AF65-F5344CB8AC3E}">
        <p14:creationId xmlns:p14="http://schemas.microsoft.com/office/powerpoint/2010/main" val="2284454411"/>
      </p:ext>
    </p:extLst>
  </p:cSld>
  <p:clrMapOvr>
    <a:masterClrMapping/>
  </p:clrMapOvr>
  <p:extLst>
    <p:ext uri="{DCECCB84-F9BA-43D5-87BE-67443E8EF086}">
      <p15:sldGuideLst xmlns:p15="http://schemas.microsoft.com/office/powerpoint/2012/main">
        <p15:guide id="1" orient="horz" pos="2867">
          <p15:clr>
            <a:srgbClr val="FBAE40"/>
          </p15:clr>
        </p15:guide>
        <p15:guide id="2" pos="2880">
          <p15:clr>
            <a:srgbClr val="FBAE40"/>
          </p15:clr>
        </p15:guide>
        <p15:guide id="3" orient="horz" pos="35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_1">
    <p:spTree>
      <p:nvGrpSpPr>
        <p:cNvPr id="1" name=""/>
        <p:cNvGrpSpPr/>
        <p:nvPr/>
      </p:nvGrpSpPr>
      <p:grpSpPr>
        <a:xfrm>
          <a:off x="0" y="0"/>
          <a:ext cx="0" cy="0"/>
          <a:chOff x="0" y="0"/>
          <a:chExt cx="0" cy="0"/>
        </a:xfrm>
      </p:grpSpPr>
      <p:grpSp>
        <p:nvGrpSpPr>
          <p:cNvPr id="5" name="Grupo 4">
            <a:extLst>
              <a:ext uri="{FF2B5EF4-FFF2-40B4-BE49-F238E27FC236}">
                <a16:creationId xmlns:a16="http://schemas.microsoft.com/office/drawing/2014/main" id="{6A89A73E-2C31-7D42-AF20-9EEB1A54201F}"/>
              </a:ext>
            </a:extLst>
          </p:cNvPr>
          <p:cNvGrpSpPr/>
          <p:nvPr/>
        </p:nvGrpSpPr>
        <p:grpSpPr>
          <a:xfrm>
            <a:off x="10869235" y="6305566"/>
            <a:ext cx="1001260" cy="310180"/>
            <a:chOff x="7785861" y="4639396"/>
            <a:chExt cx="1111660" cy="344382"/>
          </a:xfrm>
        </p:grpSpPr>
        <p:sp>
          <p:nvSpPr>
            <p:cNvPr id="6" name="Forma libre 5">
              <a:extLst>
                <a:ext uri="{FF2B5EF4-FFF2-40B4-BE49-F238E27FC236}">
                  <a16:creationId xmlns:a16="http://schemas.microsoft.com/office/drawing/2014/main" id="{34B27C1E-A557-6A44-8926-1FD5540CD3BF}"/>
                </a:ext>
              </a:extLst>
            </p:cNvPr>
            <p:cNvSpPr/>
            <p:nvPr/>
          </p:nvSpPr>
          <p:spPr>
            <a:xfrm>
              <a:off x="7785861" y="4639396"/>
              <a:ext cx="256158" cy="344382"/>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endParaRPr lang="es-ES_tradnl" sz="2400"/>
            </a:p>
          </p:txBody>
        </p:sp>
        <p:sp>
          <p:nvSpPr>
            <p:cNvPr id="7" name="Forma libre 6">
              <a:extLst>
                <a:ext uri="{FF2B5EF4-FFF2-40B4-BE49-F238E27FC236}">
                  <a16:creationId xmlns:a16="http://schemas.microsoft.com/office/drawing/2014/main" id="{CFC6D32C-2C73-9C45-B902-B36FDDC72516}"/>
                </a:ext>
              </a:extLst>
            </p:cNvPr>
            <p:cNvSpPr/>
            <p:nvPr/>
          </p:nvSpPr>
          <p:spPr>
            <a:xfrm>
              <a:off x="8098546" y="4754028"/>
              <a:ext cx="798975" cy="174628"/>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accent1"/>
            </a:solidFill>
            <a:ln w="6110" cap="flat">
              <a:noFill/>
              <a:prstDash val="solid"/>
              <a:miter/>
            </a:ln>
          </p:spPr>
          <p:txBody>
            <a:bodyPr rtlCol="0" anchor="ctr"/>
            <a:lstStyle/>
            <a:p>
              <a:endParaRPr lang="es-ES_tradnl" sz="2400" dirty="0">
                <a:solidFill>
                  <a:schemeClr val="accent1"/>
                </a:solidFill>
              </a:endParaRPr>
            </a:p>
          </p:txBody>
        </p:sp>
      </p:grpSp>
      <p:pic>
        <p:nvPicPr>
          <p:cNvPr id="43" name="Imagen 42">
            <a:extLst>
              <a:ext uri="{FF2B5EF4-FFF2-40B4-BE49-F238E27FC236}">
                <a16:creationId xmlns:a16="http://schemas.microsoft.com/office/drawing/2014/main" id="{B5477B23-F4C0-4652-BFC8-E64DF78C0977}"/>
              </a:ext>
            </a:extLst>
          </p:cNvPr>
          <p:cNvPicPr>
            <a:picLocks noChangeAspect="1"/>
          </p:cNvPicPr>
          <p:nvPr/>
        </p:nvPicPr>
        <p:blipFill>
          <a:blip r:embed="rId2"/>
          <a:stretch>
            <a:fillRect/>
          </a:stretch>
        </p:blipFill>
        <p:spPr>
          <a:xfrm>
            <a:off x="0" y="5598629"/>
            <a:ext cx="2079437" cy="1262068"/>
          </a:xfrm>
          <a:prstGeom prst="rect">
            <a:avLst/>
          </a:prstGeom>
        </p:spPr>
      </p:pic>
    </p:spTree>
    <p:extLst>
      <p:ext uri="{BB962C8B-B14F-4D97-AF65-F5344CB8AC3E}">
        <p14:creationId xmlns:p14="http://schemas.microsoft.com/office/powerpoint/2010/main" val="3480079034"/>
      </p:ext>
    </p:extLst>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aphic 1">
    <p:bg>
      <p:bgPr>
        <a:solidFill>
          <a:schemeClr val="bg1"/>
        </a:solidFill>
        <a:effectLst/>
      </p:bgPr>
    </p:bg>
    <p:spTree>
      <p:nvGrpSpPr>
        <p:cNvPr id="1" name=""/>
        <p:cNvGrpSpPr/>
        <p:nvPr/>
      </p:nvGrpSpPr>
      <p:grpSpPr>
        <a:xfrm>
          <a:off x="0" y="0"/>
          <a:ext cx="0" cy="0"/>
          <a:chOff x="0" y="0"/>
          <a:chExt cx="0" cy="0"/>
        </a:xfrm>
      </p:grpSpPr>
      <p:sp>
        <p:nvSpPr>
          <p:cNvPr id="5" name="Título 1">
            <a:extLst>
              <a:ext uri="{FF2B5EF4-FFF2-40B4-BE49-F238E27FC236}">
                <a16:creationId xmlns:a16="http://schemas.microsoft.com/office/drawing/2014/main" id="{1AC11D3A-21D3-021A-4884-985CA5F8C99D}"/>
              </a:ext>
            </a:extLst>
          </p:cNvPr>
          <p:cNvSpPr>
            <a:spLocks noGrp="1"/>
          </p:cNvSpPr>
          <p:nvPr>
            <p:ph type="title" hasCustomPrompt="1"/>
          </p:nvPr>
        </p:nvSpPr>
        <p:spPr>
          <a:xfrm>
            <a:off x="768351" y="1619498"/>
            <a:ext cx="4389648" cy="3619005"/>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4267" baseline="0">
                <a:solidFill>
                  <a:schemeClr val="accent2"/>
                </a:solidFill>
              </a:defRPr>
            </a:lvl1pPr>
          </a:lstStyle>
          <a:p>
            <a:r>
              <a:rPr lang="en-US" noProof="0"/>
              <a:t>Headline is Arial Reg.32pt.</a:t>
            </a:r>
            <a:br>
              <a:rPr lang="en-US" noProof="0"/>
            </a:br>
            <a:r>
              <a:rPr lang="en-US" noProof="0"/>
              <a:t>Lorem ipsum dolor sit </a:t>
            </a:r>
            <a:r>
              <a:rPr lang="en-US" noProof="0" err="1"/>
              <a:t>amet</a:t>
            </a:r>
            <a:r>
              <a:rPr lang="en-US" noProof="0"/>
              <a:t>.</a:t>
            </a:r>
          </a:p>
        </p:txBody>
      </p:sp>
      <p:sp>
        <p:nvSpPr>
          <p:cNvPr id="4" name="Marcador de gráfico 8">
            <a:extLst>
              <a:ext uri="{FF2B5EF4-FFF2-40B4-BE49-F238E27FC236}">
                <a16:creationId xmlns:a16="http://schemas.microsoft.com/office/drawing/2014/main" id="{C080A34B-58C1-8378-37C3-459C6DF082C6}"/>
              </a:ext>
            </a:extLst>
          </p:cNvPr>
          <p:cNvSpPr>
            <a:spLocks noGrp="1"/>
          </p:cNvSpPr>
          <p:nvPr>
            <p:ph type="chart" sz="quarter" idx="17" hasCustomPrompt="1"/>
          </p:nvPr>
        </p:nvSpPr>
        <p:spPr>
          <a:xfrm>
            <a:off x="6527801" y="1592946"/>
            <a:ext cx="4895851" cy="4445787"/>
          </a:xfrm>
          <a:prstGeom prst="rect">
            <a:avLst/>
          </a:prstGeom>
        </p:spPr>
        <p:txBody>
          <a:bodyPr/>
          <a:lstStyle/>
          <a:p>
            <a:r>
              <a:rPr lang="en-US" noProof="0"/>
              <a:t>Graphic</a:t>
            </a:r>
          </a:p>
        </p:txBody>
      </p:sp>
      <p:sp>
        <p:nvSpPr>
          <p:cNvPr id="3" name="Marcador de texto 6">
            <a:extLst>
              <a:ext uri="{FF2B5EF4-FFF2-40B4-BE49-F238E27FC236}">
                <a16:creationId xmlns:a16="http://schemas.microsoft.com/office/drawing/2014/main" id="{F561A6A8-F1C5-7A4C-8C2A-448B379840B6}"/>
              </a:ext>
            </a:extLst>
          </p:cNvPr>
          <p:cNvSpPr>
            <a:spLocks noGrp="1"/>
          </p:cNvSpPr>
          <p:nvPr>
            <p:ph type="body" sz="quarter" idx="19" hasCustomPrompt="1"/>
          </p:nvPr>
        </p:nvSpPr>
        <p:spPr>
          <a:xfrm>
            <a:off x="239184" y="6341105"/>
            <a:ext cx="960965" cy="310299"/>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2"/>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6" name="Marcador de texto 6">
            <a:extLst>
              <a:ext uri="{FF2B5EF4-FFF2-40B4-BE49-F238E27FC236}">
                <a16:creationId xmlns:a16="http://schemas.microsoft.com/office/drawing/2014/main" id="{67151544-7EDB-39EE-8356-2897BCCDB7D4}"/>
              </a:ext>
            </a:extLst>
          </p:cNvPr>
          <p:cNvSpPr>
            <a:spLocks noGrp="1"/>
          </p:cNvSpPr>
          <p:nvPr>
            <p:ph type="body" sz="quarter" idx="25" hasCustomPrompt="1"/>
          </p:nvPr>
        </p:nvSpPr>
        <p:spPr>
          <a:xfrm>
            <a:off x="0" y="0"/>
            <a:ext cx="12192000" cy="842544"/>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3"/>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9" name="Marcador de texto 5">
            <a:extLst>
              <a:ext uri="{FF2B5EF4-FFF2-40B4-BE49-F238E27FC236}">
                <a16:creationId xmlns:a16="http://schemas.microsoft.com/office/drawing/2014/main" id="{716944D1-CB51-A37D-773E-ED6EF2B1B4D6}"/>
              </a:ext>
            </a:extLst>
          </p:cNvPr>
          <p:cNvSpPr>
            <a:spLocks noGrp="1"/>
          </p:cNvSpPr>
          <p:nvPr>
            <p:ph type="body" sz="quarter" idx="26" hasCustomPrompt="1"/>
          </p:nvPr>
        </p:nvSpPr>
        <p:spPr>
          <a:xfrm>
            <a:off x="4039281" y="6417750"/>
            <a:ext cx="4113439" cy="195084"/>
          </a:xfrm>
          <a:prstGeom prst="rect">
            <a:avLst/>
          </a:prstGeom>
        </p:spPr>
        <p:txBody>
          <a:bodyPr/>
          <a:lstStyle>
            <a:lvl1pPr marL="0" indent="0" algn="ctr">
              <a:buNone/>
              <a:defRPr sz="933">
                <a:solidFill>
                  <a:schemeClr val="accent1"/>
                </a:solidFill>
              </a:defRPr>
            </a:lvl1pPr>
          </a:lstStyle>
          <a:p>
            <a:r>
              <a:rPr lang="es-ES" err="1"/>
              <a:t>Lorem</a:t>
            </a:r>
            <a:r>
              <a:rPr lang="es-ES"/>
              <a:t> </a:t>
            </a:r>
            <a:r>
              <a:rPr lang="es-ES" err="1"/>
              <a:t>ipsum</a:t>
            </a:r>
            <a:r>
              <a:rPr lang="es-ES"/>
              <a:t> dolor </a:t>
            </a:r>
            <a:r>
              <a:rPr lang="es-ES" err="1"/>
              <a:t>sit</a:t>
            </a:r>
            <a:r>
              <a:rPr lang="es-ES"/>
              <a:t> </a:t>
            </a:r>
            <a:r>
              <a:rPr lang="es-ES" err="1"/>
              <a:t>amet</a:t>
            </a:r>
            <a:r>
              <a:rPr lang="es-ES"/>
              <a:t>.</a:t>
            </a:r>
          </a:p>
        </p:txBody>
      </p:sp>
      <p:sp>
        <p:nvSpPr>
          <p:cNvPr id="10" name="Slide Number Placeholder 5">
            <a:extLst>
              <a:ext uri="{FF2B5EF4-FFF2-40B4-BE49-F238E27FC236}">
                <a16:creationId xmlns:a16="http://schemas.microsoft.com/office/drawing/2014/main" id="{DB1FB7CD-6B30-5AF5-34B6-F13603BD4822}"/>
              </a:ext>
            </a:extLst>
          </p:cNvPr>
          <p:cNvSpPr>
            <a:spLocks noGrp="1"/>
          </p:cNvSpPr>
          <p:nvPr>
            <p:ph type="sldNum" sz="quarter" idx="4"/>
          </p:nvPr>
        </p:nvSpPr>
        <p:spPr>
          <a:xfrm>
            <a:off x="10910403" y="6356351"/>
            <a:ext cx="1042415" cy="365125"/>
          </a:xfrm>
          <a:prstGeom prst="rect">
            <a:avLst/>
          </a:prstGeom>
        </p:spPr>
        <p:txBody>
          <a:bodyPr vert="horz" lIns="91440" tIns="45720" rIns="91440" bIns="45720" rtlCol="0" anchor="ctr"/>
          <a:lstStyle>
            <a:lvl1pPr algn="r">
              <a:defRPr sz="933">
                <a:solidFill>
                  <a:schemeClr val="accent1"/>
                </a:solidFill>
              </a:defRPr>
            </a:lvl1pPr>
          </a:lstStyle>
          <a:p>
            <a:fld id="{96F64DD7-E411-6141-89FE-121B5323FD5F}" type="slidenum">
              <a:rPr lang="en-US" smtClean="0"/>
              <a:pPr/>
              <a:t>‹Nº›</a:t>
            </a:fld>
            <a:endParaRPr lang="en-US"/>
          </a:p>
        </p:txBody>
      </p:sp>
    </p:spTree>
    <p:extLst>
      <p:ext uri="{BB962C8B-B14F-4D97-AF65-F5344CB8AC3E}">
        <p14:creationId xmlns:p14="http://schemas.microsoft.com/office/powerpoint/2010/main" val="3068139940"/>
      </p:ext>
    </p:extLst>
  </p:cSld>
  <p:clrMapOvr>
    <a:masterClrMapping/>
  </p:clrMapOvr>
  <p:extLst>
    <p:ext uri="{DCECCB84-F9BA-43D5-87BE-67443E8EF086}">
      <p15:sldGuideLst xmlns:p15="http://schemas.microsoft.com/office/powerpoint/2012/main">
        <p15:guide id="1" orient="horz" pos="1620">
          <p15:clr>
            <a:srgbClr val="FBAE40"/>
          </p15:clr>
        </p15:guide>
        <p15:guide id="5" orient="horz" pos="350">
          <p15:clr>
            <a:srgbClr val="FBAE40"/>
          </p15:clr>
        </p15:guide>
        <p15:guide id="6" orient="horz" pos="289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raphic 2">
    <p:bg>
      <p:bgPr>
        <a:solidFill>
          <a:schemeClr val="bg1"/>
        </a:solidFill>
        <a:effectLst/>
      </p:bgPr>
    </p:bg>
    <p:spTree>
      <p:nvGrpSpPr>
        <p:cNvPr id="1" name=""/>
        <p:cNvGrpSpPr/>
        <p:nvPr/>
      </p:nvGrpSpPr>
      <p:grpSpPr>
        <a:xfrm>
          <a:off x="0" y="0"/>
          <a:ext cx="0" cy="0"/>
          <a:chOff x="0" y="0"/>
          <a:chExt cx="0" cy="0"/>
        </a:xfrm>
      </p:grpSpPr>
      <p:sp>
        <p:nvSpPr>
          <p:cNvPr id="5" name="Título 1">
            <a:extLst>
              <a:ext uri="{FF2B5EF4-FFF2-40B4-BE49-F238E27FC236}">
                <a16:creationId xmlns:a16="http://schemas.microsoft.com/office/drawing/2014/main" id="{1AC11D3A-21D3-021A-4884-985CA5F8C99D}"/>
              </a:ext>
            </a:extLst>
          </p:cNvPr>
          <p:cNvSpPr>
            <a:spLocks noGrp="1"/>
          </p:cNvSpPr>
          <p:nvPr>
            <p:ph type="title" hasCustomPrompt="1"/>
          </p:nvPr>
        </p:nvSpPr>
        <p:spPr>
          <a:xfrm>
            <a:off x="786821" y="1292729"/>
            <a:ext cx="3245919" cy="1845448"/>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3467" baseline="0">
                <a:solidFill>
                  <a:schemeClr val="accent2"/>
                </a:solidFill>
              </a:defRPr>
            </a:lvl1pPr>
          </a:lstStyle>
          <a:p>
            <a:r>
              <a:rPr lang="en-US" noProof="0"/>
              <a:t>Headline text is Arial Reg.26pt.</a:t>
            </a:r>
            <a:br>
              <a:rPr lang="en-US" noProof="0"/>
            </a:br>
            <a:r>
              <a:rPr lang="en-US" noProof="0"/>
              <a:t>Lorem ipsum dolor sit </a:t>
            </a:r>
            <a:r>
              <a:rPr lang="en-US" noProof="0" err="1"/>
              <a:t>amet</a:t>
            </a:r>
            <a:r>
              <a:rPr lang="en-US" noProof="0"/>
              <a:t>.</a:t>
            </a:r>
          </a:p>
        </p:txBody>
      </p:sp>
      <p:sp>
        <p:nvSpPr>
          <p:cNvPr id="4" name="Marcador de gráfico 8">
            <a:extLst>
              <a:ext uri="{FF2B5EF4-FFF2-40B4-BE49-F238E27FC236}">
                <a16:creationId xmlns:a16="http://schemas.microsoft.com/office/drawing/2014/main" id="{C080A34B-58C1-8378-37C3-459C6DF082C6}"/>
              </a:ext>
            </a:extLst>
          </p:cNvPr>
          <p:cNvSpPr>
            <a:spLocks noGrp="1"/>
          </p:cNvSpPr>
          <p:nvPr>
            <p:ph type="chart" sz="quarter" idx="17" hasCustomPrompt="1"/>
          </p:nvPr>
        </p:nvSpPr>
        <p:spPr>
          <a:xfrm>
            <a:off x="5216436" y="1245325"/>
            <a:ext cx="6207217" cy="4871841"/>
          </a:xfrm>
          <a:prstGeom prst="rect">
            <a:avLst/>
          </a:prstGeom>
        </p:spPr>
        <p:txBody>
          <a:bodyPr/>
          <a:lstStyle/>
          <a:p>
            <a:r>
              <a:rPr lang="en-US" noProof="0"/>
              <a:t>Graphic</a:t>
            </a:r>
          </a:p>
        </p:txBody>
      </p:sp>
      <p:sp>
        <p:nvSpPr>
          <p:cNvPr id="9" name="Marcador de texto 5">
            <a:extLst>
              <a:ext uri="{FF2B5EF4-FFF2-40B4-BE49-F238E27FC236}">
                <a16:creationId xmlns:a16="http://schemas.microsoft.com/office/drawing/2014/main" id="{D35892B9-BAA3-90CB-9C9F-FBEF9A5FDD9E}"/>
              </a:ext>
            </a:extLst>
          </p:cNvPr>
          <p:cNvSpPr>
            <a:spLocks noGrp="1"/>
          </p:cNvSpPr>
          <p:nvPr>
            <p:ph type="body" sz="quarter" idx="18" hasCustomPrompt="1"/>
          </p:nvPr>
        </p:nvSpPr>
        <p:spPr>
          <a:xfrm>
            <a:off x="768351" y="4215398"/>
            <a:ext cx="3213888" cy="1378132"/>
          </a:xfrm>
          <a:prstGeom prst="rect">
            <a:avLst/>
          </a:prstGeom>
        </p:spPr>
        <p:txBody>
          <a:bodyPr lIns="0" tIns="0" rIns="0" bIns="0">
            <a:noAutofit/>
          </a:bodyPr>
          <a:lstStyle>
            <a:lvl1pPr marL="0" indent="0">
              <a:lnSpc>
                <a:spcPct val="100000"/>
              </a:lnSpc>
              <a:spcBef>
                <a:spcPts val="0"/>
              </a:spcBef>
              <a:buNone/>
              <a:defRPr sz="1200" baseline="0">
                <a:solidFill>
                  <a:schemeClr val="accent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err="1"/>
              <a:t>Bodycopy</a:t>
            </a:r>
            <a:r>
              <a:rPr lang="en-US" noProof="0"/>
              <a:t> is Arial Regular 9/Simple p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a:t>
            </a:r>
          </a:p>
        </p:txBody>
      </p:sp>
      <p:sp>
        <p:nvSpPr>
          <p:cNvPr id="10" name="Marcador de texto 5">
            <a:extLst>
              <a:ext uri="{FF2B5EF4-FFF2-40B4-BE49-F238E27FC236}">
                <a16:creationId xmlns:a16="http://schemas.microsoft.com/office/drawing/2014/main" id="{F7651F62-F9D4-93B2-675E-62F745BB6D76}"/>
              </a:ext>
            </a:extLst>
          </p:cNvPr>
          <p:cNvSpPr>
            <a:spLocks noGrp="1"/>
          </p:cNvSpPr>
          <p:nvPr>
            <p:ph type="body" sz="quarter" idx="19" hasCustomPrompt="1"/>
          </p:nvPr>
        </p:nvSpPr>
        <p:spPr>
          <a:xfrm>
            <a:off x="768352" y="3429001"/>
            <a:ext cx="2914979" cy="491945"/>
          </a:xfrm>
          <a:prstGeom prst="rect">
            <a:avLst/>
          </a:prstGeom>
        </p:spPr>
        <p:txBody>
          <a:bodyPr lIns="0" tIns="0" rIns="0" bIns="0">
            <a:noAutofit/>
          </a:bodyPr>
          <a:lstStyle>
            <a:lvl1pPr marL="0" indent="0">
              <a:lnSpc>
                <a:spcPct val="100000"/>
              </a:lnSpc>
              <a:spcBef>
                <a:spcPts val="0"/>
              </a:spcBef>
              <a:buNone/>
              <a:defRPr sz="1467" baseline="0">
                <a:solidFill>
                  <a:schemeClr val="accent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Subhead is Arial Regular 11/Simple pt.</a:t>
            </a:r>
          </a:p>
        </p:txBody>
      </p:sp>
      <p:sp>
        <p:nvSpPr>
          <p:cNvPr id="3" name="Marcador de texto 6">
            <a:extLst>
              <a:ext uri="{FF2B5EF4-FFF2-40B4-BE49-F238E27FC236}">
                <a16:creationId xmlns:a16="http://schemas.microsoft.com/office/drawing/2014/main" id="{7F062745-7849-44C3-BD3F-78518FF608A6}"/>
              </a:ext>
            </a:extLst>
          </p:cNvPr>
          <p:cNvSpPr>
            <a:spLocks noGrp="1"/>
          </p:cNvSpPr>
          <p:nvPr>
            <p:ph type="body" sz="quarter" idx="20" hasCustomPrompt="1"/>
          </p:nvPr>
        </p:nvSpPr>
        <p:spPr>
          <a:xfrm>
            <a:off x="239184" y="6341105"/>
            <a:ext cx="960965" cy="310299"/>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2"/>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6" name="Marcador de texto 6">
            <a:extLst>
              <a:ext uri="{FF2B5EF4-FFF2-40B4-BE49-F238E27FC236}">
                <a16:creationId xmlns:a16="http://schemas.microsoft.com/office/drawing/2014/main" id="{D62782A7-D302-DC9A-52CA-DFB8858A3A7F}"/>
              </a:ext>
            </a:extLst>
          </p:cNvPr>
          <p:cNvSpPr>
            <a:spLocks noGrp="1"/>
          </p:cNvSpPr>
          <p:nvPr>
            <p:ph type="body" sz="quarter" idx="25" hasCustomPrompt="1"/>
          </p:nvPr>
        </p:nvSpPr>
        <p:spPr>
          <a:xfrm>
            <a:off x="0" y="0"/>
            <a:ext cx="12192000" cy="842544"/>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3"/>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12" name="Marcador de texto 5">
            <a:extLst>
              <a:ext uri="{FF2B5EF4-FFF2-40B4-BE49-F238E27FC236}">
                <a16:creationId xmlns:a16="http://schemas.microsoft.com/office/drawing/2014/main" id="{BF41A7F8-8576-FAB4-B055-4E4BE66849E7}"/>
              </a:ext>
            </a:extLst>
          </p:cNvPr>
          <p:cNvSpPr>
            <a:spLocks noGrp="1"/>
          </p:cNvSpPr>
          <p:nvPr>
            <p:ph type="body" sz="quarter" idx="26" hasCustomPrompt="1"/>
          </p:nvPr>
        </p:nvSpPr>
        <p:spPr>
          <a:xfrm>
            <a:off x="4039281" y="6417750"/>
            <a:ext cx="4113439" cy="195084"/>
          </a:xfrm>
          <a:prstGeom prst="rect">
            <a:avLst/>
          </a:prstGeom>
        </p:spPr>
        <p:txBody>
          <a:bodyPr/>
          <a:lstStyle>
            <a:lvl1pPr marL="0" indent="0" algn="ctr">
              <a:buNone/>
              <a:defRPr sz="933">
                <a:solidFill>
                  <a:schemeClr val="accent1"/>
                </a:solidFill>
              </a:defRPr>
            </a:lvl1pPr>
          </a:lstStyle>
          <a:p>
            <a:r>
              <a:rPr lang="es-ES" err="1"/>
              <a:t>Lorem</a:t>
            </a:r>
            <a:r>
              <a:rPr lang="es-ES"/>
              <a:t> </a:t>
            </a:r>
            <a:r>
              <a:rPr lang="es-ES" err="1"/>
              <a:t>ipsum</a:t>
            </a:r>
            <a:r>
              <a:rPr lang="es-ES"/>
              <a:t> dolor </a:t>
            </a:r>
            <a:r>
              <a:rPr lang="es-ES" err="1"/>
              <a:t>sit</a:t>
            </a:r>
            <a:r>
              <a:rPr lang="es-ES"/>
              <a:t> </a:t>
            </a:r>
            <a:r>
              <a:rPr lang="es-ES" err="1"/>
              <a:t>amet</a:t>
            </a:r>
            <a:r>
              <a:rPr lang="es-ES"/>
              <a:t>.</a:t>
            </a:r>
          </a:p>
        </p:txBody>
      </p:sp>
      <p:sp>
        <p:nvSpPr>
          <p:cNvPr id="13" name="Slide Number Placeholder 5">
            <a:extLst>
              <a:ext uri="{FF2B5EF4-FFF2-40B4-BE49-F238E27FC236}">
                <a16:creationId xmlns:a16="http://schemas.microsoft.com/office/drawing/2014/main" id="{12942877-9510-6822-3712-F5A225EC56FE}"/>
              </a:ext>
            </a:extLst>
          </p:cNvPr>
          <p:cNvSpPr>
            <a:spLocks noGrp="1"/>
          </p:cNvSpPr>
          <p:nvPr>
            <p:ph type="sldNum" sz="quarter" idx="4"/>
          </p:nvPr>
        </p:nvSpPr>
        <p:spPr>
          <a:xfrm>
            <a:off x="10910403" y="6356351"/>
            <a:ext cx="1042415" cy="365125"/>
          </a:xfrm>
          <a:prstGeom prst="rect">
            <a:avLst/>
          </a:prstGeom>
        </p:spPr>
        <p:txBody>
          <a:bodyPr vert="horz" lIns="91440" tIns="45720" rIns="91440" bIns="45720" rtlCol="0" anchor="ctr"/>
          <a:lstStyle>
            <a:lvl1pPr algn="r">
              <a:defRPr sz="933">
                <a:solidFill>
                  <a:schemeClr val="accent1"/>
                </a:solidFill>
              </a:defRPr>
            </a:lvl1pPr>
          </a:lstStyle>
          <a:p>
            <a:fld id="{96F64DD7-E411-6141-89FE-121B5323FD5F}" type="slidenum">
              <a:rPr lang="en-US" smtClean="0"/>
              <a:pPr/>
              <a:t>‹Nº›</a:t>
            </a:fld>
            <a:endParaRPr lang="en-US"/>
          </a:p>
        </p:txBody>
      </p:sp>
    </p:spTree>
    <p:extLst>
      <p:ext uri="{BB962C8B-B14F-4D97-AF65-F5344CB8AC3E}">
        <p14:creationId xmlns:p14="http://schemas.microsoft.com/office/powerpoint/2010/main" val="3912021552"/>
      </p:ext>
    </p:extLst>
  </p:cSld>
  <p:clrMapOvr>
    <a:masterClrMapping/>
  </p:clrMapOvr>
  <p:extLst>
    <p:ext uri="{DCECCB84-F9BA-43D5-87BE-67443E8EF086}">
      <p15:sldGuideLst xmlns:p15="http://schemas.microsoft.com/office/powerpoint/2012/main">
        <p15:guide id="1" orient="horz" pos="1620">
          <p15:clr>
            <a:srgbClr val="FBAE40"/>
          </p15:clr>
        </p15:guide>
        <p15:guide id="5" orient="horz" pos="350">
          <p15:clr>
            <a:srgbClr val="FBAE40"/>
          </p15:clr>
        </p15:guide>
        <p15:guide id="6" orient="horz" pos="289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raphic 3">
    <p:bg>
      <p:bgPr>
        <a:solidFill>
          <a:schemeClr val="bg1"/>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025A8A06-DA4D-81C7-0321-2E157F8FFA1E}"/>
              </a:ext>
            </a:extLst>
          </p:cNvPr>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sz="2400"/>
          </a:p>
        </p:txBody>
      </p:sp>
      <p:sp>
        <p:nvSpPr>
          <p:cNvPr id="5" name="Título 1">
            <a:extLst>
              <a:ext uri="{FF2B5EF4-FFF2-40B4-BE49-F238E27FC236}">
                <a16:creationId xmlns:a16="http://schemas.microsoft.com/office/drawing/2014/main" id="{856EC797-B2E5-4D44-0CCC-E8B5F5161774}"/>
              </a:ext>
            </a:extLst>
          </p:cNvPr>
          <p:cNvSpPr>
            <a:spLocks noGrp="1"/>
          </p:cNvSpPr>
          <p:nvPr>
            <p:ph type="title" hasCustomPrompt="1"/>
          </p:nvPr>
        </p:nvSpPr>
        <p:spPr>
          <a:xfrm>
            <a:off x="1201616" y="3774819"/>
            <a:ext cx="4894384" cy="1655527"/>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3733" baseline="0">
                <a:solidFill>
                  <a:schemeClr val="accent2"/>
                </a:solidFill>
              </a:defRPr>
            </a:lvl1pPr>
          </a:lstStyle>
          <a:p>
            <a:r>
              <a:rPr lang="en-US" noProof="0"/>
              <a:t>Headline is Arial Reg.28pt. Lorem ipsum dolor sit </a:t>
            </a:r>
            <a:r>
              <a:rPr lang="en-US" noProof="0" err="1"/>
              <a:t>amet</a:t>
            </a:r>
            <a:r>
              <a:rPr lang="en-US" noProof="0"/>
              <a:t>.</a:t>
            </a:r>
          </a:p>
        </p:txBody>
      </p:sp>
      <p:sp>
        <p:nvSpPr>
          <p:cNvPr id="6" name="Marcador de texto 5">
            <a:extLst>
              <a:ext uri="{FF2B5EF4-FFF2-40B4-BE49-F238E27FC236}">
                <a16:creationId xmlns:a16="http://schemas.microsoft.com/office/drawing/2014/main" id="{AC8221B4-76FB-A554-406F-83AD8D60533C}"/>
              </a:ext>
            </a:extLst>
          </p:cNvPr>
          <p:cNvSpPr>
            <a:spLocks noGrp="1"/>
          </p:cNvSpPr>
          <p:nvPr>
            <p:ph type="body" sz="quarter" idx="12" hasCustomPrompt="1"/>
          </p:nvPr>
        </p:nvSpPr>
        <p:spPr>
          <a:xfrm>
            <a:off x="1201616" y="5445019"/>
            <a:ext cx="4894384" cy="672148"/>
          </a:xfrm>
          <a:prstGeom prst="rect">
            <a:avLst/>
          </a:prstGeom>
        </p:spPr>
        <p:txBody>
          <a:bodyPr lIns="0" tIns="0" rIns="0" bIns="0">
            <a:noAutofit/>
          </a:bodyPr>
          <a:lstStyle>
            <a:lvl1pPr marL="0" indent="0">
              <a:lnSpc>
                <a:spcPct val="100000"/>
              </a:lnSpc>
              <a:spcBef>
                <a:spcPts val="0"/>
              </a:spcBef>
              <a:buNone/>
              <a:defRPr sz="1733" baseline="0">
                <a:solidFill>
                  <a:schemeClr val="accent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Subhead is Arial Regular 13/Simple pt.</a:t>
            </a:r>
          </a:p>
        </p:txBody>
      </p:sp>
      <p:sp>
        <p:nvSpPr>
          <p:cNvPr id="7" name="Marcador de texto 5">
            <a:extLst>
              <a:ext uri="{FF2B5EF4-FFF2-40B4-BE49-F238E27FC236}">
                <a16:creationId xmlns:a16="http://schemas.microsoft.com/office/drawing/2014/main" id="{7A01D350-3347-C1EC-8296-637C64F20F43}"/>
              </a:ext>
            </a:extLst>
          </p:cNvPr>
          <p:cNvSpPr>
            <a:spLocks noGrp="1"/>
          </p:cNvSpPr>
          <p:nvPr>
            <p:ph type="body" sz="quarter" idx="16" hasCustomPrompt="1"/>
          </p:nvPr>
        </p:nvSpPr>
        <p:spPr>
          <a:xfrm>
            <a:off x="6529594" y="3763027"/>
            <a:ext cx="4894057" cy="1106559"/>
          </a:xfrm>
          <a:prstGeom prst="rect">
            <a:avLst/>
          </a:prstGeom>
        </p:spPr>
        <p:txBody>
          <a:bodyPr lIns="0" tIns="0" rIns="0" bIns="0">
            <a:noAutofit/>
          </a:bodyPr>
          <a:lstStyle>
            <a:lvl1pPr marL="0" indent="0">
              <a:lnSpc>
                <a:spcPct val="100000"/>
              </a:lnSpc>
              <a:spcBef>
                <a:spcPts val="0"/>
              </a:spcBef>
              <a:buNone/>
              <a:defRPr sz="1200" baseline="0">
                <a:solidFill>
                  <a:schemeClr val="accent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err="1"/>
              <a:t>Bodycopy</a:t>
            </a:r>
            <a:r>
              <a:rPr lang="en-US" noProof="0"/>
              <a:t> is Arial Regular 9/Simple p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a:t>
            </a:r>
          </a:p>
        </p:txBody>
      </p:sp>
      <p:sp>
        <p:nvSpPr>
          <p:cNvPr id="3" name="Marcador de gráfico 8">
            <a:extLst>
              <a:ext uri="{FF2B5EF4-FFF2-40B4-BE49-F238E27FC236}">
                <a16:creationId xmlns:a16="http://schemas.microsoft.com/office/drawing/2014/main" id="{5D5D00A8-0960-F0FA-D6B8-90D5DF75655B}"/>
              </a:ext>
            </a:extLst>
          </p:cNvPr>
          <p:cNvSpPr>
            <a:spLocks noGrp="1"/>
          </p:cNvSpPr>
          <p:nvPr>
            <p:ph type="chart" sz="quarter" idx="17" hasCustomPrompt="1"/>
          </p:nvPr>
        </p:nvSpPr>
        <p:spPr>
          <a:xfrm>
            <a:off x="768351" y="416437"/>
            <a:ext cx="10655300" cy="3012563"/>
          </a:xfrm>
          <a:prstGeom prst="rect">
            <a:avLst/>
          </a:prstGeom>
        </p:spPr>
        <p:txBody>
          <a:bodyPr/>
          <a:lstStyle/>
          <a:p>
            <a:r>
              <a:rPr lang="en-US" noProof="0"/>
              <a:t>Graphic</a:t>
            </a:r>
          </a:p>
        </p:txBody>
      </p:sp>
      <p:sp>
        <p:nvSpPr>
          <p:cNvPr id="2" name="Marcador de texto 6">
            <a:extLst>
              <a:ext uri="{FF2B5EF4-FFF2-40B4-BE49-F238E27FC236}">
                <a16:creationId xmlns:a16="http://schemas.microsoft.com/office/drawing/2014/main" id="{9677D871-2823-EB68-4E62-A85090543620}"/>
              </a:ext>
            </a:extLst>
          </p:cNvPr>
          <p:cNvSpPr>
            <a:spLocks noGrp="1"/>
          </p:cNvSpPr>
          <p:nvPr>
            <p:ph type="body" sz="quarter" idx="19" hasCustomPrompt="1"/>
          </p:nvPr>
        </p:nvSpPr>
        <p:spPr>
          <a:xfrm>
            <a:off x="239184" y="6341105"/>
            <a:ext cx="960965" cy="310299"/>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2"/>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4" name="Marcador de texto 6">
            <a:extLst>
              <a:ext uri="{FF2B5EF4-FFF2-40B4-BE49-F238E27FC236}">
                <a16:creationId xmlns:a16="http://schemas.microsoft.com/office/drawing/2014/main" id="{73C4D32B-5127-92CD-48A2-24CFA2CABB6E}"/>
              </a:ext>
            </a:extLst>
          </p:cNvPr>
          <p:cNvSpPr>
            <a:spLocks noGrp="1"/>
          </p:cNvSpPr>
          <p:nvPr>
            <p:ph type="body" sz="quarter" idx="25" hasCustomPrompt="1"/>
          </p:nvPr>
        </p:nvSpPr>
        <p:spPr>
          <a:xfrm>
            <a:off x="9760814" y="4890531"/>
            <a:ext cx="2431185" cy="1967469"/>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3"/>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10" name="Marcador de texto 5">
            <a:extLst>
              <a:ext uri="{FF2B5EF4-FFF2-40B4-BE49-F238E27FC236}">
                <a16:creationId xmlns:a16="http://schemas.microsoft.com/office/drawing/2014/main" id="{BD2751A6-E3F4-B290-F28E-82892C2E2844}"/>
              </a:ext>
            </a:extLst>
          </p:cNvPr>
          <p:cNvSpPr>
            <a:spLocks noGrp="1"/>
          </p:cNvSpPr>
          <p:nvPr>
            <p:ph type="body" sz="quarter" idx="26" hasCustomPrompt="1"/>
          </p:nvPr>
        </p:nvSpPr>
        <p:spPr>
          <a:xfrm>
            <a:off x="4039281" y="6417750"/>
            <a:ext cx="4113439" cy="195084"/>
          </a:xfrm>
          <a:prstGeom prst="rect">
            <a:avLst/>
          </a:prstGeom>
        </p:spPr>
        <p:txBody>
          <a:bodyPr/>
          <a:lstStyle>
            <a:lvl1pPr marL="0" indent="0" algn="ctr">
              <a:buNone/>
              <a:defRPr sz="933">
                <a:solidFill>
                  <a:schemeClr val="accent1"/>
                </a:solidFill>
              </a:defRPr>
            </a:lvl1pPr>
          </a:lstStyle>
          <a:p>
            <a:r>
              <a:rPr lang="es-ES" err="1"/>
              <a:t>Lorem</a:t>
            </a:r>
            <a:r>
              <a:rPr lang="es-ES"/>
              <a:t> </a:t>
            </a:r>
            <a:r>
              <a:rPr lang="es-ES" err="1"/>
              <a:t>ipsum</a:t>
            </a:r>
            <a:r>
              <a:rPr lang="es-ES"/>
              <a:t> dolor </a:t>
            </a:r>
            <a:r>
              <a:rPr lang="es-ES" err="1"/>
              <a:t>sit</a:t>
            </a:r>
            <a:r>
              <a:rPr lang="es-ES"/>
              <a:t> </a:t>
            </a:r>
            <a:r>
              <a:rPr lang="es-ES" err="1"/>
              <a:t>amet</a:t>
            </a:r>
            <a:r>
              <a:rPr lang="es-ES"/>
              <a:t>.</a:t>
            </a:r>
          </a:p>
        </p:txBody>
      </p:sp>
      <p:sp>
        <p:nvSpPr>
          <p:cNvPr id="11" name="Slide Number Placeholder 5">
            <a:extLst>
              <a:ext uri="{FF2B5EF4-FFF2-40B4-BE49-F238E27FC236}">
                <a16:creationId xmlns:a16="http://schemas.microsoft.com/office/drawing/2014/main" id="{4EE1E11F-50BD-ACB5-B5C7-BAF4431E9359}"/>
              </a:ext>
            </a:extLst>
          </p:cNvPr>
          <p:cNvSpPr>
            <a:spLocks noGrp="1"/>
          </p:cNvSpPr>
          <p:nvPr>
            <p:ph type="sldNum" sz="quarter" idx="4"/>
          </p:nvPr>
        </p:nvSpPr>
        <p:spPr>
          <a:xfrm>
            <a:off x="10910403" y="6356351"/>
            <a:ext cx="1042415" cy="365125"/>
          </a:xfrm>
          <a:prstGeom prst="rect">
            <a:avLst/>
          </a:prstGeom>
        </p:spPr>
        <p:txBody>
          <a:bodyPr vert="horz" lIns="91440" tIns="45720" rIns="91440" bIns="45720" rtlCol="0" anchor="ctr"/>
          <a:lstStyle>
            <a:lvl1pPr algn="r">
              <a:defRPr sz="933">
                <a:solidFill>
                  <a:schemeClr val="accent1"/>
                </a:solidFill>
              </a:defRPr>
            </a:lvl1pPr>
          </a:lstStyle>
          <a:p>
            <a:fld id="{96F64DD7-E411-6141-89FE-121B5323FD5F}" type="slidenum">
              <a:rPr lang="en-US" smtClean="0"/>
              <a:pPr/>
              <a:t>‹Nº›</a:t>
            </a:fld>
            <a:endParaRPr lang="en-US"/>
          </a:p>
        </p:txBody>
      </p:sp>
    </p:spTree>
    <p:extLst>
      <p:ext uri="{BB962C8B-B14F-4D97-AF65-F5344CB8AC3E}">
        <p14:creationId xmlns:p14="http://schemas.microsoft.com/office/powerpoint/2010/main" val="1435003619"/>
      </p:ext>
    </p:extLst>
  </p:cSld>
  <p:clrMapOvr>
    <a:masterClrMapping/>
  </p:clrMapOvr>
  <p:extLst>
    <p:ext uri="{DCECCB84-F9BA-43D5-87BE-67443E8EF086}">
      <p15:sldGuideLst xmlns:p15="http://schemas.microsoft.com/office/powerpoint/2012/main">
        <p15:guide id="1" orient="horz" pos="1620">
          <p15:clr>
            <a:srgbClr val="FBAE40"/>
          </p15:clr>
        </p15:guide>
        <p15:guide id="5" orient="horz" pos="350">
          <p15:clr>
            <a:srgbClr val="FBAE40"/>
          </p15:clr>
        </p15:guide>
        <p15:guide id="6" orient="horz" pos="289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raphic 4">
    <p:bg>
      <p:bgPr>
        <a:solidFill>
          <a:schemeClr val="bg1"/>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025A8A06-DA4D-81C7-0321-2E157F8FFA1E}"/>
              </a:ext>
            </a:extLst>
          </p:cNvPr>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sz="2400"/>
          </a:p>
        </p:txBody>
      </p:sp>
      <p:sp>
        <p:nvSpPr>
          <p:cNvPr id="5" name="Título 1">
            <a:extLst>
              <a:ext uri="{FF2B5EF4-FFF2-40B4-BE49-F238E27FC236}">
                <a16:creationId xmlns:a16="http://schemas.microsoft.com/office/drawing/2014/main" id="{856EC797-B2E5-4D44-0CCC-E8B5F5161774}"/>
              </a:ext>
            </a:extLst>
          </p:cNvPr>
          <p:cNvSpPr>
            <a:spLocks noGrp="1"/>
          </p:cNvSpPr>
          <p:nvPr>
            <p:ph type="title" hasCustomPrompt="1"/>
          </p:nvPr>
        </p:nvSpPr>
        <p:spPr>
          <a:xfrm>
            <a:off x="6522894" y="740834"/>
            <a:ext cx="4900757" cy="683969"/>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2400" baseline="0">
                <a:solidFill>
                  <a:schemeClr val="accent2"/>
                </a:solidFill>
              </a:defRPr>
            </a:lvl1pPr>
          </a:lstStyle>
          <a:p>
            <a:r>
              <a:rPr lang="en-US" noProof="0"/>
              <a:t>Headline is Arial Reg.18pt.</a:t>
            </a:r>
            <a:br>
              <a:rPr lang="en-US" noProof="0"/>
            </a:br>
            <a:r>
              <a:rPr lang="en-US" noProof="0"/>
              <a:t>Lorem ipsum dolor sit </a:t>
            </a:r>
            <a:r>
              <a:rPr lang="en-US" noProof="0" err="1"/>
              <a:t>amet</a:t>
            </a:r>
            <a:r>
              <a:rPr lang="en-US" noProof="0"/>
              <a:t>.</a:t>
            </a:r>
          </a:p>
        </p:txBody>
      </p:sp>
      <p:sp>
        <p:nvSpPr>
          <p:cNvPr id="3" name="Marcador de gráfico 8">
            <a:extLst>
              <a:ext uri="{FF2B5EF4-FFF2-40B4-BE49-F238E27FC236}">
                <a16:creationId xmlns:a16="http://schemas.microsoft.com/office/drawing/2014/main" id="{5D5D00A8-0960-F0FA-D6B8-90D5DF75655B}"/>
              </a:ext>
            </a:extLst>
          </p:cNvPr>
          <p:cNvSpPr>
            <a:spLocks noGrp="1"/>
          </p:cNvSpPr>
          <p:nvPr>
            <p:ph type="chart" sz="quarter" idx="17" hasCustomPrompt="1"/>
          </p:nvPr>
        </p:nvSpPr>
        <p:spPr>
          <a:xfrm>
            <a:off x="768351" y="2116183"/>
            <a:ext cx="10655300" cy="4000984"/>
          </a:xfrm>
          <a:prstGeom prst="rect">
            <a:avLst/>
          </a:prstGeom>
        </p:spPr>
        <p:txBody>
          <a:bodyPr/>
          <a:lstStyle/>
          <a:p>
            <a:r>
              <a:rPr lang="en-US" noProof="0"/>
              <a:t>Graphic</a:t>
            </a:r>
          </a:p>
        </p:txBody>
      </p:sp>
      <p:sp>
        <p:nvSpPr>
          <p:cNvPr id="2" name="Marcador de texto 6">
            <a:extLst>
              <a:ext uri="{FF2B5EF4-FFF2-40B4-BE49-F238E27FC236}">
                <a16:creationId xmlns:a16="http://schemas.microsoft.com/office/drawing/2014/main" id="{422FF4D3-F267-D790-6569-BFAC5F4AEC77}"/>
              </a:ext>
            </a:extLst>
          </p:cNvPr>
          <p:cNvSpPr>
            <a:spLocks noGrp="1"/>
          </p:cNvSpPr>
          <p:nvPr>
            <p:ph type="body" sz="quarter" idx="19" hasCustomPrompt="1"/>
          </p:nvPr>
        </p:nvSpPr>
        <p:spPr>
          <a:xfrm>
            <a:off x="239184" y="6341105"/>
            <a:ext cx="960965" cy="310299"/>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2"/>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4" name="Marcador de texto 6">
            <a:extLst>
              <a:ext uri="{FF2B5EF4-FFF2-40B4-BE49-F238E27FC236}">
                <a16:creationId xmlns:a16="http://schemas.microsoft.com/office/drawing/2014/main" id="{367CDFC8-6A3B-155E-7022-59F5F7071554}"/>
              </a:ext>
            </a:extLst>
          </p:cNvPr>
          <p:cNvSpPr>
            <a:spLocks noGrp="1"/>
          </p:cNvSpPr>
          <p:nvPr>
            <p:ph type="body" sz="quarter" idx="25" hasCustomPrompt="1"/>
          </p:nvPr>
        </p:nvSpPr>
        <p:spPr>
          <a:xfrm>
            <a:off x="1" y="0"/>
            <a:ext cx="2909412" cy="2354480"/>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3"/>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7" name="Marcador de texto 5">
            <a:extLst>
              <a:ext uri="{FF2B5EF4-FFF2-40B4-BE49-F238E27FC236}">
                <a16:creationId xmlns:a16="http://schemas.microsoft.com/office/drawing/2014/main" id="{BBB0A578-E9F3-C892-3228-4DD1A2691099}"/>
              </a:ext>
            </a:extLst>
          </p:cNvPr>
          <p:cNvSpPr>
            <a:spLocks noGrp="1"/>
          </p:cNvSpPr>
          <p:nvPr>
            <p:ph type="body" sz="quarter" idx="26" hasCustomPrompt="1"/>
          </p:nvPr>
        </p:nvSpPr>
        <p:spPr>
          <a:xfrm>
            <a:off x="4039281" y="6417750"/>
            <a:ext cx="4113439" cy="195084"/>
          </a:xfrm>
          <a:prstGeom prst="rect">
            <a:avLst/>
          </a:prstGeom>
        </p:spPr>
        <p:txBody>
          <a:bodyPr/>
          <a:lstStyle>
            <a:lvl1pPr marL="0" indent="0" algn="ctr">
              <a:buNone/>
              <a:defRPr sz="933">
                <a:solidFill>
                  <a:schemeClr val="accent1"/>
                </a:solidFill>
              </a:defRPr>
            </a:lvl1pPr>
          </a:lstStyle>
          <a:p>
            <a:r>
              <a:rPr lang="es-ES" err="1"/>
              <a:t>Lorem</a:t>
            </a:r>
            <a:r>
              <a:rPr lang="es-ES"/>
              <a:t> </a:t>
            </a:r>
            <a:r>
              <a:rPr lang="es-ES" err="1"/>
              <a:t>ipsum</a:t>
            </a:r>
            <a:r>
              <a:rPr lang="es-ES"/>
              <a:t> dolor </a:t>
            </a:r>
            <a:r>
              <a:rPr lang="es-ES" err="1"/>
              <a:t>sit</a:t>
            </a:r>
            <a:r>
              <a:rPr lang="es-ES"/>
              <a:t> </a:t>
            </a:r>
            <a:r>
              <a:rPr lang="es-ES" err="1"/>
              <a:t>amet</a:t>
            </a:r>
            <a:r>
              <a:rPr lang="es-ES"/>
              <a:t>.</a:t>
            </a:r>
          </a:p>
        </p:txBody>
      </p:sp>
      <p:sp>
        <p:nvSpPr>
          <p:cNvPr id="9" name="Slide Number Placeholder 5">
            <a:extLst>
              <a:ext uri="{FF2B5EF4-FFF2-40B4-BE49-F238E27FC236}">
                <a16:creationId xmlns:a16="http://schemas.microsoft.com/office/drawing/2014/main" id="{28823CA0-88AC-D88C-98E8-E8BA9FA0AAC7}"/>
              </a:ext>
            </a:extLst>
          </p:cNvPr>
          <p:cNvSpPr>
            <a:spLocks noGrp="1"/>
          </p:cNvSpPr>
          <p:nvPr>
            <p:ph type="sldNum" sz="quarter" idx="4"/>
          </p:nvPr>
        </p:nvSpPr>
        <p:spPr>
          <a:xfrm>
            <a:off x="10910403" y="6356351"/>
            <a:ext cx="1042415" cy="365125"/>
          </a:xfrm>
          <a:prstGeom prst="rect">
            <a:avLst/>
          </a:prstGeom>
        </p:spPr>
        <p:txBody>
          <a:bodyPr vert="horz" lIns="91440" tIns="45720" rIns="91440" bIns="45720" rtlCol="0" anchor="ctr"/>
          <a:lstStyle>
            <a:lvl1pPr algn="r">
              <a:defRPr sz="933">
                <a:solidFill>
                  <a:schemeClr val="accent1"/>
                </a:solidFill>
              </a:defRPr>
            </a:lvl1pPr>
          </a:lstStyle>
          <a:p>
            <a:fld id="{96F64DD7-E411-6141-89FE-121B5323FD5F}" type="slidenum">
              <a:rPr lang="en-US" smtClean="0"/>
              <a:pPr/>
              <a:t>‹Nº›</a:t>
            </a:fld>
            <a:endParaRPr lang="en-US"/>
          </a:p>
        </p:txBody>
      </p:sp>
    </p:spTree>
    <p:extLst>
      <p:ext uri="{BB962C8B-B14F-4D97-AF65-F5344CB8AC3E}">
        <p14:creationId xmlns:p14="http://schemas.microsoft.com/office/powerpoint/2010/main" val="2239309909"/>
      </p:ext>
    </p:extLst>
  </p:cSld>
  <p:clrMapOvr>
    <a:masterClrMapping/>
  </p:clrMapOvr>
  <p:extLst>
    <p:ext uri="{DCECCB84-F9BA-43D5-87BE-67443E8EF086}">
      <p15:sldGuideLst xmlns:p15="http://schemas.microsoft.com/office/powerpoint/2012/main">
        <p15:guide id="1" orient="horz" pos="1620">
          <p15:clr>
            <a:srgbClr val="FBAE40"/>
          </p15:clr>
        </p15:guide>
        <p15:guide id="5" orient="horz" pos="350">
          <p15:clr>
            <a:srgbClr val="FBAE40"/>
          </p15:clr>
        </p15:guide>
        <p15:guide id="6" orient="horz" pos="289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raphic 5">
    <p:bg>
      <p:bgPr>
        <a:solidFill>
          <a:schemeClr val="bg1"/>
        </a:solidFill>
        <a:effectLst/>
      </p:bgPr>
    </p:bg>
    <p:spTree>
      <p:nvGrpSpPr>
        <p:cNvPr id="1" name=""/>
        <p:cNvGrpSpPr/>
        <p:nvPr/>
      </p:nvGrpSpPr>
      <p:grpSpPr>
        <a:xfrm>
          <a:off x="0" y="0"/>
          <a:ext cx="0" cy="0"/>
          <a:chOff x="0" y="0"/>
          <a:chExt cx="0" cy="0"/>
        </a:xfrm>
      </p:grpSpPr>
      <p:sp>
        <p:nvSpPr>
          <p:cNvPr id="3" name="Título 1">
            <a:extLst>
              <a:ext uri="{FF2B5EF4-FFF2-40B4-BE49-F238E27FC236}">
                <a16:creationId xmlns:a16="http://schemas.microsoft.com/office/drawing/2014/main" id="{46E0D224-8B6B-A566-0096-16517F05A6AD}"/>
              </a:ext>
            </a:extLst>
          </p:cNvPr>
          <p:cNvSpPr>
            <a:spLocks noGrp="1"/>
          </p:cNvSpPr>
          <p:nvPr>
            <p:ph type="title" hasCustomPrompt="1"/>
          </p:nvPr>
        </p:nvSpPr>
        <p:spPr>
          <a:xfrm>
            <a:off x="786820" y="740834"/>
            <a:ext cx="4207565" cy="2179556"/>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3733" baseline="0">
                <a:solidFill>
                  <a:schemeClr val="accent2"/>
                </a:solidFill>
              </a:defRPr>
            </a:lvl1pPr>
          </a:lstStyle>
          <a:p>
            <a:r>
              <a:rPr lang="en-US" noProof="0"/>
              <a:t>Headline is Arial Reg.28pt.</a:t>
            </a:r>
            <a:br>
              <a:rPr lang="en-US" noProof="0"/>
            </a:br>
            <a:r>
              <a:rPr lang="en-US" noProof="0"/>
              <a:t>Lorem ipsum </a:t>
            </a:r>
            <a:br>
              <a:rPr lang="en-US" noProof="0"/>
            </a:br>
            <a:r>
              <a:rPr lang="en-US" noProof="0"/>
              <a:t>dolor sit </a:t>
            </a:r>
            <a:r>
              <a:rPr lang="en-US" noProof="0" err="1"/>
              <a:t>amet</a:t>
            </a:r>
            <a:r>
              <a:rPr lang="en-US" noProof="0"/>
              <a:t>.</a:t>
            </a:r>
          </a:p>
        </p:txBody>
      </p:sp>
      <p:sp>
        <p:nvSpPr>
          <p:cNvPr id="6" name="Marcador de texto 5">
            <a:extLst>
              <a:ext uri="{FF2B5EF4-FFF2-40B4-BE49-F238E27FC236}">
                <a16:creationId xmlns:a16="http://schemas.microsoft.com/office/drawing/2014/main" id="{EA92F4F0-F2F5-E919-C50E-FFA34693DF9C}"/>
              </a:ext>
            </a:extLst>
          </p:cNvPr>
          <p:cNvSpPr>
            <a:spLocks noGrp="1"/>
          </p:cNvSpPr>
          <p:nvPr>
            <p:ph type="body" sz="quarter" idx="12" hasCustomPrompt="1"/>
          </p:nvPr>
        </p:nvSpPr>
        <p:spPr>
          <a:xfrm>
            <a:off x="768352" y="2920390"/>
            <a:ext cx="2971800" cy="550917"/>
          </a:xfrm>
          <a:prstGeom prst="rect">
            <a:avLst/>
          </a:prstGeom>
        </p:spPr>
        <p:txBody>
          <a:bodyPr lIns="0" tIns="0" rIns="0" bIns="0">
            <a:noAutofit/>
          </a:bodyPr>
          <a:lstStyle>
            <a:lvl1pPr marL="0" indent="0">
              <a:lnSpc>
                <a:spcPct val="100000"/>
              </a:lnSpc>
              <a:spcBef>
                <a:spcPts val="0"/>
              </a:spcBef>
              <a:buNone/>
              <a:defRPr sz="1733" baseline="0">
                <a:solidFill>
                  <a:schemeClr val="accent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Subhead is Arial Regular 13/Simple pt.</a:t>
            </a:r>
          </a:p>
        </p:txBody>
      </p:sp>
      <p:sp>
        <p:nvSpPr>
          <p:cNvPr id="4" name="Marcador de tabla 3">
            <a:extLst>
              <a:ext uri="{FF2B5EF4-FFF2-40B4-BE49-F238E27FC236}">
                <a16:creationId xmlns:a16="http://schemas.microsoft.com/office/drawing/2014/main" id="{0CEF07A0-CECE-6CA6-1695-0F0528C8EDCA}"/>
              </a:ext>
            </a:extLst>
          </p:cNvPr>
          <p:cNvSpPr>
            <a:spLocks noGrp="1"/>
          </p:cNvSpPr>
          <p:nvPr>
            <p:ph type="tbl" sz="quarter" idx="19" hasCustomPrompt="1"/>
          </p:nvPr>
        </p:nvSpPr>
        <p:spPr>
          <a:xfrm>
            <a:off x="6096000" y="740834"/>
            <a:ext cx="5327651" cy="5376333"/>
          </a:xfrm>
          <a:prstGeom prst="rect">
            <a:avLst/>
          </a:prstGeom>
        </p:spPr>
        <p:txBody>
          <a:bodyPr/>
          <a:lstStyle/>
          <a:p>
            <a:r>
              <a:rPr lang="en-US" noProof="0"/>
              <a:t>Table</a:t>
            </a:r>
          </a:p>
        </p:txBody>
      </p:sp>
      <p:sp>
        <p:nvSpPr>
          <p:cNvPr id="8" name="Marcador de texto 6">
            <a:extLst>
              <a:ext uri="{FF2B5EF4-FFF2-40B4-BE49-F238E27FC236}">
                <a16:creationId xmlns:a16="http://schemas.microsoft.com/office/drawing/2014/main" id="{A8C5DB01-3E9B-9C8A-AE19-CAACD23B3B7B}"/>
              </a:ext>
            </a:extLst>
          </p:cNvPr>
          <p:cNvSpPr>
            <a:spLocks noGrp="1"/>
          </p:cNvSpPr>
          <p:nvPr>
            <p:ph type="body" sz="quarter" idx="24" hasCustomPrompt="1"/>
          </p:nvPr>
        </p:nvSpPr>
        <p:spPr>
          <a:xfrm>
            <a:off x="1688123" y="4540384"/>
            <a:ext cx="3188677" cy="2317616"/>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2"/>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10" name="Marcador de texto 5">
            <a:extLst>
              <a:ext uri="{FF2B5EF4-FFF2-40B4-BE49-F238E27FC236}">
                <a16:creationId xmlns:a16="http://schemas.microsoft.com/office/drawing/2014/main" id="{D1B8BCD3-5425-0F98-05E5-1B15A7C9FB7E}"/>
              </a:ext>
            </a:extLst>
          </p:cNvPr>
          <p:cNvSpPr>
            <a:spLocks noGrp="1"/>
          </p:cNvSpPr>
          <p:nvPr>
            <p:ph type="body" sz="quarter" idx="25" hasCustomPrompt="1"/>
          </p:nvPr>
        </p:nvSpPr>
        <p:spPr>
          <a:xfrm>
            <a:off x="4039281" y="6417750"/>
            <a:ext cx="4113439" cy="195084"/>
          </a:xfrm>
          <a:prstGeom prst="rect">
            <a:avLst/>
          </a:prstGeom>
        </p:spPr>
        <p:txBody>
          <a:bodyPr/>
          <a:lstStyle>
            <a:lvl1pPr marL="0" indent="0" algn="ctr">
              <a:buNone/>
              <a:defRPr sz="933">
                <a:solidFill>
                  <a:schemeClr val="accent1"/>
                </a:solidFill>
              </a:defRPr>
            </a:lvl1pPr>
          </a:lstStyle>
          <a:p>
            <a:r>
              <a:rPr lang="es-ES" err="1"/>
              <a:t>Lorem</a:t>
            </a:r>
            <a:r>
              <a:rPr lang="es-ES"/>
              <a:t> </a:t>
            </a:r>
            <a:r>
              <a:rPr lang="es-ES" err="1"/>
              <a:t>ipsum</a:t>
            </a:r>
            <a:r>
              <a:rPr lang="es-ES"/>
              <a:t> dolor </a:t>
            </a:r>
            <a:r>
              <a:rPr lang="es-ES" err="1"/>
              <a:t>sit</a:t>
            </a:r>
            <a:r>
              <a:rPr lang="es-ES"/>
              <a:t> </a:t>
            </a:r>
            <a:r>
              <a:rPr lang="es-ES" err="1"/>
              <a:t>amet</a:t>
            </a:r>
            <a:r>
              <a:rPr lang="es-ES"/>
              <a:t>.</a:t>
            </a:r>
          </a:p>
        </p:txBody>
      </p:sp>
      <p:sp>
        <p:nvSpPr>
          <p:cNvPr id="11" name="Marcador de texto 6">
            <a:extLst>
              <a:ext uri="{FF2B5EF4-FFF2-40B4-BE49-F238E27FC236}">
                <a16:creationId xmlns:a16="http://schemas.microsoft.com/office/drawing/2014/main" id="{4390F06E-C59E-749B-80C3-AF56AFABDD60}"/>
              </a:ext>
            </a:extLst>
          </p:cNvPr>
          <p:cNvSpPr>
            <a:spLocks noGrp="1"/>
          </p:cNvSpPr>
          <p:nvPr>
            <p:ph type="body" sz="quarter" idx="20" hasCustomPrompt="1"/>
          </p:nvPr>
        </p:nvSpPr>
        <p:spPr>
          <a:xfrm>
            <a:off x="239184" y="6341105"/>
            <a:ext cx="960965" cy="310299"/>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3"/>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12" name="Slide Number Placeholder 5">
            <a:extLst>
              <a:ext uri="{FF2B5EF4-FFF2-40B4-BE49-F238E27FC236}">
                <a16:creationId xmlns:a16="http://schemas.microsoft.com/office/drawing/2014/main" id="{261BCF5A-E2E5-68B1-32A4-D28523E24347}"/>
              </a:ext>
            </a:extLst>
          </p:cNvPr>
          <p:cNvSpPr>
            <a:spLocks noGrp="1"/>
          </p:cNvSpPr>
          <p:nvPr>
            <p:ph type="sldNum" sz="quarter" idx="4"/>
          </p:nvPr>
        </p:nvSpPr>
        <p:spPr>
          <a:xfrm>
            <a:off x="10910403" y="6356351"/>
            <a:ext cx="1042415" cy="365125"/>
          </a:xfrm>
          <a:prstGeom prst="rect">
            <a:avLst/>
          </a:prstGeom>
        </p:spPr>
        <p:txBody>
          <a:bodyPr vert="horz" lIns="91440" tIns="45720" rIns="91440" bIns="45720" rtlCol="0" anchor="ctr"/>
          <a:lstStyle>
            <a:lvl1pPr algn="r">
              <a:defRPr sz="933">
                <a:solidFill>
                  <a:schemeClr val="accent1"/>
                </a:solidFill>
              </a:defRPr>
            </a:lvl1pPr>
          </a:lstStyle>
          <a:p>
            <a:fld id="{96F64DD7-E411-6141-89FE-121B5323FD5F}" type="slidenum">
              <a:rPr lang="en-US" smtClean="0"/>
              <a:pPr/>
              <a:t>‹Nº›</a:t>
            </a:fld>
            <a:endParaRPr lang="en-US"/>
          </a:p>
        </p:txBody>
      </p:sp>
    </p:spTree>
    <p:extLst>
      <p:ext uri="{BB962C8B-B14F-4D97-AF65-F5344CB8AC3E}">
        <p14:creationId xmlns:p14="http://schemas.microsoft.com/office/powerpoint/2010/main" val="698699333"/>
      </p:ext>
    </p:extLst>
  </p:cSld>
  <p:clrMapOvr>
    <a:masterClrMapping/>
  </p:clrMapOvr>
  <p:extLst>
    <p:ext uri="{DCECCB84-F9BA-43D5-87BE-67443E8EF086}">
      <p15:sldGuideLst xmlns:p15="http://schemas.microsoft.com/office/powerpoint/2012/main">
        <p15:guide id="1" orient="horz" pos="1620">
          <p15:clr>
            <a:srgbClr val="FBAE40"/>
          </p15:clr>
        </p15:guide>
        <p15:guide id="5" orient="horz" pos="350">
          <p15:clr>
            <a:srgbClr val="FBAE40"/>
          </p15:clr>
        </p15:guide>
        <p15:guide id="6" orient="horz" pos="289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Graphic 6">
    <p:bg>
      <p:bgPr>
        <a:solidFill>
          <a:schemeClr val="bg1"/>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025A8A06-DA4D-81C7-0321-2E157F8FFA1E}"/>
              </a:ext>
            </a:extLst>
          </p:cNvPr>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sz="2400"/>
          </a:p>
        </p:txBody>
      </p:sp>
      <p:sp>
        <p:nvSpPr>
          <p:cNvPr id="5" name="Título 1">
            <a:extLst>
              <a:ext uri="{FF2B5EF4-FFF2-40B4-BE49-F238E27FC236}">
                <a16:creationId xmlns:a16="http://schemas.microsoft.com/office/drawing/2014/main" id="{856EC797-B2E5-4D44-0CCC-E8B5F5161774}"/>
              </a:ext>
            </a:extLst>
          </p:cNvPr>
          <p:cNvSpPr>
            <a:spLocks noGrp="1"/>
          </p:cNvSpPr>
          <p:nvPr>
            <p:ph type="title" hasCustomPrompt="1"/>
          </p:nvPr>
        </p:nvSpPr>
        <p:spPr>
          <a:xfrm>
            <a:off x="6529592" y="740834"/>
            <a:ext cx="4894059" cy="683969"/>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2400" baseline="0">
                <a:solidFill>
                  <a:schemeClr val="accent2"/>
                </a:solidFill>
              </a:defRPr>
            </a:lvl1pPr>
          </a:lstStyle>
          <a:p>
            <a:r>
              <a:rPr lang="en-US" noProof="0"/>
              <a:t>Headline is Arial Reg.18pt.</a:t>
            </a:r>
            <a:br>
              <a:rPr lang="en-US" noProof="0"/>
            </a:br>
            <a:r>
              <a:rPr lang="en-US" noProof="0"/>
              <a:t>Lorem ipsum dolor sit </a:t>
            </a:r>
            <a:r>
              <a:rPr lang="en-US" noProof="0" err="1"/>
              <a:t>amet</a:t>
            </a:r>
            <a:r>
              <a:rPr lang="en-US" noProof="0"/>
              <a:t>.</a:t>
            </a:r>
          </a:p>
        </p:txBody>
      </p:sp>
      <p:sp>
        <p:nvSpPr>
          <p:cNvPr id="2" name="Marcador de tabla 3">
            <a:extLst>
              <a:ext uri="{FF2B5EF4-FFF2-40B4-BE49-F238E27FC236}">
                <a16:creationId xmlns:a16="http://schemas.microsoft.com/office/drawing/2014/main" id="{E0621769-7D6B-E5BC-3BCD-88BB813DB283}"/>
              </a:ext>
            </a:extLst>
          </p:cNvPr>
          <p:cNvSpPr>
            <a:spLocks noGrp="1"/>
          </p:cNvSpPr>
          <p:nvPr>
            <p:ph type="tbl" sz="quarter" idx="19" hasCustomPrompt="1"/>
          </p:nvPr>
        </p:nvSpPr>
        <p:spPr>
          <a:xfrm>
            <a:off x="768350" y="2108079"/>
            <a:ext cx="10655300" cy="4009088"/>
          </a:xfrm>
          <a:prstGeom prst="rect">
            <a:avLst/>
          </a:prstGeom>
        </p:spPr>
        <p:txBody>
          <a:bodyPr/>
          <a:lstStyle/>
          <a:p>
            <a:r>
              <a:rPr lang="en-US" noProof="0"/>
              <a:t>Table</a:t>
            </a:r>
          </a:p>
        </p:txBody>
      </p:sp>
      <p:sp>
        <p:nvSpPr>
          <p:cNvPr id="3" name="Marcador de texto 6">
            <a:extLst>
              <a:ext uri="{FF2B5EF4-FFF2-40B4-BE49-F238E27FC236}">
                <a16:creationId xmlns:a16="http://schemas.microsoft.com/office/drawing/2014/main" id="{BFB4B3F5-91C5-0D85-C7EC-D7A828103E66}"/>
              </a:ext>
            </a:extLst>
          </p:cNvPr>
          <p:cNvSpPr>
            <a:spLocks noGrp="1"/>
          </p:cNvSpPr>
          <p:nvPr>
            <p:ph type="body" sz="quarter" idx="20" hasCustomPrompt="1"/>
          </p:nvPr>
        </p:nvSpPr>
        <p:spPr>
          <a:xfrm>
            <a:off x="239184" y="6341105"/>
            <a:ext cx="960965" cy="310299"/>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2"/>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4" name="Marcador de texto 6">
            <a:extLst>
              <a:ext uri="{FF2B5EF4-FFF2-40B4-BE49-F238E27FC236}">
                <a16:creationId xmlns:a16="http://schemas.microsoft.com/office/drawing/2014/main" id="{8C37FD98-E74E-6123-7093-265F09E1220C}"/>
              </a:ext>
            </a:extLst>
          </p:cNvPr>
          <p:cNvSpPr>
            <a:spLocks noGrp="1"/>
          </p:cNvSpPr>
          <p:nvPr>
            <p:ph type="body" sz="quarter" idx="25" hasCustomPrompt="1"/>
          </p:nvPr>
        </p:nvSpPr>
        <p:spPr>
          <a:xfrm>
            <a:off x="1" y="0"/>
            <a:ext cx="2909412" cy="2354480"/>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3"/>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7" name="Marcador de texto 5">
            <a:extLst>
              <a:ext uri="{FF2B5EF4-FFF2-40B4-BE49-F238E27FC236}">
                <a16:creationId xmlns:a16="http://schemas.microsoft.com/office/drawing/2014/main" id="{2053CA32-29B8-A1F3-B70F-512BD0B74993}"/>
              </a:ext>
            </a:extLst>
          </p:cNvPr>
          <p:cNvSpPr>
            <a:spLocks noGrp="1"/>
          </p:cNvSpPr>
          <p:nvPr>
            <p:ph type="body" sz="quarter" idx="26" hasCustomPrompt="1"/>
          </p:nvPr>
        </p:nvSpPr>
        <p:spPr>
          <a:xfrm>
            <a:off x="4039281" y="6417750"/>
            <a:ext cx="4113439" cy="195084"/>
          </a:xfrm>
          <a:prstGeom prst="rect">
            <a:avLst/>
          </a:prstGeom>
        </p:spPr>
        <p:txBody>
          <a:bodyPr/>
          <a:lstStyle>
            <a:lvl1pPr marL="0" indent="0" algn="ctr">
              <a:buNone/>
              <a:defRPr sz="933">
                <a:solidFill>
                  <a:schemeClr val="accent1"/>
                </a:solidFill>
              </a:defRPr>
            </a:lvl1pPr>
          </a:lstStyle>
          <a:p>
            <a:r>
              <a:rPr lang="es-ES" err="1"/>
              <a:t>Lorem</a:t>
            </a:r>
            <a:r>
              <a:rPr lang="es-ES"/>
              <a:t> </a:t>
            </a:r>
            <a:r>
              <a:rPr lang="es-ES" err="1"/>
              <a:t>ipsum</a:t>
            </a:r>
            <a:r>
              <a:rPr lang="es-ES"/>
              <a:t> dolor </a:t>
            </a:r>
            <a:r>
              <a:rPr lang="es-ES" err="1"/>
              <a:t>sit</a:t>
            </a:r>
            <a:r>
              <a:rPr lang="es-ES"/>
              <a:t> </a:t>
            </a:r>
            <a:r>
              <a:rPr lang="es-ES" err="1"/>
              <a:t>amet</a:t>
            </a:r>
            <a:r>
              <a:rPr lang="es-ES"/>
              <a:t>.</a:t>
            </a:r>
          </a:p>
        </p:txBody>
      </p:sp>
      <p:sp>
        <p:nvSpPr>
          <p:cNvPr id="9" name="Slide Number Placeholder 5">
            <a:extLst>
              <a:ext uri="{FF2B5EF4-FFF2-40B4-BE49-F238E27FC236}">
                <a16:creationId xmlns:a16="http://schemas.microsoft.com/office/drawing/2014/main" id="{C145BD4A-5EAA-99B7-8F9D-5269F8FB921F}"/>
              </a:ext>
            </a:extLst>
          </p:cNvPr>
          <p:cNvSpPr>
            <a:spLocks noGrp="1"/>
          </p:cNvSpPr>
          <p:nvPr>
            <p:ph type="sldNum" sz="quarter" idx="4"/>
          </p:nvPr>
        </p:nvSpPr>
        <p:spPr>
          <a:xfrm>
            <a:off x="10910403" y="6356351"/>
            <a:ext cx="1042415" cy="365125"/>
          </a:xfrm>
          <a:prstGeom prst="rect">
            <a:avLst/>
          </a:prstGeom>
        </p:spPr>
        <p:txBody>
          <a:bodyPr vert="horz" lIns="91440" tIns="45720" rIns="91440" bIns="45720" rtlCol="0" anchor="ctr"/>
          <a:lstStyle>
            <a:lvl1pPr algn="r">
              <a:defRPr sz="933">
                <a:solidFill>
                  <a:schemeClr val="accent1"/>
                </a:solidFill>
              </a:defRPr>
            </a:lvl1pPr>
          </a:lstStyle>
          <a:p>
            <a:fld id="{96F64DD7-E411-6141-89FE-121B5323FD5F}" type="slidenum">
              <a:rPr lang="en-US" smtClean="0"/>
              <a:pPr/>
              <a:t>‹Nº›</a:t>
            </a:fld>
            <a:endParaRPr lang="en-US"/>
          </a:p>
        </p:txBody>
      </p:sp>
    </p:spTree>
    <p:extLst>
      <p:ext uri="{BB962C8B-B14F-4D97-AF65-F5344CB8AC3E}">
        <p14:creationId xmlns:p14="http://schemas.microsoft.com/office/powerpoint/2010/main" val="3430902881"/>
      </p:ext>
    </p:extLst>
  </p:cSld>
  <p:clrMapOvr>
    <a:masterClrMapping/>
  </p:clrMapOvr>
  <p:extLst>
    <p:ext uri="{DCECCB84-F9BA-43D5-87BE-67443E8EF086}">
      <p15:sldGuideLst xmlns:p15="http://schemas.microsoft.com/office/powerpoint/2012/main">
        <p15:guide id="1" orient="horz" pos="1620">
          <p15:clr>
            <a:srgbClr val="FBAE40"/>
          </p15:clr>
        </p15:guide>
        <p15:guide id="5" orient="horz" pos="350">
          <p15:clr>
            <a:srgbClr val="FBAE40"/>
          </p15:clr>
        </p15:guide>
        <p15:guide id="6" orient="horz" pos="289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ack cover">
    <p:bg>
      <p:bgPr>
        <a:solidFill>
          <a:schemeClr val="bg1"/>
        </a:solidFill>
        <a:effectLst/>
      </p:bgPr>
    </p:bg>
    <p:spTree>
      <p:nvGrpSpPr>
        <p:cNvPr id="1" name=""/>
        <p:cNvGrpSpPr/>
        <p:nvPr/>
      </p:nvGrpSpPr>
      <p:grpSpPr>
        <a:xfrm>
          <a:off x="0" y="0"/>
          <a:ext cx="0" cy="0"/>
          <a:chOff x="0" y="0"/>
          <a:chExt cx="0" cy="0"/>
        </a:xfrm>
      </p:grpSpPr>
      <p:sp>
        <p:nvSpPr>
          <p:cNvPr id="6" name="Marcador de texto 6">
            <a:extLst>
              <a:ext uri="{FF2B5EF4-FFF2-40B4-BE49-F238E27FC236}">
                <a16:creationId xmlns:a16="http://schemas.microsoft.com/office/drawing/2014/main" id="{EDB23873-6C69-BA7F-1949-367D5FEED74B}"/>
              </a:ext>
            </a:extLst>
          </p:cNvPr>
          <p:cNvSpPr>
            <a:spLocks noGrp="1"/>
          </p:cNvSpPr>
          <p:nvPr>
            <p:ph type="body" sz="quarter" idx="22" hasCustomPrompt="1"/>
          </p:nvPr>
        </p:nvSpPr>
        <p:spPr>
          <a:xfrm>
            <a:off x="6730850" y="0"/>
            <a:ext cx="5461151" cy="6858000"/>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2"/>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3" name="Título 1">
            <a:extLst>
              <a:ext uri="{FF2B5EF4-FFF2-40B4-BE49-F238E27FC236}">
                <a16:creationId xmlns:a16="http://schemas.microsoft.com/office/drawing/2014/main" id="{7939A6D0-D083-2A8F-0726-87C1259B202A}"/>
              </a:ext>
            </a:extLst>
          </p:cNvPr>
          <p:cNvSpPr>
            <a:spLocks noGrp="1"/>
          </p:cNvSpPr>
          <p:nvPr>
            <p:ph type="title" hasCustomPrompt="1"/>
          </p:nvPr>
        </p:nvSpPr>
        <p:spPr>
          <a:xfrm>
            <a:off x="768351" y="760247"/>
            <a:ext cx="4389648" cy="2904732"/>
          </a:xfrm>
          <a:prstGeom prst="rect">
            <a:avLst/>
          </a:prstGeom>
        </p:spPr>
        <p:txBody>
          <a:bodyPr lIns="0" tIns="0" rIns="0" bIns="0"/>
          <a:lstStyle>
            <a:lvl1pPr marL="0" marR="0" indent="0" algn="l" defTabSz="914377" rtl="0" eaLnBrk="1" fontAlgn="auto" latinLnBrk="0" hangingPunct="1">
              <a:lnSpc>
                <a:spcPts val="5600"/>
              </a:lnSpc>
              <a:spcBef>
                <a:spcPct val="0"/>
              </a:spcBef>
              <a:spcAft>
                <a:spcPts val="0"/>
              </a:spcAft>
              <a:buClrTx/>
              <a:buSzTx/>
              <a:buFontTx/>
              <a:buNone/>
              <a:tabLst/>
              <a:defRPr sz="7200" baseline="0">
                <a:solidFill>
                  <a:schemeClr val="accent1"/>
                </a:solidFill>
              </a:defRPr>
            </a:lvl1pPr>
          </a:lstStyle>
          <a:p>
            <a:r>
              <a:rPr lang="en-US" noProof="0"/>
              <a:t>Thank</a:t>
            </a:r>
            <a:br>
              <a:rPr lang="en-US" noProof="0"/>
            </a:br>
            <a:r>
              <a:rPr lang="en-US" noProof="0"/>
              <a:t>you</a:t>
            </a:r>
          </a:p>
        </p:txBody>
      </p:sp>
      <p:sp>
        <p:nvSpPr>
          <p:cNvPr id="2" name="Marcador de texto 6">
            <a:extLst>
              <a:ext uri="{FF2B5EF4-FFF2-40B4-BE49-F238E27FC236}">
                <a16:creationId xmlns:a16="http://schemas.microsoft.com/office/drawing/2014/main" id="{9D0AAD94-105A-57EA-6CD1-CA7CDCF365ED}"/>
              </a:ext>
            </a:extLst>
          </p:cNvPr>
          <p:cNvSpPr>
            <a:spLocks noGrp="1"/>
          </p:cNvSpPr>
          <p:nvPr>
            <p:ph type="body" sz="quarter" idx="20" hasCustomPrompt="1"/>
          </p:nvPr>
        </p:nvSpPr>
        <p:spPr>
          <a:xfrm>
            <a:off x="394249" y="6068484"/>
            <a:ext cx="1611803" cy="520456"/>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3"/>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Tree>
    <p:extLst>
      <p:ext uri="{BB962C8B-B14F-4D97-AF65-F5344CB8AC3E}">
        <p14:creationId xmlns:p14="http://schemas.microsoft.com/office/powerpoint/2010/main" val="113618556"/>
      </p:ext>
    </p:extLst>
  </p:cSld>
  <p:clrMapOvr>
    <a:masterClrMapping/>
  </p:clrMapOvr>
  <p:extLst>
    <p:ext uri="{DCECCB84-F9BA-43D5-87BE-67443E8EF086}">
      <p15:sldGuideLst xmlns:p15="http://schemas.microsoft.com/office/powerpoint/2012/main">
        <p15:guide id="1" orient="horz" pos="2867">
          <p15:clr>
            <a:srgbClr val="FBAE40"/>
          </p15:clr>
        </p15:guide>
        <p15:guide id="2" pos="2880">
          <p15:clr>
            <a:srgbClr val="FBAE40"/>
          </p15:clr>
        </p15:guide>
        <p15:guide id="3" orient="horz" pos="35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4_BEST FIT">
    <p:bg>
      <p:bgPr>
        <a:solidFill>
          <a:schemeClr val="bg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057F6F9D-641F-4F3E-B189-6D48E2F78FB5}"/>
              </a:ext>
            </a:extLst>
          </p:cNvPr>
          <p:cNvPicPr>
            <a:picLocks noChangeAspect="1"/>
          </p:cNvPicPr>
          <p:nvPr userDrawn="1"/>
        </p:nvPicPr>
        <p:blipFill>
          <a:blip r:embed="rId2"/>
          <a:stretch>
            <a:fillRect/>
          </a:stretch>
        </p:blipFill>
        <p:spPr>
          <a:xfrm>
            <a:off x="0" y="5595933"/>
            <a:ext cx="2079437" cy="1262068"/>
          </a:xfrm>
          <a:prstGeom prst="rect">
            <a:avLst/>
          </a:prstGeom>
        </p:spPr>
      </p:pic>
    </p:spTree>
    <p:extLst>
      <p:ext uri="{BB962C8B-B14F-4D97-AF65-F5344CB8AC3E}">
        <p14:creationId xmlns:p14="http://schemas.microsoft.com/office/powerpoint/2010/main" val="195566493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4400">
          <p15:clr>
            <a:srgbClr val="FBAE40"/>
          </p15:clr>
        </p15:guide>
        <p15:guide id="5" orient="horz" pos="259">
          <p15:clr>
            <a:srgbClr val="FBAE40"/>
          </p15:clr>
        </p15:guide>
        <p15:guide id="6" orient="horz" pos="79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1-2-LINE HEADLINE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40418" y="515273"/>
            <a:ext cx="10346231" cy="880781"/>
          </a:xfrm>
        </p:spPr>
        <p:txBody>
          <a:bodyPr/>
          <a:lstStyle/>
          <a:p>
            <a:r>
              <a:rPr lang="en-US" dirty="0"/>
              <a:t>Click to edit Master title style</a:t>
            </a:r>
          </a:p>
        </p:txBody>
      </p:sp>
      <p:sp>
        <p:nvSpPr>
          <p:cNvPr id="3" name="Content Placeholder 2"/>
          <p:cNvSpPr>
            <a:spLocks noGrp="1"/>
          </p:cNvSpPr>
          <p:nvPr>
            <p:ph idx="1"/>
          </p:nvPr>
        </p:nvSpPr>
        <p:spPr>
          <a:xfrm>
            <a:off x="1240418" y="1628274"/>
            <a:ext cx="10346231" cy="47684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11270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4"/>
        <p:cNvGrpSpPr/>
        <p:nvPr/>
      </p:nvGrpSpPr>
      <p:grpSpPr>
        <a:xfrm>
          <a:off x="0" y="0"/>
          <a:ext cx="0" cy="0"/>
          <a:chOff x="0" y="0"/>
          <a:chExt cx="0" cy="0"/>
        </a:xfrm>
      </p:grpSpPr>
      <p:sp>
        <p:nvSpPr>
          <p:cNvPr id="25" name="Google Shape;25;p6"/>
          <p:cNvSpPr txBox="1">
            <a:spLocks noGrp="1"/>
          </p:cNvSpPr>
          <p:nvPr>
            <p:ph type="title"/>
          </p:nvPr>
        </p:nvSpPr>
        <p:spPr>
          <a:xfrm>
            <a:off x="603400" y="548633"/>
            <a:ext cx="10985200" cy="748800"/>
          </a:xfrm>
          <a:prstGeom prst="rect">
            <a:avLst/>
          </a:prstGeom>
          <a:ln>
            <a:noFill/>
          </a:ln>
        </p:spPr>
        <p:txBody>
          <a:bodyPr spcFirstLastPara="1" wrap="square" lIns="91425" tIns="91425" rIns="91425" bIns="91425" anchor="t" anchorCtr="0">
            <a:noAutofit/>
          </a:bodyPr>
          <a:lstStyle>
            <a:lvl1pPr lvl="0" algn="ctr" rtl="0">
              <a:spcBef>
                <a:spcPts val="0"/>
              </a:spcBef>
              <a:spcAft>
                <a:spcPts val="0"/>
              </a:spcAft>
              <a:buClr>
                <a:schemeClr val="dk1"/>
              </a:buClr>
              <a:buSzPts val="2400"/>
              <a:buFont typeface="Fira Sans Extra Condensed"/>
              <a:buNone/>
              <a:defRPr sz="3200" b="1">
                <a:solidFill>
                  <a:schemeClr val="dk1"/>
                </a:solidFill>
              </a:defRPr>
            </a:lvl1pPr>
            <a:lvl2pPr lvl="1" algn="ctr" rtl="0">
              <a:spcBef>
                <a:spcPts val="0"/>
              </a:spcBef>
              <a:spcAft>
                <a:spcPts val="0"/>
              </a:spcAft>
              <a:buClr>
                <a:schemeClr val="dk1"/>
              </a:buClr>
              <a:buSzPts val="2400"/>
              <a:buFont typeface="Fira Sans Extra Condensed"/>
              <a:buNone/>
              <a:defRPr sz="3200" b="1">
                <a:solidFill>
                  <a:schemeClr val="dk1"/>
                </a:solidFill>
                <a:latin typeface="Fira Sans Extra Condensed"/>
                <a:ea typeface="Fira Sans Extra Condensed"/>
                <a:cs typeface="Fira Sans Extra Condensed"/>
                <a:sym typeface="Fira Sans Extra Condensed"/>
              </a:defRPr>
            </a:lvl2pPr>
            <a:lvl3pPr lvl="2" algn="ctr" rtl="0">
              <a:spcBef>
                <a:spcPts val="0"/>
              </a:spcBef>
              <a:spcAft>
                <a:spcPts val="0"/>
              </a:spcAft>
              <a:buClr>
                <a:schemeClr val="dk1"/>
              </a:buClr>
              <a:buSzPts val="2400"/>
              <a:buFont typeface="Fira Sans Extra Condensed"/>
              <a:buNone/>
              <a:defRPr sz="3200" b="1">
                <a:solidFill>
                  <a:schemeClr val="dk1"/>
                </a:solidFill>
                <a:latin typeface="Fira Sans Extra Condensed"/>
                <a:ea typeface="Fira Sans Extra Condensed"/>
                <a:cs typeface="Fira Sans Extra Condensed"/>
                <a:sym typeface="Fira Sans Extra Condensed"/>
              </a:defRPr>
            </a:lvl3pPr>
            <a:lvl4pPr lvl="3" algn="ctr" rtl="0">
              <a:spcBef>
                <a:spcPts val="0"/>
              </a:spcBef>
              <a:spcAft>
                <a:spcPts val="0"/>
              </a:spcAft>
              <a:buClr>
                <a:schemeClr val="dk1"/>
              </a:buClr>
              <a:buSzPts val="2400"/>
              <a:buFont typeface="Fira Sans Extra Condensed"/>
              <a:buNone/>
              <a:defRPr sz="3200" b="1">
                <a:solidFill>
                  <a:schemeClr val="dk1"/>
                </a:solidFill>
                <a:latin typeface="Fira Sans Extra Condensed"/>
                <a:ea typeface="Fira Sans Extra Condensed"/>
                <a:cs typeface="Fira Sans Extra Condensed"/>
                <a:sym typeface="Fira Sans Extra Condensed"/>
              </a:defRPr>
            </a:lvl4pPr>
            <a:lvl5pPr lvl="4" algn="ctr" rtl="0">
              <a:spcBef>
                <a:spcPts val="0"/>
              </a:spcBef>
              <a:spcAft>
                <a:spcPts val="0"/>
              </a:spcAft>
              <a:buClr>
                <a:schemeClr val="dk1"/>
              </a:buClr>
              <a:buSzPts val="2400"/>
              <a:buFont typeface="Fira Sans Extra Condensed"/>
              <a:buNone/>
              <a:defRPr sz="3200" b="1">
                <a:solidFill>
                  <a:schemeClr val="dk1"/>
                </a:solidFill>
                <a:latin typeface="Fira Sans Extra Condensed"/>
                <a:ea typeface="Fira Sans Extra Condensed"/>
                <a:cs typeface="Fira Sans Extra Condensed"/>
                <a:sym typeface="Fira Sans Extra Condensed"/>
              </a:defRPr>
            </a:lvl5pPr>
            <a:lvl6pPr lvl="5" algn="ctr" rtl="0">
              <a:spcBef>
                <a:spcPts val="0"/>
              </a:spcBef>
              <a:spcAft>
                <a:spcPts val="0"/>
              </a:spcAft>
              <a:buClr>
                <a:schemeClr val="dk1"/>
              </a:buClr>
              <a:buSzPts val="2400"/>
              <a:buFont typeface="Fira Sans Extra Condensed"/>
              <a:buNone/>
              <a:defRPr sz="3200" b="1">
                <a:solidFill>
                  <a:schemeClr val="dk1"/>
                </a:solidFill>
                <a:latin typeface="Fira Sans Extra Condensed"/>
                <a:ea typeface="Fira Sans Extra Condensed"/>
                <a:cs typeface="Fira Sans Extra Condensed"/>
                <a:sym typeface="Fira Sans Extra Condensed"/>
              </a:defRPr>
            </a:lvl6pPr>
            <a:lvl7pPr lvl="6" algn="ctr" rtl="0">
              <a:spcBef>
                <a:spcPts val="0"/>
              </a:spcBef>
              <a:spcAft>
                <a:spcPts val="0"/>
              </a:spcAft>
              <a:buClr>
                <a:schemeClr val="dk1"/>
              </a:buClr>
              <a:buSzPts val="2400"/>
              <a:buFont typeface="Fira Sans Extra Condensed"/>
              <a:buNone/>
              <a:defRPr sz="3200" b="1">
                <a:solidFill>
                  <a:schemeClr val="dk1"/>
                </a:solidFill>
                <a:latin typeface="Fira Sans Extra Condensed"/>
                <a:ea typeface="Fira Sans Extra Condensed"/>
                <a:cs typeface="Fira Sans Extra Condensed"/>
                <a:sym typeface="Fira Sans Extra Condensed"/>
              </a:defRPr>
            </a:lvl7pPr>
            <a:lvl8pPr lvl="7" algn="ctr" rtl="0">
              <a:spcBef>
                <a:spcPts val="0"/>
              </a:spcBef>
              <a:spcAft>
                <a:spcPts val="0"/>
              </a:spcAft>
              <a:buClr>
                <a:schemeClr val="dk1"/>
              </a:buClr>
              <a:buSzPts val="2400"/>
              <a:buFont typeface="Fira Sans Extra Condensed"/>
              <a:buNone/>
              <a:defRPr sz="3200" b="1">
                <a:solidFill>
                  <a:schemeClr val="dk1"/>
                </a:solidFill>
                <a:latin typeface="Fira Sans Extra Condensed"/>
                <a:ea typeface="Fira Sans Extra Condensed"/>
                <a:cs typeface="Fira Sans Extra Condensed"/>
                <a:sym typeface="Fira Sans Extra Condensed"/>
              </a:defRPr>
            </a:lvl8pPr>
            <a:lvl9pPr lvl="8" algn="ctr" rtl="0">
              <a:spcBef>
                <a:spcPts val="0"/>
              </a:spcBef>
              <a:spcAft>
                <a:spcPts val="0"/>
              </a:spcAft>
              <a:buClr>
                <a:schemeClr val="dk1"/>
              </a:buClr>
              <a:buSzPts val="2400"/>
              <a:buFont typeface="Fira Sans Extra Condensed"/>
              <a:buNone/>
              <a:defRPr sz="3200" b="1">
                <a:solidFill>
                  <a:schemeClr val="dk1"/>
                </a:solidFill>
                <a:latin typeface="Fira Sans Extra Condensed"/>
                <a:ea typeface="Fira Sans Extra Condensed"/>
                <a:cs typeface="Fira Sans Extra Condensed"/>
                <a:sym typeface="Fira Sans Extra Condensed"/>
              </a:defRPr>
            </a:lvl9pPr>
          </a:lstStyle>
          <a:p>
            <a:endParaRPr/>
          </a:p>
        </p:txBody>
      </p:sp>
    </p:spTree>
    <p:extLst>
      <p:ext uri="{BB962C8B-B14F-4D97-AF65-F5344CB8AC3E}">
        <p14:creationId xmlns:p14="http://schemas.microsoft.com/office/powerpoint/2010/main" val="11641125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Título y objetos">
    <p:spTree>
      <p:nvGrpSpPr>
        <p:cNvPr id="1" name=""/>
        <p:cNvGrpSpPr/>
        <p:nvPr/>
      </p:nvGrpSpPr>
      <p:grpSpPr>
        <a:xfrm>
          <a:off x="0" y="0"/>
          <a:ext cx="0" cy="0"/>
          <a:chOff x="0" y="0"/>
          <a:chExt cx="0" cy="0"/>
        </a:xfrm>
      </p:grpSpPr>
      <p:sp>
        <p:nvSpPr>
          <p:cNvPr id="9" name="Título 1">
            <a:extLst>
              <a:ext uri="{FF2B5EF4-FFF2-40B4-BE49-F238E27FC236}">
                <a16:creationId xmlns:a16="http://schemas.microsoft.com/office/drawing/2014/main" id="{064ECE5C-F180-9075-788D-279D1026D580}"/>
              </a:ext>
            </a:extLst>
          </p:cNvPr>
          <p:cNvSpPr>
            <a:spLocks noGrp="1"/>
          </p:cNvSpPr>
          <p:nvPr>
            <p:ph type="title"/>
          </p:nvPr>
        </p:nvSpPr>
        <p:spPr>
          <a:xfrm>
            <a:off x="352425" y="365126"/>
            <a:ext cx="9505951" cy="1307810"/>
          </a:xfrm>
        </p:spPr>
        <p:txBody>
          <a:bodyPr anchor="t" anchorCtr="0">
            <a:normAutofit/>
          </a:bodyPr>
          <a:lstStyle>
            <a:lvl1pPr>
              <a:defRPr sz="3600" b="1" cap="none" baseline="0">
                <a:solidFill>
                  <a:srgbClr val="002060"/>
                </a:solidFill>
                <a:latin typeface="Arial" panose="020B0604020202020204" pitchFamily="34" charset="0"/>
                <a:cs typeface="Arial" panose="020B0604020202020204" pitchFamily="34" charset="0"/>
              </a:defRPr>
            </a:lvl1pPr>
          </a:lstStyle>
          <a:p>
            <a:r>
              <a:rPr lang="es-ES" dirty="0"/>
              <a:t>Haga clic para modificar el estilo de título del patrón</a:t>
            </a:r>
          </a:p>
        </p:txBody>
      </p:sp>
      <p:sp>
        <p:nvSpPr>
          <p:cNvPr id="10" name="Marcador de contenido 2">
            <a:extLst>
              <a:ext uri="{FF2B5EF4-FFF2-40B4-BE49-F238E27FC236}">
                <a16:creationId xmlns:a16="http://schemas.microsoft.com/office/drawing/2014/main" id="{1F969E75-B7CE-12A2-BED5-D7099AC3D8EE}"/>
              </a:ext>
            </a:extLst>
          </p:cNvPr>
          <p:cNvSpPr>
            <a:spLocks noGrp="1"/>
          </p:cNvSpPr>
          <p:nvPr>
            <p:ph idx="1"/>
          </p:nvPr>
        </p:nvSpPr>
        <p:spPr>
          <a:xfrm>
            <a:off x="352425" y="1799072"/>
            <a:ext cx="9505951" cy="4288907"/>
          </a:xfrm>
        </p:spPr>
        <p:txBody>
          <a:bodyPr/>
          <a:lstStyle>
            <a:lvl1pPr>
              <a:buClr>
                <a:srgbClr val="FFD161"/>
              </a:buClr>
              <a:defRPr>
                <a:solidFill>
                  <a:srgbClr val="002855"/>
                </a:solidFill>
                <a:latin typeface="Arial" panose="020B0604020202020204" pitchFamily="34" charset="0"/>
                <a:cs typeface="Arial" panose="020B0604020202020204" pitchFamily="34" charset="0"/>
              </a:defRPr>
            </a:lvl1pPr>
            <a:lvl2pPr>
              <a:buClr>
                <a:srgbClr val="FFD161"/>
              </a:buClr>
              <a:defRPr>
                <a:solidFill>
                  <a:srgbClr val="002855"/>
                </a:solidFill>
                <a:latin typeface="Arial" panose="020B0604020202020204" pitchFamily="34" charset="0"/>
                <a:cs typeface="Arial" panose="020B0604020202020204" pitchFamily="34" charset="0"/>
              </a:defRPr>
            </a:lvl2pPr>
            <a:lvl3pPr>
              <a:buClr>
                <a:srgbClr val="FFD161"/>
              </a:buClr>
              <a:defRPr>
                <a:solidFill>
                  <a:srgbClr val="002855"/>
                </a:solidFill>
                <a:latin typeface="Arial" panose="020B0604020202020204" pitchFamily="34" charset="0"/>
                <a:cs typeface="Arial" panose="020B0604020202020204" pitchFamily="34" charset="0"/>
              </a:defRPr>
            </a:lvl3pPr>
            <a:lvl4pPr>
              <a:buClr>
                <a:srgbClr val="FFD161"/>
              </a:buClr>
              <a:defRPr>
                <a:solidFill>
                  <a:srgbClr val="002855"/>
                </a:solidFill>
                <a:latin typeface="Arial" panose="020B0604020202020204" pitchFamily="34" charset="0"/>
                <a:cs typeface="Arial" panose="020B0604020202020204" pitchFamily="34" charset="0"/>
              </a:defRPr>
            </a:lvl4pPr>
            <a:lvl5pPr>
              <a:buClr>
                <a:srgbClr val="FFD161"/>
              </a:buClr>
              <a:defRPr>
                <a:solidFill>
                  <a:srgbClr val="002855"/>
                </a:solidFill>
                <a:latin typeface="Arial" panose="020B0604020202020204" pitchFamily="34" charset="0"/>
                <a:cs typeface="Arial" panose="020B060402020202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p>
        </p:txBody>
      </p:sp>
      <p:pic>
        <p:nvPicPr>
          <p:cNvPr id="3" name="Imagen 2">
            <a:extLst>
              <a:ext uri="{FF2B5EF4-FFF2-40B4-BE49-F238E27FC236}">
                <a16:creationId xmlns:a16="http://schemas.microsoft.com/office/drawing/2014/main" id="{3C8F6232-EEA3-60E9-788B-6DB05EDDA66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7" y="0"/>
            <a:ext cx="12193434" cy="6858000"/>
          </a:xfrm>
          <a:prstGeom prst="rect">
            <a:avLst/>
          </a:prstGeom>
        </p:spPr>
      </p:pic>
    </p:spTree>
    <p:extLst>
      <p:ext uri="{BB962C8B-B14F-4D97-AF65-F5344CB8AC3E}">
        <p14:creationId xmlns:p14="http://schemas.microsoft.com/office/powerpoint/2010/main" val="10367930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ido">
    <p:spTree>
      <p:nvGrpSpPr>
        <p:cNvPr id="1" name=""/>
        <p:cNvGrpSpPr/>
        <p:nvPr/>
      </p:nvGrpSpPr>
      <p:grpSpPr>
        <a:xfrm>
          <a:off x="0" y="0"/>
          <a:ext cx="0" cy="0"/>
          <a:chOff x="0" y="0"/>
          <a:chExt cx="0" cy="0"/>
        </a:xfrm>
      </p:grpSpPr>
      <p:sp>
        <p:nvSpPr>
          <p:cNvPr id="8" name="Title 1"/>
          <p:cNvSpPr>
            <a:spLocks noGrp="1"/>
          </p:cNvSpPr>
          <p:nvPr>
            <p:ph type="title"/>
          </p:nvPr>
        </p:nvSpPr>
        <p:spPr>
          <a:xfrm>
            <a:off x="143339" y="116632"/>
            <a:ext cx="11220451" cy="511200"/>
          </a:xfrm>
        </p:spPr>
        <p:txBody>
          <a:bodyPr/>
          <a:lstStyle/>
          <a:p>
            <a:r>
              <a:rPr lang="es-ES"/>
              <a:t>Haga clic para modificar el estilo de título del patrón</a:t>
            </a:r>
            <a:endParaRPr lang="en-GB" dirty="0"/>
          </a:p>
        </p:txBody>
      </p:sp>
      <p:sp>
        <p:nvSpPr>
          <p:cNvPr id="9" name="Content Placeholder 2"/>
          <p:cNvSpPr>
            <a:spLocks noGrp="1"/>
          </p:cNvSpPr>
          <p:nvPr>
            <p:ph idx="1"/>
          </p:nvPr>
        </p:nvSpPr>
        <p:spPr>
          <a:xfrm>
            <a:off x="419100" y="1760538"/>
            <a:ext cx="8940800" cy="4425950"/>
          </a:xfrm>
        </p:spPr>
        <p:txBody>
          <a:bodyPr/>
          <a:lstStyle>
            <a:lvl1pPr marL="266400" indent="-266400">
              <a:buClr>
                <a:schemeClr val="tx2"/>
              </a:buClr>
              <a:buFont typeface="Arial" pitchFamily="34" charset="0"/>
              <a:buChar char="•"/>
              <a:defRPr sz="1800">
                <a:latin typeface="Arial" pitchFamily="34" charset="0"/>
                <a:cs typeface="Arial" pitchFamily="34" charset="0"/>
              </a:defRPr>
            </a:lvl1pPr>
            <a:lvl2pPr>
              <a:defRPr sz="1800"/>
            </a:lvl2pPr>
            <a:lvl3pPr>
              <a:defRPr sz="1600" baseline="0">
                <a:latin typeface="Arial" pitchFamily="34" charset="0"/>
                <a:cs typeface="Arial" pitchFamily="34" charset="0"/>
              </a:defRPr>
            </a:lvl3pPr>
            <a:lvl4pPr marL="622800" indent="-180000">
              <a:defRPr sz="1600">
                <a:latin typeface="Arial" pitchFamily="34" charset="0"/>
                <a:cs typeface="Arial" pitchFamily="34" charset="0"/>
              </a:defRPr>
            </a:lvl4pPr>
            <a:lvl5pPr marL="622800">
              <a:defRPr sz="1600">
                <a:latin typeface="Arial" pitchFamily="34" charset="0"/>
                <a:cs typeface="Arial" pitchFamily="34" charset="0"/>
              </a:defRPr>
            </a:lvl5pPr>
            <a:lvl6pPr>
              <a:defRPr>
                <a:latin typeface="Arial" pitchFamily="34" charset="0"/>
                <a:cs typeface="Arial" pitchFamily="34" charset="0"/>
              </a:defRPr>
            </a:lvl6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10" name="Text Placeholder 6"/>
          <p:cNvSpPr>
            <a:spLocks noGrp="1"/>
          </p:cNvSpPr>
          <p:nvPr>
            <p:ph type="body" sz="quarter" idx="12" hasCustomPrompt="1"/>
          </p:nvPr>
        </p:nvSpPr>
        <p:spPr>
          <a:xfrm>
            <a:off x="143339" y="626794"/>
            <a:ext cx="11222400" cy="511200"/>
          </a:xfrm>
        </p:spPr>
        <p:txBody>
          <a:bodyPr/>
          <a:lstStyle>
            <a:lvl1pPr marL="0" indent="0">
              <a:buNone/>
              <a:defRPr sz="2800" b="1" baseline="0">
                <a:solidFill>
                  <a:schemeClr val="accent2"/>
                </a:solidFill>
                <a:latin typeface="Arial" pitchFamily="34" charset="0"/>
                <a:cs typeface="Arial" pitchFamily="34" charset="0"/>
              </a:defRPr>
            </a:lvl1pPr>
          </a:lstStyle>
          <a:p>
            <a:pPr lvl="0"/>
            <a:r>
              <a:rPr lang="en-US" dirty="0"/>
              <a:t>Click to add Secondary title</a:t>
            </a:r>
            <a:endParaRPr lang="en-GB" dirty="0"/>
          </a:p>
        </p:txBody>
      </p:sp>
    </p:spTree>
    <p:extLst>
      <p:ext uri="{BB962C8B-B14F-4D97-AF65-F5344CB8AC3E}">
        <p14:creationId xmlns:p14="http://schemas.microsoft.com/office/powerpoint/2010/main" val="25375874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En blanc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799596-F1AE-5F4F-A317-9CBFC14D5FBA}"/>
              </a:ext>
            </a:extLst>
          </p:cNvPr>
          <p:cNvSpPr>
            <a:spLocks noGrp="1"/>
          </p:cNvSpPr>
          <p:nvPr>
            <p:ph type="title"/>
          </p:nvPr>
        </p:nvSpPr>
        <p:spPr>
          <a:xfrm>
            <a:off x="838200" y="365127"/>
            <a:ext cx="10515600" cy="1325563"/>
          </a:xfrm>
          <a:prstGeom prst="rect">
            <a:avLst/>
          </a:prstGeom>
        </p:spPr>
        <p:txBody>
          <a:bodyPr>
            <a:normAutofit/>
          </a:bodyPr>
          <a:lstStyle>
            <a:lvl1pPr>
              <a:lnSpc>
                <a:spcPts val="3500"/>
              </a:lnSpc>
              <a:defRPr sz="3200" b="0" i="0">
                <a:solidFill>
                  <a:schemeClr val="accent1"/>
                </a:solidFill>
                <a:latin typeface="Montserrat" pitchFamily="2" charset="77"/>
              </a:defRPr>
            </a:lvl1pPr>
          </a:lstStyle>
          <a:p>
            <a:r>
              <a:rPr lang="es-ES" dirty="0"/>
              <a:t>Haga clic para modificar el estilo de título del patrón</a:t>
            </a:r>
            <a:endParaRPr lang="en-US" dirty="0"/>
          </a:p>
        </p:txBody>
      </p:sp>
      <p:sp>
        <p:nvSpPr>
          <p:cNvPr id="3" name="Text Placeholder 3">
            <a:extLst>
              <a:ext uri="{FF2B5EF4-FFF2-40B4-BE49-F238E27FC236}">
                <a16:creationId xmlns:a16="http://schemas.microsoft.com/office/drawing/2014/main" id="{261ED17C-880A-074C-9BF0-23F0938AC6DC}"/>
              </a:ext>
            </a:extLst>
          </p:cNvPr>
          <p:cNvSpPr>
            <a:spLocks noGrp="1"/>
          </p:cNvSpPr>
          <p:nvPr>
            <p:ph type="body" sz="half" idx="2"/>
          </p:nvPr>
        </p:nvSpPr>
        <p:spPr>
          <a:xfrm>
            <a:off x="838200" y="3138393"/>
            <a:ext cx="10515600" cy="2969108"/>
          </a:xfrm>
          <a:prstGeom prst="rect">
            <a:avLst/>
          </a:prstGeom>
        </p:spPr>
        <p:txBody>
          <a:bodyPr/>
          <a:lstStyle>
            <a:lvl1pPr marL="285750" indent="-285750">
              <a:spcAft>
                <a:spcPts val="1200"/>
              </a:spcAft>
              <a:buClr>
                <a:schemeClr val="accent1"/>
              </a:buClr>
              <a:buFont typeface="Arial" panose="020B0604020202020204" pitchFamily="34" charset="0"/>
              <a:buChar char="•"/>
              <a:defRPr sz="1600" b="0" i="0">
                <a:solidFill>
                  <a:schemeClr val="bg2">
                    <a:lumMod val="25000"/>
                  </a:schemeClr>
                </a:solidFill>
                <a:latin typeface="Montserrat Light"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dirty="0"/>
              <a:t>Haga clic para modificar los estilos de texto del patrón</a:t>
            </a:r>
          </a:p>
        </p:txBody>
      </p:sp>
      <p:sp>
        <p:nvSpPr>
          <p:cNvPr id="6" name="Subtitle 2">
            <a:extLst>
              <a:ext uri="{FF2B5EF4-FFF2-40B4-BE49-F238E27FC236}">
                <a16:creationId xmlns:a16="http://schemas.microsoft.com/office/drawing/2014/main" id="{751DF64B-8B54-3E4C-99FB-4CCC8893FDD8}"/>
              </a:ext>
            </a:extLst>
          </p:cNvPr>
          <p:cNvSpPr>
            <a:spLocks noGrp="1"/>
          </p:cNvSpPr>
          <p:nvPr>
            <p:ph type="subTitle" idx="1"/>
          </p:nvPr>
        </p:nvSpPr>
        <p:spPr>
          <a:xfrm>
            <a:off x="838200" y="1825624"/>
            <a:ext cx="10515600" cy="1177834"/>
          </a:xfrm>
          <a:prstGeom prst="rect">
            <a:avLst/>
          </a:prstGeom>
        </p:spPr>
        <p:txBody>
          <a:bodyPr>
            <a:normAutofit/>
          </a:bodyPr>
          <a:lstStyle>
            <a:lvl1pPr marL="0" indent="0" algn="l">
              <a:lnSpc>
                <a:spcPct val="100000"/>
              </a:lnSpc>
              <a:buNone/>
              <a:defRPr sz="2000" b="0" i="0">
                <a:solidFill>
                  <a:schemeClr val="accent2"/>
                </a:solidFill>
                <a:latin typeface="Montserrat Ligh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n-US" dirty="0"/>
          </a:p>
        </p:txBody>
      </p:sp>
      <p:pic>
        <p:nvPicPr>
          <p:cNvPr id="8" name="Imagen 7">
            <a:extLst>
              <a:ext uri="{FF2B5EF4-FFF2-40B4-BE49-F238E27FC236}">
                <a16:creationId xmlns:a16="http://schemas.microsoft.com/office/drawing/2014/main" id="{3E5DDC68-5304-0D45-8D00-ECA45119F483}"/>
              </a:ext>
            </a:extLst>
          </p:cNvPr>
          <p:cNvPicPr>
            <a:picLocks noChangeAspect="1"/>
          </p:cNvPicPr>
          <p:nvPr userDrawn="1"/>
        </p:nvPicPr>
        <p:blipFill>
          <a:blip r:embed="rId2"/>
          <a:stretch>
            <a:fillRect/>
          </a:stretch>
        </p:blipFill>
        <p:spPr>
          <a:xfrm>
            <a:off x="838200" y="6353780"/>
            <a:ext cx="2016759" cy="383135"/>
          </a:xfrm>
          <a:prstGeom prst="rect">
            <a:avLst/>
          </a:prstGeom>
        </p:spPr>
      </p:pic>
      <p:pic>
        <p:nvPicPr>
          <p:cNvPr id="7" name="Imagen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1856" y="6100877"/>
            <a:ext cx="1748147" cy="765832"/>
          </a:xfrm>
          <a:prstGeom prst="rect">
            <a:avLst/>
          </a:prstGeom>
        </p:spPr>
      </p:pic>
    </p:spTree>
    <p:extLst>
      <p:ext uri="{BB962C8B-B14F-4D97-AF65-F5344CB8AC3E}">
        <p14:creationId xmlns:p14="http://schemas.microsoft.com/office/powerpoint/2010/main" val="3217451967"/>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ver 1">
    <p:bg>
      <p:bgPr>
        <a:solidFill>
          <a:schemeClr val="bg1"/>
        </a:solidFill>
        <a:effectLst/>
      </p:bgPr>
    </p:bg>
    <p:spTree>
      <p:nvGrpSpPr>
        <p:cNvPr id="1" name=""/>
        <p:cNvGrpSpPr/>
        <p:nvPr/>
      </p:nvGrpSpPr>
      <p:grpSpPr>
        <a:xfrm>
          <a:off x="0" y="0"/>
          <a:ext cx="0" cy="0"/>
          <a:chOff x="0" y="0"/>
          <a:chExt cx="0" cy="0"/>
        </a:xfrm>
      </p:grpSpPr>
      <p:sp>
        <p:nvSpPr>
          <p:cNvPr id="3" name="Marcador de texto 2">
            <a:extLst>
              <a:ext uri="{FF2B5EF4-FFF2-40B4-BE49-F238E27FC236}">
                <a16:creationId xmlns:a16="http://schemas.microsoft.com/office/drawing/2014/main" id="{E7F703A5-3C71-3058-B6B3-4468C681801C}"/>
              </a:ext>
            </a:extLst>
          </p:cNvPr>
          <p:cNvSpPr>
            <a:spLocks noGrp="1"/>
          </p:cNvSpPr>
          <p:nvPr>
            <p:ph type="body" sz="quarter" idx="21" hasCustomPrompt="1"/>
          </p:nvPr>
        </p:nvSpPr>
        <p:spPr>
          <a:xfrm>
            <a:off x="1200150" y="3303491"/>
            <a:ext cx="10209953" cy="2794203"/>
          </a:xfrm>
          <a:prstGeom prst="rect">
            <a:avLst/>
          </a:prstGeom>
        </p:spPr>
        <p:txBody>
          <a:bodyPr lIns="0" tIns="0" rIns="0" bIns="0"/>
          <a:lstStyle>
            <a:lvl1pPr marL="0" indent="0">
              <a:spcBef>
                <a:spcPts val="0"/>
              </a:spcBef>
              <a:buNone/>
              <a:defRPr sz="7200">
                <a:solidFill>
                  <a:schemeClr val="accent1"/>
                </a:solidFill>
              </a:defRPr>
            </a:lvl1pPr>
          </a:lstStyle>
          <a:p>
            <a:pPr lvl="0"/>
            <a:r>
              <a:rPr lang="en-US" noProof="0"/>
              <a:t>Cover text is Arial Reg.54pt. Lorem ipsum dolor sit </a:t>
            </a:r>
            <a:r>
              <a:rPr lang="en-US" noProof="0" err="1"/>
              <a:t>amet</a:t>
            </a:r>
            <a:r>
              <a:rPr lang="en-US" noProof="0"/>
              <a:t>.</a:t>
            </a:r>
          </a:p>
        </p:txBody>
      </p:sp>
      <p:sp>
        <p:nvSpPr>
          <p:cNvPr id="7" name="Footer Placeholder 4">
            <a:extLst>
              <a:ext uri="{FF2B5EF4-FFF2-40B4-BE49-F238E27FC236}">
                <a16:creationId xmlns:a16="http://schemas.microsoft.com/office/drawing/2014/main" id="{FDC139CC-0720-FAD6-F991-85F446224296}"/>
              </a:ext>
            </a:extLst>
          </p:cNvPr>
          <p:cNvSpPr>
            <a:spLocks noGrp="1"/>
          </p:cNvSpPr>
          <p:nvPr>
            <p:ph type="ftr" sz="quarter" idx="11"/>
          </p:nvPr>
        </p:nvSpPr>
        <p:spPr>
          <a:xfrm>
            <a:off x="1200152" y="740834"/>
            <a:ext cx="2619345" cy="544975"/>
          </a:xfrm>
          <a:prstGeom prst="rect">
            <a:avLst/>
          </a:prstGeom>
        </p:spPr>
        <p:txBody>
          <a:bodyPr lIns="0" tIns="0" rIns="0" bIns="0"/>
          <a:lstStyle>
            <a:lvl1pPr algn="l">
              <a:defRPr sz="2667">
                <a:solidFill>
                  <a:schemeClr val="accent2"/>
                </a:solidFill>
              </a:defRPr>
            </a:lvl1pPr>
          </a:lstStyle>
          <a:p>
            <a:r>
              <a:rPr lang="en-US"/>
              <a:t>01.01.24</a:t>
            </a:r>
          </a:p>
        </p:txBody>
      </p:sp>
      <p:sp>
        <p:nvSpPr>
          <p:cNvPr id="2" name="Marcador de texto 6">
            <a:extLst>
              <a:ext uri="{FF2B5EF4-FFF2-40B4-BE49-F238E27FC236}">
                <a16:creationId xmlns:a16="http://schemas.microsoft.com/office/drawing/2014/main" id="{FFEC8C07-DF76-347C-3E44-564CF549BF91}"/>
              </a:ext>
            </a:extLst>
          </p:cNvPr>
          <p:cNvSpPr>
            <a:spLocks noGrp="1"/>
          </p:cNvSpPr>
          <p:nvPr>
            <p:ph type="body" sz="quarter" idx="24" hasCustomPrompt="1"/>
          </p:nvPr>
        </p:nvSpPr>
        <p:spPr>
          <a:xfrm>
            <a:off x="0" y="4563"/>
            <a:ext cx="716605" cy="6858000"/>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2"/>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5" name="Marcador de texto 6">
            <a:extLst>
              <a:ext uri="{FF2B5EF4-FFF2-40B4-BE49-F238E27FC236}">
                <a16:creationId xmlns:a16="http://schemas.microsoft.com/office/drawing/2014/main" id="{9BC44D5F-87ED-B102-B475-19972AC474F4}"/>
              </a:ext>
            </a:extLst>
          </p:cNvPr>
          <p:cNvSpPr>
            <a:spLocks noGrp="1"/>
          </p:cNvSpPr>
          <p:nvPr>
            <p:ph type="body" sz="quarter" idx="20" hasCustomPrompt="1"/>
          </p:nvPr>
        </p:nvSpPr>
        <p:spPr>
          <a:xfrm>
            <a:off x="10151280" y="323017"/>
            <a:ext cx="1611803" cy="520456"/>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3"/>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89" indent="0">
              <a:lnSpc>
                <a:spcPct val="100000"/>
              </a:lnSpc>
              <a:buNone/>
              <a:defRPr sz="1400">
                <a:solidFill>
                  <a:schemeClr val="bg1"/>
                </a:solidFill>
              </a:defRPr>
            </a:lvl2pPr>
            <a:lvl3pPr marL="914377" indent="0">
              <a:lnSpc>
                <a:spcPct val="100000"/>
              </a:lnSpc>
              <a:buNone/>
              <a:defRPr sz="1400">
                <a:solidFill>
                  <a:schemeClr val="bg1"/>
                </a:solidFill>
              </a:defRPr>
            </a:lvl3pPr>
            <a:lvl4pPr marL="1371566" indent="0">
              <a:lnSpc>
                <a:spcPct val="100000"/>
              </a:lnSpc>
              <a:buNone/>
              <a:defRPr sz="1400">
                <a:solidFill>
                  <a:schemeClr val="bg1"/>
                </a:solidFill>
              </a:defRPr>
            </a:lvl4pPr>
            <a:lvl5pPr marL="1828754" indent="0">
              <a:lnSpc>
                <a:spcPct val="100000"/>
              </a:lnSpc>
              <a:buNone/>
              <a:defRPr sz="1400">
                <a:solidFill>
                  <a:schemeClr val="bg1"/>
                </a:solidFill>
              </a:defRPr>
            </a:lvl5pPr>
            <a:lvl6pPr marL="2285943" indent="0">
              <a:lnSpc>
                <a:spcPct val="100000"/>
              </a:lnSpc>
              <a:buNone/>
              <a:defRPr sz="1400">
                <a:solidFill>
                  <a:schemeClr val="bg1"/>
                </a:solidFill>
              </a:defRPr>
            </a:lvl6pPr>
            <a:lvl7pPr marL="2743131" indent="0">
              <a:lnSpc>
                <a:spcPct val="100000"/>
              </a:lnSpc>
              <a:buNone/>
              <a:defRPr sz="1400">
                <a:solidFill>
                  <a:schemeClr val="bg1"/>
                </a:solidFill>
              </a:defRPr>
            </a:lvl7pPr>
            <a:lvl8pPr marL="3200320" indent="0">
              <a:lnSpc>
                <a:spcPct val="100000"/>
              </a:lnSpc>
              <a:buNone/>
              <a:defRPr sz="1400">
                <a:solidFill>
                  <a:schemeClr val="bg1"/>
                </a:solidFill>
              </a:defRPr>
            </a:lvl8pPr>
            <a:lvl9pPr marL="3657509" indent="0">
              <a:lnSpc>
                <a:spcPct val="100000"/>
              </a:lnSpc>
              <a:buNone/>
              <a:defRPr sz="1400">
                <a:solidFill>
                  <a:schemeClr val="bg1"/>
                </a:solidFill>
              </a:defRPr>
            </a:lvl9pPr>
          </a:lstStyle>
          <a:p>
            <a:pPr lvl="0"/>
            <a:r>
              <a:rPr lang="en-US" noProof="0"/>
              <a:t> </a:t>
            </a:r>
          </a:p>
        </p:txBody>
      </p:sp>
      <p:sp>
        <p:nvSpPr>
          <p:cNvPr id="6" name="Slide Number Placeholder 5">
            <a:extLst>
              <a:ext uri="{FF2B5EF4-FFF2-40B4-BE49-F238E27FC236}">
                <a16:creationId xmlns:a16="http://schemas.microsoft.com/office/drawing/2014/main" id="{BCDD8DE7-1CC8-472A-F3E3-BDC64C316AEF}"/>
              </a:ext>
            </a:extLst>
          </p:cNvPr>
          <p:cNvSpPr>
            <a:spLocks noGrp="1"/>
          </p:cNvSpPr>
          <p:nvPr>
            <p:ph type="sldNum" sz="quarter" idx="4"/>
          </p:nvPr>
        </p:nvSpPr>
        <p:spPr>
          <a:xfrm>
            <a:off x="10910403" y="6356351"/>
            <a:ext cx="1042415" cy="365125"/>
          </a:xfrm>
          <a:prstGeom prst="rect">
            <a:avLst/>
          </a:prstGeom>
        </p:spPr>
        <p:txBody>
          <a:bodyPr vert="horz" lIns="91440" tIns="45720" rIns="91440" bIns="45720" rtlCol="0" anchor="ctr"/>
          <a:lstStyle>
            <a:lvl1pPr algn="r">
              <a:defRPr sz="933">
                <a:solidFill>
                  <a:schemeClr val="accent1"/>
                </a:solidFill>
              </a:defRPr>
            </a:lvl1pPr>
          </a:lstStyle>
          <a:p>
            <a:fld id="{96F64DD7-E411-6141-89FE-121B5323FD5F}" type="slidenum">
              <a:rPr lang="en-US" smtClean="0"/>
              <a:pPr/>
              <a:t>‹Nº›</a:t>
            </a:fld>
            <a:endParaRPr lang="en-US"/>
          </a:p>
        </p:txBody>
      </p:sp>
      <p:sp>
        <p:nvSpPr>
          <p:cNvPr id="8" name="Marcador de texto 5">
            <a:extLst>
              <a:ext uri="{FF2B5EF4-FFF2-40B4-BE49-F238E27FC236}">
                <a16:creationId xmlns:a16="http://schemas.microsoft.com/office/drawing/2014/main" id="{A4B612E1-8D78-84C6-6A01-A6586656D714}"/>
              </a:ext>
            </a:extLst>
          </p:cNvPr>
          <p:cNvSpPr>
            <a:spLocks noGrp="1"/>
          </p:cNvSpPr>
          <p:nvPr>
            <p:ph type="body" sz="quarter" idx="25" hasCustomPrompt="1"/>
          </p:nvPr>
        </p:nvSpPr>
        <p:spPr>
          <a:xfrm>
            <a:off x="4039281" y="6417750"/>
            <a:ext cx="4113439" cy="195084"/>
          </a:xfrm>
          <a:prstGeom prst="rect">
            <a:avLst/>
          </a:prstGeom>
        </p:spPr>
        <p:txBody>
          <a:bodyPr/>
          <a:lstStyle>
            <a:lvl1pPr marL="0" indent="0" algn="ctr">
              <a:buNone/>
              <a:defRPr sz="933">
                <a:solidFill>
                  <a:schemeClr val="accent1"/>
                </a:solidFill>
              </a:defRPr>
            </a:lvl1pPr>
          </a:lstStyle>
          <a:p>
            <a:r>
              <a:rPr lang="es-ES" err="1"/>
              <a:t>Lorem</a:t>
            </a:r>
            <a:r>
              <a:rPr lang="es-ES"/>
              <a:t> </a:t>
            </a:r>
            <a:r>
              <a:rPr lang="es-ES" err="1"/>
              <a:t>ipsum</a:t>
            </a:r>
            <a:r>
              <a:rPr lang="es-ES"/>
              <a:t> dolor </a:t>
            </a:r>
            <a:r>
              <a:rPr lang="es-ES" err="1"/>
              <a:t>sit</a:t>
            </a:r>
            <a:r>
              <a:rPr lang="es-ES"/>
              <a:t> </a:t>
            </a:r>
            <a:r>
              <a:rPr lang="es-ES" err="1"/>
              <a:t>amet</a:t>
            </a:r>
            <a:r>
              <a:rPr lang="es-ES"/>
              <a:t>.</a:t>
            </a:r>
          </a:p>
        </p:txBody>
      </p:sp>
    </p:spTree>
    <p:extLst>
      <p:ext uri="{BB962C8B-B14F-4D97-AF65-F5344CB8AC3E}">
        <p14:creationId xmlns:p14="http://schemas.microsoft.com/office/powerpoint/2010/main" val="2639078816"/>
      </p:ext>
    </p:extLst>
  </p:cSld>
  <p:clrMapOvr>
    <a:masterClrMapping/>
  </p:clrMapOvr>
  <p:extLst>
    <p:ext uri="{DCECCB84-F9BA-43D5-87BE-67443E8EF086}">
      <p15:sldGuideLst xmlns:p15="http://schemas.microsoft.com/office/powerpoint/2012/main">
        <p15:guide id="1" orient="horz" pos="2867">
          <p15:clr>
            <a:srgbClr val="FBAE40"/>
          </p15:clr>
        </p15:guide>
        <p15:guide id="2" pos="2880">
          <p15:clr>
            <a:srgbClr val="FBAE40"/>
          </p15:clr>
        </p15:guide>
        <p15:guide id="3" orient="horz" pos="350">
          <p15:clr>
            <a:srgbClr val="FBAE40"/>
          </p15:clr>
        </p15:guide>
        <p15:guide id="4" orient="horz" pos="758">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29" Type="http://schemas.openxmlformats.org/officeDocument/2006/relationships/slideLayout" Target="../slideLayouts/slideLayout37.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slideLayout" Target="../slideLayouts/slideLayout36.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 Id="rId30"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1" imgW="359" imgH="355" progId="TCLayout.ActiveDocument.1">
                  <p:embed/>
                </p:oleObj>
              </mc:Choice>
              <mc:Fallback>
                <p:oleObj name="think-cell Slide" r:id="rId11" imgW="359" imgH="355" progId="TCLayout.ActiveDocument.1">
                  <p:embed/>
                  <p:pic>
                    <p:nvPicPr>
                      <p:cNvPr id="2" name="Object 1" hidden="1"/>
                      <p:cNvPicPr/>
                      <p:nvPr/>
                    </p:nvPicPr>
                    <p:blipFill>
                      <a:blip r:embed="rId12"/>
                      <a:stretch>
                        <a:fillRect/>
                      </a:stretch>
                    </p:blipFill>
                    <p:spPr>
                      <a:xfrm>
                        <a:off x="2118" y="2118"/>
                        <a:ext cx="2117" cy="2117"/>
                      </a:xfrm>
                      <a:prstGeom prst="rect">
                        <a:avLst/>
                      </a:prstGeom>
                    </p:spPr>
                  </p:pic>
                </p:oleObj>
              </mc:Fallback>
            </mc:AlternateContent>
          </a:graphicData>
        </a:graphic>
      </p:graphicFrame>
      <p:grpSp>
        <p:nvGrpSpPr>
          <p:cNvPr id="7" name="Grupo 6">
            <a:extLst>
              <a:ext uri="{FF2B5EF4-FFF2-40B4-BE49-F238E27FC236}">
                <a16:creationId xmlns:a16="http://schemas.microsoft.com/office/drawing/2014/main" id="{F246AD8A-13A8-AD45-A853-196B64D14D86}"/>
              </a:ext>
            </a:extLst>
          </p:cNvPr>
          <p:cNvGrpSpPr/>
          <p:nvPr/>
        </p:nvGrpSpPr>
        <p:grpSpPr>
          <a:xfrm>
            <a:off x="10869235" y="6305566"/>
            <a:ext cx="1001260" cy="310180"/>
            <a:chOff x="7785861" y="4639396"/>
            <a:chExt cx="1111660" cy="344382"/>
          </a:xfrm>
        </p:grpSpPr>
        <p:sp>
          <p:nvSpPr>
            <p:cNvPr id="8" name="Forma libre 7">
              <a:extLst>
                <a:ext uri="{FF2B5EF4-FFF2-40B4-BE49-F238E27FC236}">
                  <a16:creationId xmlns:a16="http://schemas.microsoft.com/office/drawing/2014/main" id="{3CDBEAD3-8A02-4543-B455-7EACBA27B583}"/>
                </a:ext>
              </a:extLst>
            </p:cNvPr>
            <p:cNvSpPr/>
            <p:nvPr/>
          </p:nvSpPr>
          <p:spPr>
            <a:xfrm>
              <a:off x="7785861" y="4639396"/>
              <a:ext cx="256158" cy="344382"/>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endParaRPr lang="es-ES_tradnl" sz="2400"/>
            </a:p>
          </p:txBody>
        </p:sp>
        <p:sp>
          <p:nvSpPr>
            <p:cNvPr id="9" name="Forma libre 8">
              <a:extLst>
                <a:ext uri="{FF2B5EF4-FFF2-40B4-BE49-F238E27FC236}">
                  <a16:creationId xmlns:a16="http://schemas.microsoft.com/office/drawing/2014/main" id="{A29E6964-5BF6-6C4A-AF1F-349FC1884D2A}"/>
                </a:ext>
              </a:extLst>
            </p:cNvPr>
            <p:cNvSpPr/>
            <p:nvPr/>
          </p:nvSpPr>
          <p:spPr>
            <a:xfrm>
              <a:off x="8098546" y="4754028"/>
              <a:ext cx="798975" cy="174628"/>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accent1"/>
            </a:solidFill>
            <a:ln w="6110" cap="flat">
              <a:noFill/>
              <a:prstDash val="solid"/>
              <a:miter/>
            </a:ln>
          </p:spPr>
          <p:txBody>
            <a:bodyPr rtlCol="0" anchor="ctr"/>
            <a:lstStyle/>
            <a:p>
              <a:endParaRPr lang="es-ES_tradnl" sz="2400" dirty="0">
                <a:solidFill>
                  <a:schemeClr val="accent1"/>
                </a:solidFill>
              </a:endParaRPr>
            </a:p>
          </p:txBody>
        </p:sp>
      </p:grpSp>
      <p:sp>
        <p:nvSpPr>
          <p:cNvPr id="5" name="Marcador de título 4">
            <a:extLst>
              <a:ext uri="{FF2B5EF4-FFF2-40B4-BE49-F238E27FC236}">
                <a16:creationId xmlns:a16="http://schemas.microsoft.com/office/drawing/2014/main" id="{4C67B2B4-379C-7A3E-FA61-A15A8B4738E0}"/>
              </a:ext>
            </a:extLst>
          </p:cNvPr>
          <p:cNvSpPr>
            <a:spLocks noGrp="1"/>
          </p:cNvSpPr>
          <p:nvPr>
            <p:ph type="title"/>
          </p:nvPr>
        </p:nvSpPr>
        <p:spPr>
          <a:xfrm>
            <a:off x="828671" y="242255"/>
            <a:ext cx="10515600" cy="865821"/>
          </a:xfrm>
          <a:prstGeom prst="rect">
            <a:avLst/>
          </a:prstGeom>
        </p:spPr>
        <p:txBody>
          <a:bodyPr vert="horz" lIns="91440" tIns="45720" rIns="91440" bIns="45720" rtlCol="0" anchor="ctr">
            <a:normAutofit/>
          </a:bodyPr>
          <a:lstStyle/>
          <a:p>
            <a:r>
              <a:rPr lang="es-ES" dirty="0"/>
              <a:t>Haga clic para modificar el estilo de título del patrón</a:t>
            </a:r>
          </a:p>
        </p:txBody>
      </p:sp>
      <p:sp>
        <p:nvSpPr>
          <p:cNvPr id="6" name="Marcador de texto 5">
            <a:extLst>
              <a:ext uri="{FF2B5EF4-FFF2-40B4-BE49-F238E27FC236}">
                <a16:creationId xmlns:a16="http://schemas.microsoft.com/office/drawing/2014/main" id="{FF4B409F-F4CE-07FD-2507-1FF4FD45188E}"/>
              </a:ext>
            </a:extLst>
          </p:cNvPr>
          <p:cNvSpPr>
            <a:spLocks noGrp="1"/>
          </p:cNvSpPr>
          <p:nvPr>
            <p:ph type="body" idx="1"/>
          </p:nvPr>
        </p:nvSpPr>
        <p:spPr>
          <a:xfrm>
            <a:off x="838200" y="1581153"/>
            <a:ext cx="10515600" cy="4595280"/>
          </a:xfrm>
          <a:prstGeom prst="rect">
            <a:avLst/>
          </a:prstGeom>
        </p:spPr>
        <p:txBody>
          <a:bodyPr vert="horz" lIns="91440" tIns="45720" rIns="91440" bIns="45720" rtlCol="0">
            <a:normAutofit/>
          </a:bodyPr>
          <a:lstStyle/>
          <a:p>
            <a:pPr lvl="0"/>
            <a:r>
              <a:rPr lang="es-ES" dirty="0"/>
              <a:t>Haga clic para modificar los estilos de texto del patrón</a:t>
            </a:r>
          </a:p>
        </p:txBody>
      </p:sp>
      <p:cxnSp>
        <p:nvCxnSpPr>
          <p:cNvPr id="11" name="Conector recto 10">
            <a:extLst>
              <a:ext uri="{FF2B5EF4-FFF2-40B4-BE49-F238E27FC236}">
                <a16:creationId xmlns:a16="http://schemas.microsoft.com/office/drawing/2014/main" id="{F1D93B5B-558E-ECD7-4484-027CB530852E}"/>
              </a:ext>
            </a:extLst>
          </p:cNvPr>
          <p:cNvCxnSpPr/>
          <p:nvPr/>
        </p:nvCxnSpPr>
        <p:spPr>
          <a:xfrm>
            <a:off x="847722" y="1114417"/>
            <a:ext cx="10477500" cy="0"/>
          </a:xfrm>
          <a:prstGeom prst="line">
            <a:avLst/>
          </a:prstGeom>
        </p:spPr>
        <p:style>
          <a:lnRef idx="1">
            <a:schemeClr val="accent1"/>
          </a:lnRef>
          <a:fillRef idx="0">
            <a:schemeClr val="accent1"/>
          </a:fillRef>
          <a:effectRef idx="0">
            <a:schemeClr val="accent1"/>
          </a:effectRef>
          <a:fontRef idx="minor">
            <a:schemeClr val="tx1"/>
          </a:fontRef>
        </p:style>
      </p:cxnSp>
      <p:pic>
        <p:nvPicPr>
          <p:cNvPr id="13" name="Imagen 12">
            <a:extLst>
              <a:ext uri="{FF2B5EF4-FFF2-40B4-BE49-F238E27FC236}">
                <a16:creationId xmlns:a16="http://schemas.microsoft.com/office/drawing/2014/main" id="{DF0CE4D3-BFCC-88A7-5E6C-983B8D015D56}"/>
              </a:ext>
            </a:extLst>
          </p:cNvPr>
          <p:cNvPicPr>
            <a:picLocks noChangeAspect="1"/>
          </p:cNvPicPr>
          <p:nvPr/>
        </p:nvPicPr>
        <p:blipFill>
          <a:blip r:embed="rId13"/>
          <a:stretch>
            <a:fillRect/>
          </a:stretch>
        </p:blipFill>
        <p:spPr>
          <a:xfrm>
            <a:off x="0" y="5598629"/>
            <a:ext cx="2079437" cy="1262068"/>
          </a:xfrm>
          <a:prstGeom prst="rect">
            <a:avLst/>
          </a:prstGeom>
        </p:spPr>
      </p:pic>
    </p:spTree>
    <p:extLst>
      <p:ext uri="{BB962C8B-B14F-4D97-AF65-F5344CB8AC3E}">
        <p14:creationId xmlns:p14="http://schemas.microsoft.com/office/powerpoint/2010/main" val="264316224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defTabSz="914377" rtl="0" eaLnBrk="1" latinLnBrk="0" hangingPunct="1">
        <a:lnSpc>
          <a:spcPct val="90000"/>
        </a:lnSpc>
        <a:spcBef>
          <a:spcPct val="0"/>
        </a:spcBef>
        <a:buNone/>
        <a:defRPr sz="2933" b="1" kern="1200" baseline="0">
          <a:solidFill>
            <a:schemeClr val="accent1"/>
          </a:solidFill>
          <a:latin typeface="+mj-lt"/>
          <a:ea typeface="+mj-ea"/>
          <a:cs typeface="+mj-cs"/>
        </a:defRPr>
      </a:lvl1pPr>
    </p:titleStyle>
    <p:bodyStyle>
      <a:lvl1pPr marL="0" indent="0" algn="l" defTabSz="914377" rtl="0" eaLnBrk="1" latinLnBrk="0" hangingPunct="1">
        <a:lnSpc>
          <a:spcPct val="90000"/>
        </a:lnSpc>
        <a:spcBef>
          <a:spcPts val="1000"/>
        </a:spcBef>
        <a:buFont typeface="Arial" panose="020B0604020202020204" pitchFamily="34" charset="0"/>
        <a:buNone/>
        <a:defRPr sz="1867" kern="1200" baseline="0">
          <a:solidFill>
            <a:schemeClr val="accent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198">
          <p15:clr>
            <a:srgbClr val="F26B43"/>
          </p15:clr>
        </p15:guide>
        <p15:guide id="4" orient="horz" pos="205">
          <p15:clr>
            <a:srgbClr val="F26B43"/>
          </p15:clr>
        </p15:guide>
        <p15:guide id="5" pos="5581">
          <p15:clr>
            <a:srgbClr val="F26B43"/>
          </p15:clr>
        </p15:guide>
        <p15:guide id="7" orient="horz" pos="79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6F64DD7-E411-6141-89FE-121B5323FD5F}" type="slidenum">
              <a:rPr lang="en-US" noProof="0" smtClean="0"/>
              <a:pPr/>
              <a:t>‹Nº›</a:t>
            </a:fld>
            <a:endParaRPr lang="en-US" noProof="0"/>
          </a:p>
        </p:txBody>
      </p:sp>
    </p:spTree>
    <p:extLst>
      <p:ext uri="{BB962C8B-B14F-4D97-AF65-F5344CB8AC3E}">
        <p14:creationId xmlns:p14="http://schemas.microsoft.com/office/powerpoint/2010/main" val="3645956850"/>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 id="2147483688" r:id="rId19"/>
    <p:sldLayoutId id="2147483689" r:id="rId20"/>
    <p:sldLayoutId id="2147483690" r:id="rId21"/>
    <p:sldLayoutId id="2147483691" r:id="rId22"/>
    <p:sldLayoutId id="2147483692" r:id="rId23"/>
    <p:sldLayoutId id="2147483693" r:id="rId24"/>
    <p:sldLayoutId id="2147483694" r:id="rId25"/>
    <p:sldLayoutId id="2147483695" r:id="rId26"/>
    <p:sldLayoutId id="2147483696" r:id="rId27"/>
    <p:sldLayoutId id="2147483697" r:id="rId28"/>
    <p:sldLayoutId id="2147483698" r:id="rId29"/>
  </p:sldLayoutIdLst>
  <p:hf hdr="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363">
          <p15:clr>
            <a:srgbClr val="F26B43"/>
          </p15:clr>
        </p15:guide>
        <p15:guide id="5" pos="5397">
          <p15:clr>
            <a:srgbClr val="F26B43"/>
          </p15:clr>
        </p15:guide>
        <p15:guide id="6" pos="567">
          <p15:clr>
            <a:srgbClr val="F26B43"/>
          </p15:clr>
        </p15:guide>
        <p15:guide id="7" pos="3084">
          <p15:clr>
            <a:srgbClr val="F26B43"/>
          </p15:clr>
        </p15:guide>
        <p15:guide id="8" pos="113">
          <p15:clr>
            <a:srgbClr val="F26B43"/>
          </p15:clr>
        </p15:guide>
        <p15:guide id="9" pos="56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4.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image" Target="../media/image41.png"/></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openxmlformats.org/officeDocument/2006/relationships/image" Target="../media/image42.png"/></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image" Target="../media/image43.png"/></Relationships>
</file>

<file path=ppt/slides/_rels/slide1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7.png"/><Relationship Id="rId7" Type="http://schemas.openxmlformats.org/officeDocument/2006/relationships/image" Target="../media/image47.png"/><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9.xml"/><Relationship Id="rId5" Type="http://schemas.openxmlformats.org/officeDocument/2006/relationships/image" Target="../media/image49.png"/><Relationship Id="rId4" Type="http://schemas.openxmlformats.org/officeDocument/2006/relationships/image" Target="../media/image48.png"/></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9.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9.xml"/><Relationship Id="rId5" Type="http://schemas.openxmlformats.org/officeDocument/2006/relationships/image" Target="../media/image28.png"/><Relationship Id="rId4" Type="http://schemas.openxmlformats.org/officeDocument/2006/relationships/image" Target="../media/image53.png"/></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9.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5.xml"/><Relationship Id="rId1" Type="http://schemas.openxmlformats.org/officeDocument/2006/relationships/slideLayout" Target="../slideLayouts/slideLayout9.xml"/><Relationship Id="rId5" Type="http://schemas.openxmlformats.org/officeDocument/2006/relationships/image" Target="../media/image58.png"/><Relationship Id="rId4" Type="http://schemas.openxmlformats.org/officeDocument/2006/relationships/image" Target="../media/image57.png"/></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9.xml"/><Relationship Id="rId4" Type="http://schemas.openxmlformats.org/officeDocument/2006/relationships/image" Target="../media/image2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28.png"/><Relationship Id="rId5" Type="http://schemas.openxmlformats.org/officeDocument/2006/relationships/image" Target="../media/image61.png"/><Relationship Id="rId4" Type="http://schemas.openxmlformats.org/officeDocument/2006/relationships/image" Target="../media/image60.png"/></Relationships>
</file>

<file path=ppt/slides/_rels/slide2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9.xml"/><Relationship Id="rId1" Type="http://schemas.openxmlformats.org/officeDocument/2006/relationships/slideLayout" Target="../slideLayouts/slideLayout9.xml"/><Relationship Id="rId5" Type="http://schemas.openxmlformats.org/officeDocument/2006/relationships/image" Target="../media/image27.png"/><Relationship Id="rId4" Type="http://schemas.openxmlformats.org/officeDocument/2006/relationships/image" Target="../media/image63.png"/></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0.xml"/><Relationship Id="rId1" Type="http://schemas.openxmlformats.org/officeDocument/2006/relationships/slideLayout" Target="../slideLayouts/slideLayout9.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1.xml"/><Relationship Id="rId1" Type="http://schemas.openxmlformats.org/officeDocument/2006/relationships/slideLayout" Target="../slideLayouts/slideLayout9.xml"/><Relationship Id="rId4" Type="http://schemas.openxmlformats.org/officeDocument/2006/relationships/image" Target="../media/image67.png"/></Relationships>
</file>

<file path=ppt/slides/_rels/slide2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2.xml"/><Relationship Id="rId1" Type="http://schemas.openxmlformats.org/officeDocument/2006/relationships/slideLayout" Target="../slideLayouts/slideLayout9.xml"/><Relationship Id="rId4" Type="http://schemas.openxmlformats.org/officeDocument/2006/relationships/image" Target="../media/image68.png"/></Relationships>
</file>

<file path=ppt/slides/_rels/slide26.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27.png"/><Relationship Id="rId7" Type="http://schemas.openxmlformats.org/officeDocument/2006/relationships/image" Target="../media/image72.png"/><Relationship Id="rId2" Type="http://schemas.openxmlformats.org/officeDocument/2006/relationships/notesSlide" Target="../notesSlides/notesSlide23.xml"/><Relationship Id="rId1" Type="http://schemas.openxmlformats.org/officeDocument/2006/relationships/slideLayout" Target="../slideLayouts/slideLayout9.xml"/><Relationship Id="rId6" Type="http://schemas.openxmlformats.org/officeDocument/2006/relationships/image" Target="../media/image71.png"/><Relationship Id="rId11" Type="http://schemas.openxmlformats.org/officeDocument/2006/relationships/image" Target="../media/image76.png"/><Relationship Id="rId5" Type="http://schemas.openxmlformats.org/officeDocument/2006/relationships/image" Target="../media/image70.pn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png"/></Relationships>
</file>

<file path=ppt/slides/_rels/slide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4.xml"/><Relationship Id="rId1" Type="http://schemas.openxmlformats.org/officeDocument/2006/relationships/slideLayout" Target="../slideLayouts/slideLayout9.xml"/><Relationship Id="rId5" Type="http://schemas.openxmlformats.org/officeDocument/2006/relationships/image" Target="../media/image78.png"/><Relationship Id="rId4" Type="http://schemas.openxmlformats.org/officeDocument/2006/relationships/image" Target="../media/image77.png"/></Relationships>
</file>

<file path=ppt/slides/_rels/slide2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5.xml"/><Relationship Id="rId1" Type="http://schemas.openxmlformats.org/officeDocument/2006/relationships/slideLayout" Target="../slideLayouts/slideLayout9.xml"/><Relationship Id="rId4" Type="http://schemas.openxmlformats.org/officeDocument/2006/relationships/image" Target="../media/image79.png"/></Relationships>
</file>

<file path=ppt/slides/_rels/slide29.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27.png"/><Relationship Id="rId7" Type="http://schemas.openxmlformats.org/officeDocument/2006/relationships/image" Target="../media/image83.png"/><Relationship Id="rId2" Type="http://schemas.openxmlformats.org/officeDocument/2006/relationships/notesSlide" Target="../notesSlides/notesSlide26.xml"/><Relationship Id="rId1" Type="http://schemas.openxmlformats.org/officeDocument/2006/relationships/slideLayout" Target="../slideLayouts/slideLayout9.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png"/><Relationship Id="rId10" Type="http://schemas.openxmlformats.org/officeDocument/2006/relationships/image" Target="../media/image86.png"/><Relationship Id="rId4" Type="http://schemas.openxmlformats.org/officeDocument/2006/relationships/image" Target="../media/image80.png"/><Relationship Id="rId9" Type="http://schemas.openxmlformats.org/officeDocument/2006/relationships/image" Target="../media/image85.png"/></Relationships>
</file>

<file path=ppt/slides/_rels/slide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27.png"/><Relationship Id="rId7" Type="http://schemas.openxmlformats.org/officeDocument/2006/relationships/image" Target="../media/image90.png"/><Relationship Id="rId2" Type="http://schemas.openxmlformats.org/officeDocument/2006/relationships/notesSlide" Target="../notesSlides/notesSlide27.xml"/><Relationship Id="rId1" Type="http://schemas.openxmlformats.org/officeDocument/2006/relationships/slideLayout" Target="../slideLayouts/slideLayout9.xml"/><Relationship Id="rId6" Type="http://schemas.openxmlformats.org/officeDocument/2006/relationships/image" Target="../media/image84.png"/><Relationship Id="rId5" Type="http://schemas.openxmlformats.org/officeDocument/2006/relationships/image" Target="../media/image89.png"/><Relationship Id="rId4" Type="http://schemas.openxmlformats.org/officeDocument/2006/relationships/image" Target="../media/image88.png"/></Relationships>
</file>

<file path=ppt/slides/_rels/slide3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8.xml"/><Relationship Id="rId1" Type="http://schemas.openxmlformats.org/officeDocument/2006/relationships/slideLayout" Target="../slideLayouts/slideLayout9.xml"/><Relationship Id="rId5" Type="http://schemas.openxmlformats.org/officeDocument/2006/relationships/image" Target="../media/image92.png"/><Relationship Id="rId4" Type="http://schemas.openxmlformats.org/officeDocument/2006/relationships/image" Target="../media/image59.png"/></Relationships>
</file>

<file path=ppt/slides/_rels/slide3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9.xml"/><Relationship Id="rId1" Type="http://schemas.openxmlformats.org/officeDocument/2006/relationships/slideLayout" Target="../slideLayouts/slideLayout9.xml"/><Relationship Id="rId4" Type="http://schemas.openxmlformats.org/officeDocument/2006/relationships/image" Target="../media/image59.png"/></Relationships>
</file>

<file path=ppt/slides/_rels/slide3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1.xml"/><Relationship Id="rId1" Type="http://schemas.openxmlformats.org/officeDocument/2006/relationships/slideLayout" Target="../slideLayouts/slideLayout9.xml"/><Relationship Id="rId4" Type="http://schemas.openxmlformats.org/officeDocument/2006/relationships/image" Target="../media/image94.png"/></Relationships>
</file>

<file path=ppt/slides/_rels/slide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2.xml"/><Relationship Id="rId1" Type="http://schemas.openxmlformats.org/officeDocument/2006/relationships/slideLayout" Target="../slideLayouts/slideLayout9.xml"/><Relationship Id="rId5" Type="http://schemas.openxmlformats.org/officeDocument/2006/relationships/image" Target="../media/image96.png"/><Relationship Id="rId4" Type="http://schemas.openxmlformats.org/officeDocument/2006/relationships/image" Target="../media/image95.png"/></Relationships>
</file>

<file path=ppt/slides/_rels/slide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3.xml"/><Relationship Id="rId1" Type="http://schemas.openxmlformats.org/officeDocument/2006/relationships/slideLayout" Target="../slideLayouts/slideLayout9.xml"/><Relationship Id="rId5" Type="http://schemas.openxmlformats.org/officeDocument/2006/relationships/image" Target="../media/image98.png"/><Relationship Id="rId4" Type="http://schemas.openxmlformats.org/officeDocument/2006/relationships/image" Target="../media/image97.png"/></Relationships>
</file>

<file path=ppt/slides/_rels/slide3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4.xml"/><Relationship Id="rId1" Type="http://schemas.openxmlformats.org/officeDocument/2006/relationships/slideLayout" Target="../slideLayouts/slideLayout9.xml"/><Relationship Id="rId4" Type="http://schemas.openxmlformats.org/officeDocument/2006/relationships/image" Target="../media/image99.png"/></Relationships>
</file>

<file path=ppt/slides/_rels/slide38.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5.xml"/><Relationship Id="rId1" Type="http://schemas.openxmlformats.org/officeDocument/2006/relationships/slideLayout" Target="../slideLayouts/slideLayout9.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27.png"/></Relationships>
</file>

<file path=ppt/slides/_rels/slide3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6.xml"/><Relationship Id="rId1" Type="http://schemas.openxmlformats.org/officeDocument/2006/relationships/slideLayout" Target="../slideLayouts/slideLayout9.xml"/><Relationship Id="rId5" Type="http://schemas.openxmlformats.org/officeDocument/2006/relationships/image" Target="../media/image104.png"/><Relationship Id="rId4" Type="http://schemas.openxmlformats.org/officeDocument/2006/relationships/image" Target="../media/image103.png"/></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0.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image" Target="../media/image27.png"/><Relationship Id="rId7" Type="http://schemas.openxmlformats.org/officeDocument/2006/relationships/image" Target="../media/image108.jpeg"/><Relationship Id="rId2" Type="http://schemas.openxmlformats.org/officeDocument/2006/relationships/notesSlide" Target="../notesSlides/notesSlide37.xml"/><Relationship Id="rId1" Type="http://schemas.openxmlformats.org/officeDocument/2006/relationships/slideLayout" Target="../slideLayouts/slideLayout9.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05.png"/></Relationships>
</file>

<file path=ppt/slides/_rels/slide4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8.xml"/><Relationship Id="rId1" Type="http://schemas.openxmlformats.org/officeDocument/2006/relationships/slideLayout" Target="../slideLayouts/slideLayout9.xml"/><Relationship Id="rId5" Type="http://schemas.openxmlformats.org/officeDocument/2006/relationships/image" Target="../media/image111.png"/><Relationship Id="rId4" Type="http://schemas.openxmlformats.org/officeDocument/2006/relationships/image" Target="../media/image110.png"/></Relationships>
</file>

<file path=ppt/slides/_rels/slide4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9.xml"/><Relationship Id="rId1" Type="http://schemas.openxmlformats.org/officeDocument/2006/relationships/slideLayout" Target="../slideLayouts/slideLayout9.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s>
</file>

<file path=ppt/slides/_rels/slide4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0.xml"/><Relationship Id="rId1" Type="http://schemas.openxmlformats.org/officeDocument/2006/relationships/slideLayout" Target="../slideLayouts/slideLayout9.xml"/><Relationship Id="rId6" Type="http://schemas.openxmlformats.org/officeDocument/2006/relationships/image" Target="../media/image116.png"/><Relationship Id="rId5" Type="http://schemas.openxmlformats.org/officeDocument/2006/relationships/image" Target="../media/image28.png"/><Relationship Id="rId4" Type="http://schemas.openxmlformats.org/officeDocument/2006/relationships/image" Target="../media/image115.png"/></Relationships>
</file>

<file path=ppt/slides/_rels/slide44.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120.png"/><Relationship Id="rId2" Type="http://schemas.openxmlformats.org/officeDocument/2006/relationships/notesSlide" Target="../notesSlides/notesSlide41.xml"/><Relationship Id="rId1" Type="http://schemas.openxmlformats.org/officeDocument/2006/relationships/slideLayout" Target="../slideLayouts/slideLayout9.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png"/></Relationships>
</file>

<file path=ppt/slides/_rels/slide4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2.xml"/><Relationship Id="rId1" Type="http://schemas.openxmlformats.org/officeDocument/2006/relationships/slideLayout" Target="../slideLayouts/slideLayout9.xml"/><Relationship Id="rId4" Type="http://schemas.openxmlformats.org/officeDocument/2006/relationships/image" Target="../media/image93.png"/></Relationships>
</file>

<file path=ppt/slides/_rels/slide46.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37.xml"/><Relationship Id="rId4" Type="http://schemas.openxmlformats.org/officeDocument/2006/relationships/image" Target="../media/image123.png"/></Relationships>
</file>

<file path=ppt/slides/_rels/slide47.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2.png"/><Relationship Id="rId1" Type="http://schemas.openxmlformats.org/officeDocument/2006/relationships/slideLayout" Target="../slideLayouts/slideLayout3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image" Target="../media/image30.jpeg"/><Relationship Id="rId5" Type="http://schemas.openxmlformats.org/officeDocument/2006/relationships/image" Target="../media/image29.png"/><Relationship Id="rId4" Type="http://schemas.openxmlformats.org/officeDocument/2006/relationships/image" Target="../media/image28.png"/></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png"/></Relationships>
</file>

<file path=ppt/slides/_rels/slide9.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27.png"/><Relationship Id="rId7" Type="http://schemas.openxmlformats.org/officeDocument/2006/relationships/image" Target="../media/image38.svg"/><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 Id="rId9" Type="http://schemas.openxmlformats.org/officeDocument/2006/relationships/image" Target="../media/image4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4385" name="Object 1153"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864385" name="Object 115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a:xfrm>
            <a:off x="152400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anchor="ctr" anchorCtr="0">
            <a:noAutofit/>
          </a:bodyPr>
          <a:lstStyle/>
          <a:p>
            <a:pPr marL="0" marR="0" lvl="0" indent="0" algn="ctr" defTabSz="914377" rtl="0" eaLnBrk="1" fontAlgn="base" latinLnBrk="0" hangingPunct="1">
              <a:lnSpc>
                <a:spcPts val="3551"/>
              </a:lnSpc>
              <a:spcBef>
                <a:spcPct val="0"/>
              </a:spcBef>
              <a:spcAft>
                <a:spcPct val="0"/>
              </a:spcAft>
              <a:buClrTx/>
              <a:buSzTx/>
              <a:buFontTx/>
              <a:buNone/>
              <a:tabLst/>
              <a:defRPr/>
            </a:pPr>
            <a:endParaRPr kumimoji="0" lang="en-US" sz="56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grpSp>
        <p:nvGrpSpPr>
          <p:cNvPr id="2" name="Grupo 1">
            <a:extLst>
              <a:ext uri="{FF2B5EF4-FFF2-40B4-BE49-F238E27FC236}">
                <a16:creationId xmlns:a16="http://schemas.microsoft.com/office/drawing/2014/main" id="{F1D89778-814F-6748-39FE-0B46F6AC63EF}"/>
              </a:ext>
            </a:extLst>
          </p:cNvPr>
          <p:cNvGrpSpPr/>
          <p:nvPr/>
        </p:nvGrpSpPr>
        <p:grpSpPr>
          <a:xfrm>
            <a:off x="-8330" y="0"/>
            <a:ext cx="12192000" cy="6858000"/>
            <a:chOff x="3329" y="0"/>
            <a:chExt cx="9144000" cy="5143500"/>
          </a:xfrm>
        </p:grpSpPr>
        <p:pic>
          <p:nvPicPr>
            <p:cNvPr id="7" name="Imagen 6" descr="Imagen que contiene persona, hombre, azul, sostener&#10;&#10;Descripción generada automáticamente">
              <a:extLst>
                <a:ext uri="{FF2B5EF4-FFF2-40B4-BE49-F238E27FC236}">
                  <a16:creationId xmlns:a16="http://schemas.microsoft.com/office/drawing/2014/main" id="{DF3B798E-59EB-6440-80A2-29FAB5E48A46}"/>
                </a:ext>
              </a:extLst>
            </p:cNvPr>
            <p:cNvPicPr>
              <a:picLocks noChangeAspect="1"/>
            </p:cNvPicPr>
            <p:nvPr/>
          </p:nvPicPr>
          <p:blipFill>
            <a:blip r:embed="rId7"/>
            <a:stretch>
              <a:fillRect/>
            </a:stretch>
          </p:blipFill>
          <p:spPr>
            <a:xfrm>
              <a:off x="3329" y="0"/>
              <a:ext cx="9144000" cy="5143500"/>
            </a:xfrm>
            <a:prstGeom prst="rect">
              <a:avLst/>
            </a:prstGeom>
          </p:spPr>
        </p:pic>
        <p:grpSp>
          <p:nvGrpSpPr>
            <p:cNvPr id="5" name="Grupo 4">
              <a:extLst>
                <a:ext uri="{FF2B5EF4-FFF2-40B4-BE49-F238E27FC236}">
                  <a16:creationId xmlns:a16="http://schemas.microsoft.com/office/drawing/2014/main" id="{DC3F117F-13C1-1D46-A3AE-DF7EDB740843}"/>
                </a:ext>
              </a:extLst>
            </p:cNvPr>
            <p:cNvGrpSpPr/>
            <p:nvPr/>
          </p:nvGrpSpPr>
          <p:grpSpPr>
            <a:xfrm>
              <a:off x="483338" y="574159"/>
              <a:ext cx="1334830" cy="413518"/>
              <a:chOff x="7785861" y="4639396"/>
              <a:chExt cx="1111660" cy="344382"/>
            </a:xfrm>
          </p:grpSpPr>
          <p:sp>
            <p:nvSpPr>
              <p:cNvPr id="11" name="Forma libre 10">
                <a:extLst>
                  <a:ext uri="{FF2B5EF4-FFF2-40B4-BE49-F238E27FC236}">
                    <a16:creationId xmlns:a16="http://schemas.microsoft.com/office/drawing/2014/main" id="{B3B8A3B0-748C-6945-8023-DD6FEFF09BFB}"/>
                  </a:ext>
                </a:extLst>
              </p:cNvPr>
              <p:cNvSpPr/>
              <p:nvPr/>
            </p:nvSpPr>
            <p:spPr>
              <a:xfrm>
                <a:off x="7785861" y="4639396"/>
                <a:ext cx="256158" cy="344382"/>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6F6F6F"/>
                  </a:solidFill>
                  <a:effectLst/>
                  <a:uLnTx/>
                  <a:uFillTx/>
                  <a:latin typeface="Arial"/>
                  <a:ea typeface="+mn-ea"/>
                  <a:cs typeface="+mn-cs"/>
                </a:endParaRPr>
              </a:p>
            </p:txBody>
          </p:sp>
          <p:sp>
            <p:nvSpPr>
              <p:cNvPr id="12" name="Forma libre 11">
                <a:extLst>
                  <a:ext uri="{FF2B5EF4-FFF2-40B4-BE49-F238E27FC236}">
                    <a16:creationId xmlns:a16="http://schemas.microsoft.com/office/drawing/2014/main" id="{AC3471E4-D1D9-AC49-A5BE-D738E8B0ADBB}"/>
                  </a:ext>
                </a:extLst>
              </p:cNvPr>
              <p:cNvSpPr/>
              <p:nvPr/>
            </p:nvSpPr>
            <p:spPr>
              <a:xfrm>
                <a:off x="8098546" y="4754028"/>
                <a:ext cx="798975" cy="174628"/>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tx2"/>
              </a:solidFill>
              <a:ln w="61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6F6F6F"/>
                  </a:solidFill>
                  <a:effectLst/>
                  <a:uLnTx/>
                  <a:uFillTx/>
                  <a:latin typeface="Arial"/>
                  <a:ea typeface="+mn-ea"/>
                  <a:cs typeface="+mn-cs"/>
                </a:endParaRPr>
              </a:p>
            </p:txBody>
          </p:sp>
        </p:grpSp>
        <p:sp>
          <p:nvSpPr>
            <p:cNvPr id="17" name="Redondear rectángulo de una esquina 16">
              <a:extLst>
                <a:ext uri="{FF2B5EF4-FFF2-40B4-BE49-F238E27FC236}">
                  <a16:creationId xmlns:a16="http://schemas.microsoft.com/office/drawing/2014/main" id="{2FB84212-BBB9-7249-A458-A9941132C575}"/>
                </a:ext>
              </a:extLst>
            </p:cNvPr>
            <p:cNvSpPr/>
            <p:nvPr/>
          </p:nvSpPr>
          <p:spPr>
            <a:xfrm flipV="1">
              <a:off x="213360" y="314960"/>
              <a:ext cx="8727440" cy="4551680"/>
            </a:xfrm>
            <a:prstGeom prst="round1Rect">
              <a:avLst>
                <a:gd name="adj" fmla="val 11980"/>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8" name="Grupo 17">
              <a:extLst>
                <a:ext uri="{FF2B5EF4-FFF2-40B4-BE49-F238E27FC236}">
                  <a16:creationId xmlns:a16="http://schemas.microsoft.com/office/drawing/2014/main" id="{9A0F6F7D-F76C-DF4F-8B6D-3A97AD255DB5}"/>
                </a:ext>
              </a:extLst>
            </p:cNvPr>
            <p:cNvGrpSpPr/>
            <p:nvPr/>
          </p:nvGrpSpPr>
          <p:grpSpPr>
            <a:xfrm>
              <a:off x="483338" y="574159"/>
              <a:ext cx="1334830" cy="413518"/>
              <a:chOff x="7785861" y="4639396"/>
              <a:chExt cx="1111660" cy="344382"/>
            </a:xfrm>
          </p:grpSpPr>
          <p:sp>
            <p:nvSpPr>
              <p:cNvPr id="19" name="Forma libre 18">
                <a:extLst>
                  <a:ext uri="{FF2B5EF4-FFF2-40B4-BE49-F238E27FC236}">
                    <a16:creationId xmlns:a16="http://schemas.microsoft.com/office/drawing/2014/main" id="{F61FD350-7384-FC4E-A8FA-1FE760EAEEFB}"/>
                  </a:ext>
                </a:extLst>
              </p:cNvPr>
              <p:cNvSpPr/>
              <p:nvPr/>
            </p:nvSpPr>
            <p:spPr>
              <a:xfrm>
                <a:off x="7785861" y="4639396"/>
                <a:ext cx="256158" cy="344382"/>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6F6F6F"/>
                  </a:solidFill>
                  <a:effectLst/>
                  <a:uLnTx/>
                  <a:uFillTx/>
                  <a:latin typeface="Arial"/>
                  <a:ea typeface="+mn-ea"/>
                  <a:cs typeface="+mn-cs"/>
                </a:endParaRPr>
              </a:p>
            </p:txBody>
          </p:sp>
          <p:sp>
            <p:nvSpPr>
              <p:cNvPr id="20" name="Forma libre 19">
                <a:extLst>
                  <a:ext uri="{FF2B5EF4-FFF2-40B4-BE49-F238E27FC236}">
                    <a16:creationId xmlns:a16="http://schemas.microsoft.com/office/drawing/2014/main" id="{4C866C15-9DA1-4244-A58E-93E1550697A8}"/>
                  </a:ext>
                </a:extLst>
              </p:cNvPr>
              <p:cNvSpPr/>
              <p:nvPr/>
            </p:nvSpPr>
            <p:spPr>
              <a:xfrm>
                <a:off x="8098546" y="4754028"/>
                <a:ext cx="798975" cy="174628"/>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tx2"/>
              </a:solidFill>
              <a:ln w="61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6F6F6F"/>
                  </a:solidFill>
                  <a:effectLst/>
                  <a:uLnTx/>
                  <a:uFillTx/>
                  <a:latin typeface="Arial"/>
                  <a:ea typeface="+mn-ea"/>
                  <a:cs typeface="+mn-cs"/>
                </a:endParaRPr>
              </a:p>
            </p:txBody>
          </p:sp>
        </p:grpSp>
      </p:grpSp>
      <p:sp>
        <p:nvSpPr>
          <p:cNvPr id="4" name="CuadroTexto 3">
            <a:extLst>
              <a:ext uri="{FF2B5EF4-FFF2-40B4-BE49-F238E27FC236}">
                <a16:creationId xmlns:a16="http://schemas.microsoft.com/office/drawing/2014/main" id="{D71BBBED-C082-9129-962D-7BE8E334FE01}"/>
              </a:ext>
            </a:extLst>
          </p:cNvPr>
          <p:cNvSpPr txBox="1"/>
          <p:nvPr/>
        </p:nvSpPr>
        <p:spPr>
          <a:xfrm>
            <a:off x="1050122" y="1996698"/>
            <a:ext cx="7205472" cy="27189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4267" b="1" i="0" u="none" strike="noStrike" kern="1200" cap="none" spc="0" normalizeH="0" baseline="0" noProof="0" dirty="0">
                <a:ln>
                  <a:noFill/>
                </a:ln>
                <a:solidFill>
                  <a:srgbClr val="00F0BE"/>
                </a:solidFill>
                <a:effectLst/>
                <a:uLnTx/>
                <a:uFillTx/>
                <a:latin typeface="Arial"/>
                <a:ea typeface="+mn-ea"/>
                <a:cs typeface="+mn-cs"/>
              </a:rPr>
              <a:t>Actualizaciones de las Principales </a:t>
            </a:r>
            <a:r>
              <a:rPr lang="es-ES" sz="4267" b="1" dirty="0">
                <a:solidFill>
                  <a:srgbClr val="00F0BE"/>
                </a:solidFill>
                <a:latin typeface="Arial"/>
              </a:rPr>
              <a:t>G</a:t>
            </a:r>
            <a:r>
              <a:rPr kumimoji="0" lang="es-ES" sz="4267" b="1" i="0" u="none" strike="noStrike" kern="1200" cap="none" spc="0" normalizeH="0" baseline="0" noProof="0" dirty="0" err="1">
                <a:ln>
                  <a:noFill/>
                </a:ln>
                <a:solidFill>
                  <a:srgbClr val="00F0BE"/>
                </a:solidFill>
                <a:effectLst/>
                <a:uLnTx/>
                <a:uFillTx/>
                <a:latin typeface="Arial"/>
                <a:ea typeface="+mn-ea"/>
                <a:cs typeface="+mn-cs"/>
              </a:rPr>
              <a:t>uías</a:t>
            </a:r>
            <a:r>
              <a:rPr kumimoji="0" lang="es-ES" sz="4267" b="1" i="0" u="none" strike="noStrike" kern="1200" cap="none" spc="0" normalizeH="0" baseline="0" noProof="0" dirty="0">
                <a:ln>
                  <a:noFill/>
                </a:ln>
                <a:solidFill>
                  <a:srgbClr val="00F0BE"/>
                </a:solidFill>
                <a:effectLst/>
                <a:uLnTx/>
                <a:uFillTx/>
                <a:latin typeface="Arial"/>
                <a:ea typeface="+mn-ea"/>
                <a:cs typeface="+mn-cs"/>
              </a:rPr>
              <a:t> Cardiovasculares </a:t>
            </a:r>
            <a:r>
              <a:rPr lang="es-ES" sz="4267" b="1" dirty="0">
                <a:solidFill>
                  <a:srgbClr val="00F0BE"/>
                </a:solidFill>
                <a:latin typeface="Arial"/>
              </a:rPr>
              <a:t>E</a:t>
            </a:r>
            <a:r>
              <a:rPr kumimoji="0" lang="es-ES" sz="4267" b="1" i="0" u="none" strike="noStrike" kern="1200" cap="none" spc="0" normalizeH="0" baseline="0" noProof="0" dirty="0" err="1">
                <a:ln>
                  <a:noFill/>
                </a:ln>
                <a:solidFill>
                  <a:srgbClr val="00F0BE"/>
                </a:solidFill>
                <a:effectLst/>
                <a:uLnTx/>
                <a:uFillTx/>
                <a:latin typeface="Arial"/>
                <a:ea typeface="+mn-ea"/>
                <a:cs typeface="+mn-cs"/>
              </a:rPr>
              <a:t>uropeas</a:t>
            </a:r>
            <a:r>
              <a:rPr kumimoji="0" lang="es-ES" sz="4267" b="1" i="0" u="none" strike="noStrike" kern="1200" cap="none" spc="0" normalizeH="0" baseline="0" noProof="0" dirty="0">
                <a:ln>
                  <a:noFill/>
                </a:ln>
                <a:solidFill>
                  <a:srgbClr val="00F0BE"/>
                </a:solidFill>
                <a:effectLst/>
                <a:uLnTx/>
                <a:uFillTx/>
                <a:latin typeface="Arial"/>
                <a:ea typeface="+mn-ea"/>
                <a:cs typeface="+mn-cs"/>
              </a:rPr>
              <a:t> (2024)</a:t>
            </a:r>
          </a:p>
        </p:txBody>
      </p:sp>
      <p:sp>
        <p:nvSpPr>
          <p:cNvPr id="6" name="CuadroTexto 5">
            <a:extLst>
              <a:ext uri="{FF2B5EF4-FFF2-40B4-BE49-F238E27FC236}">
                <a16:creationId xmlns:a16="http://schemas.microsoft.com/office/drawing/2014/main" id="{3BA3C499-A028-28D6-BC47-33C1F54C7CAB}"/>
              </a:ext>
            </a:extLst>
          </p:cNvPr>
          <p:cNvSpPr txBox="1"/>
          <p:nvPr/>
        </p:nvSpPr>
        <p:spPr>
          <a:xfrm>
            <a:off x="458014" y="5936115"/>
            <a:ext cx="5432612" cy="58477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s-ES" sz="1600" dirty="0">
                <a:solidFill>
                  <a:srgbClr val="00F0BE">
                    <a:lumMod val="60000"/>
                    <a:lumOff val="40000"/>
                  </a:srgbClr>
                </a:solidFill>
                <a:latin typeface="Arial"/>
              </a:rPr>
              <a:t>Fecha de elaboración </a:t>
            </a:r>
            <a:r>
              <a:rPr kumimoji="0" lang="es-ES" sz="1600" b="0" i="0" u="none" strike="noStrike" kern="1200" cap="none" spc="0" normalizeH="0" baseline="0" noProof="0" dirty="0">
                <a:ln>
                  <a:noFill/>
                </a:ln>
                <a:solidFill>
                  <a:srgbClr val="00F0BE">
                    <a:lumMod val="60000"/>
                    <a:lumOff val="40000"/>
                  </a:srgbClr>
                </a:solidFill>
                <a:effectLst/>
                <a:uLnTx/>
                <a:uFillTx/>
                <a:latin typeface="Arial"/>
                <a:ea typeface="+mn-ea"/>
                <a:cs typeface="+mn-cs"/>
              </a:rPr>
              <a:t>Octubre 2024</a:t>
            </a:r>
          </a:p>
          <a:p>
            <a:pPr marL="0" marR="0" lvl="0" indent="0" defTabSz="914400" rtl="0" eaLnBrk="1" fontAlgn="auto" latinLnBrk="0" hangingPunct="1">
              <a:lnSpc>
                <a:spcPct val="100000"/>
              </a:lnSpc>
              <a:spcBef>
                <a:spcPts val="0"/>
              </a:spcBef>
              <a:spcAft>
                <a:spcPts val="0"/>
              </a:spcAft>
              <a:buClrTx/>
              <a:buSzTx/>
              <a:buFontTx/>
              <a:buNone/>
              <a:tabLst/>
              <a:defRPr/>
            </a:pPr>
            <a:r>
              <a:rPr lang="es-ES" sz="1600" dirty="0">
                <a:solidFill>
                  <a:srgbClr val="00F0BE">
                    <a:lumMod val="60000"/>
                    <a:lumOff val="40000"/>
                  </a:srgbClr>
                </a:solidFill>
                <a:latin typeface="Arial"/>
              </a:rPr>
              <a:t>Dr./Dra.____________________</a:t>
            </a:r>
            <a:endParaRPr kumimoji="0" lang="es-ES" sz="1600" b="0" i="0" u="none" strike="noStrike" kern="1200" cap="none" spc="0" normalizeH="0" baseline="0" noProof="0" dirty="0">
              <a:ln>
                <a:noFill/>
              </a:ln>
              <a:solidFill>
                <a:srgbClr val="00F0BE">
                  <a:lumMod val="60000"/>
                  <a:lumOff val="40000"/>
                </a:srgbClr>
              </a:solidFill>
              <a:effectLst/>
              <a:uLnTx/>
              <a:uFillTx/>
              <a:latin typeface="Arial"/>
              <a:ea typeface="+mn-ea"/>
              <a:cs typeface="+mn-cs"/>
            </a:endParaRPr>
          </a:p>
        </p:txBody>
      </p:sp>
      <p:sp>
        <p:nvSpPr>
          <p:cNvPr id="9" name="CuadroTexto 8">
            <a:extLst>
              <a:ext uri="{FF2B5EF4-FFF2-40B4-BE49-F238E27FC236}">
                <a16:creationId xmlns:a16="http://schemas.microsoft.com/office/drawing/2014/main" id="{83C10CA3-BA40-AA9E-D16E-5374C1E6C903}"/>
              </a:ext>
            </a:extLst>
          </p:cNvPr>
          <p:cNvSpPr txBox="1"/>
          <p:nvPr/>
        </p:nvSpPr>
        <p:spPr>
          <a:xfrm>
            <a:off x="4498848" y="6519372"/>
            <a:ext cx="2471166" cy="30811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2582227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D8FCEA-10DA-74F9-72C0-C4F24805CEE6}"/>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BEF6E9EA-8A9F-249D-CE79-8B36894341CE}"/>
              </a:ext>
            </a:extLst>
          </p:cNvPr>
          <p:cNvSpPr>
            <a:spLocks noGrp="1"/>
          </p:cNvSpPr>
          <p:nvPr>
            <p:ph type="body" sz="quarter" idx="24"/>
          </p:nvPr>
        </p:nvSpPr>
        <p:spPr/>
        <p:txBody>
          <a:bodyPr/>
          <a:lstStyle/>
          <a:p>
            <a:endParaRPr lang="es-ES"/>
          </a:p>
        </p:txBody>
      </p:sp>
      <p:sp>
        <p:nvSpPr>
          <p:cNvPr id="6" name="Marcador de número de diapositiva 5">
            <a:extLst>
              <a:ext uri="{FF2B5EF4-FFF2-40B4-BE49-F238E27FC236}">
                <a16:creationId xmlns:a16="http://schemas.microsoft.com/office/drawing/2014/main" id="{E918C575-A4FC-2F88-A4C9-90B139C89379}"/>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sp>
        <p:nvSpPr>
          <p:cNvPr id="12" name="6 CuadroTexto">
            <a:extLst>
              <a:ext uri="{FF2B5EF4-FFF2-40B4-BE49-F238E27FC236}">
                <a16:creationId xmlns:a16="http://schemas.microsoft.com/office/drawing/2014/main" id="{58FCCFF9-6434-880D-EBBB-A1AC07D800DB}"/>
              </a:ext>
            </a:extLst>
          </p:cNvPr>
          <p:cNvSpPr txBox="1"/>
          <p:nvPr/>
        </p:nvSpPr>
        <p:spPr>
          <a:xfrm>
            <a:off x="3889960" y="3950975"/>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2" name="Imagen 1">
            <a:extLst>
              <a:ext uri="{FF2B5EF4-FFF2-40B4-BE49-F238E27FC236}">
                <a16:creationId xmlns:a16="http://schemas.microsoft.com/office/drawing/2014/main" id="{B0471BC6-445C-0959-5A12-D64FA13E2EBB}"/>
              </a:ext>
            </a:extLst>
          </p:cNvPr>
          <p:cNvPicPr>
            <a:picLocks noChangeAspect="1"/>
          </p:cNvPicPr>
          <p:nvPr/>
        </p:nvPicPr>
        <p:blipFill>
          <a:blip r:embed="rId3"/>
          <a:stretch>
            <a:fillRect/>
          </a:stretch>
        </p:blipFill>
        <p:spPr>
          <a:xfrm>
            <a:off x="10623775" y="231972"/>
            <a:ext cx="1329043" cy="457240"/>
          </a:xfrm>
          <a:prstGeom prst="rect">
            <a:avLst/>
          </a:prstGeom>
        </p:spPr>
      </p:pic>
      <p:sp>
        <p:nvSpPr>
          <p:cNvPr id="9" name="Título 3">
            <a:extLst>
              <a:ext uri="{FF2B5EF4-FFF2-40B4-BE49-F238E27FC236}">
                <a16:creationId xmlns:a16="http://schemas.microsoft.com/office/drawing/2014/main" id="{266E4502-10CA-C033-0C51-CEB0012A6B96}"/>
              </a:ext>
            </a:extLst>
          </p:cNvPr>
          <p:cNvSpPr txBox="1">
            <a:spLocks/>
          </p:cNvSpPr>
          <p:nvPr/>
        </p:nvSpPr>
        <p:spPr>
          <a:xfrm>
            <a:off x="1130911" y="208353"/>
            <a:ext cx="9257335" cy="819771"/>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 sz="2800" dirty="0"/>
              <a:t>Enfoque gradual para el diagnóstico y el manejo inicial de los individuos con sospecha de SCC</a:t>
            </a:r>
            <a:r>
              <a:rPr lang="es-ES" sz="2800" baseline="30000" dirty="0"/>
              <a:t>1</a:t>
            </a:r>
          </a:p>
        </p:txBody>
      </p:sp>
      <p:pic>
        <p:nvPicPr>
          <p:cNvPr id="7" name="Imagen 6">
            <a:extLst>
              <a:ext uri="{FF2B5EF4-FFF2-40B4-BE49-F238E27FC236}">
                <a16:creationId xmlns:a16="http://schemas.microsoft.com/office/drawing/2014/main" id="{964D29DB-2049-EDD2-069A-94D4D6484BE9}"/>
              </a:ext>
            </a:extLst>
          </p:cNvPr>
          <p:cNvPicPr>
            <a:picLocks noChangeAspect="1"/>
          </p:cNvPicPr>
          <p:nvPr/>
        </p:nvPicPr>
        <p:blipFill>
          <a:blip r:embed="rId4"/>
          <a:srcRect b="53067"/>
          <a:stretch/>
        </p:blipFill>
        <p:spPr>
          <a:xfrm>
            <a:off x="2959799" y="1111272"/>
            <a:ext cx="4722520" cy="2558125"/>
          </a:xfrm>
          <a:prstGeom prst="rect">
            <a:avLst/>
          </a:prstGeom>
        </p:spPr>
      </p:pic>
      <p:pic>
        <p:nvPicPr>
          <p:cNvPr id="13" name="Imagen 12">
            <a:extLst>
              <a:ext uri="{FF2B5EF4-FFF2-40B4-BE49-F238E27FC236}">
                <a16:creationId xmlns:a16="http://schemas.microsoft.com/office/drawing/2014/main" id="{F60E4305-6AE8-A663-AAF5-0870B5B880E5}"/>
              </a:ext>
            </a:extLst>
          </p:cNvPr>
          <p:cNvPicPr>
            <a:picLocks noChangeAspect="1"/>
          </p:cNvPicPr>
          <p:nvPr/>
        </p:nvPicPr>
        <p:blipFill>
          <a:blip r:embed="rId4"/>
          <a:srcRect t="44533"/>
          <a:stretch/>
        </p:blipFill>
        <p:spPr>
          <a:xfrm>
            <a:off x="3034928" y="3519835"/>
            <a:ext cx="4628605" cy="2878504"/>
          </a:xfrm>
          <a:prstGeom prst="rect">
            <a:avLst/>
          </a:prstGeom>
        </p:spPr>
      </p:pic>
      <p:sp>
        <p:nvSpPr>
          <p:cNvPr id="15" name="Rectángulo: esquinas redondeadas 14">
            <a:extLst>
              <a:ext uri="{FF2B5EF4-FFF2-40B4-BE49-F238E27FC236}">
                <a16:creationId xmlns:a16="http://schemas.microsoft.com/office/drawing/2014/main" id="{791C0151-0B8E-467B-9B8C-EDDD80958EDA}"/>
              </a:ext>
            </a:extLst>
          </p:cNvPr>
          <p:cNvSpPr/>
          <p:nvPr/>
        </p:nvSpPr>
        <p:spPr>
          <a:xfrm>
            <a:off x="4882673" y="2497805"/>
            <a:ext cx="982133" cy="965363"/>
          </a:xfrm>
          <a:prstGeom prst="roundRect">
            <a:avLst/>
          </a:prstGeom>
          <a:noFill/>
          <a:ln w="2857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n>
                <a:solidFill>
                  <a:srgbClr val="00B050"/>
                </a:solidFill>
              </a:ln>
              <a:noFill/>
            </a:endParaRPr>
          </a:p>
        </p:txBody>
      </p:sp>
      <p:sp>
        <p:nvSpPr>
          <p:cNvPr id="16" name="Rectángulo 15">
            <a:extLst>
              <a:ext uri="{FF2B5EF4-FFF2-40B4-BE49-F238E27FC236}">
                <a16:creationId xmlns:a16="http://schemas.microsoft.com/office/drawing/2014/main" id="{4C479EE4-C9E1-DEF3-7D15-6FBC793DE978}"/>
              </a:ext>
            </a:extLst>
          </p:cNvPr>
          <p:cNvSpPr/>
          <p:nvPr/>
        </p:nvSpPr>
        <p:spPr>
          <a:xfrm>
            <a:off x="7682319" y="1730629"/>
            <a:ext cx="1274962" cy="1037055"/>
          </a:xfrm>
          <a:prstGeom prst="rect">
            <a:avLst/>
          </a:prstGeom>
          <a:ln>
            <a:solidFill>
              <a:schemeClr val="accent4"/>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s-ES" sz="1000" dirty="0">
                <a:solidFill>
                  <a:schemeClr val="bg1"/>
                </a:solidFill>
              </a:rPr>
              <a:t>Utilizando el modelo de probabilidad clínica ponderado por factores de riesgo (Clase I).</a:t>
            </a:r>
            <a:r>
              <a:rPr lang="es-ES" sz="1000" baseline="30000" dirty="0">
                <a:solidFill>
                  <a:schemeClr val="bg1"/>
                </a:solidFill>
              </a:rPr>
              <a:t>1</a:t>
            </a:r>
          </a:p>
        </p:txBody>
      </p:sp>
      <p:sp>
        <p:nvSpPr>
          <p:cNvPr id="19" name="Rectángulo 18">
            <a:extLst>
              <a:ext uri="{FF2B5EF4-FFF2-40B4-BE49-F238E27FC236}">
                <a16:creationId xmlns:a16="http://schemas.microsoft.com/office/drawing/2014/main" id="{FDB5512B-0041-C522-6D6D-FD82F118DDFC}"/>
              </a:ext>
            </a:extLst>
          </p:cNvPr>
          <p:cNvSpPr/>
          <p:nvPr/>
        </p:nvSpPr>
        <p:spPr>
          <a:xfrm>
            <a:off x="7663534" y="3181227"/>
            <a:ext cx="1293748" cy="680245"/>
          </a:xfrm>
          <a:prstGeom prst="rect">
            <a:avLst/>
          </a:prstGeom>
          <a:ln>
            <a:solidFill>
              <a:schemeClr val="accent4"/>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s-ES" sz="1000" dirty="0">
                <a:solidFill>
                  <a:schemeClr val="bg1"/>
                </a:solidFill>
              </a:rPr>
              <a:t>Utilizando datos clínicos (ecografía, ECG, </a:t>
            </a:r>
            <a:r>
              <a:rPr lang="es-ES" sz="1000" dirty="0" err="1">
                <a:solidFill>
                  <a:schemeClr val="bg1"/>
                </a:solidFill>
              </a:rPr>
              <a:t>etc</a:t>
            </a:r>
            <a:r>
              <a:rPr lang="es-ES" sz="1000" dirty="0">
                <a:solidFill>
                  <a:schemeClr val="bg1"/>
                </a:solidFill>
              </a:rPr>
              <a:t>) para ajustar (clase I)</a:t>
            </a:r>
            <a:r>
              <a:rPr lang="es-ES" sz="1000" baseline="30000" dirty="0">
                <a:solidFill>
                  <a:schemeClr val="bg1"/>
                </a:solidFill>
              </a:rPr>
              <a:t> 1</a:t>
            </a:r>
            <a:endParaRPr lang="es-ES" sz="1000" dirty="0">
              <a:solidFill>
                <a:schemeClr val="bg1"/>
              </a:solidFill>
            </a:endParaRPr>
          </a:p>
        </p:txBody>
      </p:sp>
      <p:sp>
        <p:nvSpPr>
          <p:cNvPr id="25" name="Rectángulo: esquinas redondeadas 24">
            <a:extLst>
              <a:ext uri="{FF2B5EF4-FFF2-40B4-BE49-F238E27FC236}">
                <a16:creationId xmlns:a16="http://schemas.microsoft.com/office/drawing/2014/main" id="{8C47CD01-972E-629E-A446-D9DDC2FE6CAD}"/>
              </a:ext>
            </a:extLst>
          </p:cNvPr>
          <p:cNvSpPr/>
          <p:nvPr/>
        </p:nvSpPr>
        <p:spPr>
          <a:xfrm>
            <a:off x="6154521" y="3941280"/>
            <a:ext cx="713599" cy="135467"/>
          </a:xfrm>
          <a:prstGeom prst="roundRect">
            <a:avLst>
              <a:gd name="adj" fmla="val 50000"/>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CuadroTexto 10">
            <a:extLst>
              <a:ext uri="{FF2B5EF4-FFF2-40B4-BE49-F238E27FC236}">
                <a16:creationId xmlns:a16="http://schemas.microsoft.com/office/drawing/2014/main" id="{45EC20BF-6058-202C-9E85-D7E535F970F1}"/>
              </a:ext>
            </a:extLst>
          </p:cNvPr>
          <p:cNvSpPr txBox="1"/>
          <p:nvPr/>
        </p:nvSpPr>
        <p:spPr>
          <a:xfrm>
            <a:off x="7778692" y="4579389"/>
            <a:ext cx="3579541" cy="707886"/>
          </a:xfrm>
          <a:prstGeom prst="rect">
            <a:avLst/>
          </a:prstGeom>
          <a:noFill/>
        </p:spPr>
        <p:txBody>
          <a:bodyPr wrap="square">
            <a:spAutoFit/>
          </a:bodyPr>
          <a:lstStyle/>
          <a:p>
            <a:pPr algn="just"/>
            <a:r>
              <a:rPr lang="en-GB" sz="800" dirty="0">
                <a:solidFill>
                  <a:schemeClr val="accent1"/>
                </a:solidFill>
              </a:rPr>
              <a:t>ANOCA: angina with non-obstructive coronary arteries; CAD: coronary artery disease; CCS: chronic coronary syndrome; CCTA: coronary computed tomography angiography; ECG: electrocardiogram; ED: emergency department; GDMT: guideline-directed medical therapy; INOCA: ischaemia with non-obstructive coronary arteries. </a:t>
            </a:r>
          </a:p>
        </p:txBody>
      </p:sp>
      <p:cxnSp>
        <p:nvCxnSpPr>
          <p:cNvPr id="22" name="Conector recto de flecha 21">
            <a:extLst>
              <a:ext uri="{FF2B5EF4-FFF2-40B4-BE49-F238E27FC236}">
                <a16:creationId xmlns:a16="http://schemas.microsoft.com/office/drawing/2014/main" id="{9AC78242-0D73-43D7-C399-8B2E815B6F97}"/>
              </a:ext>
            </a:extLst>
          </p:cNvPr>
          <p:cNvCxnSpPr>
            <a:cxnSpLocks/>
            <a:stCxn id="15" idx="3"/>
          </p:cNvCxnSpPr>
          <p:nvPr/>
        </p:nvCxnSpPr>
        <p:spPr>
          <a:xfrm flipV="1">
            <a:off x="5864806" y="2304020"/>
            <a:ext cx="1798727" cy="676467"/>
          </a:xfrm>
          <a:prstGeom prst="straightConnector1">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onector recto de flecha 23">
            <a:extLst>
              <a:ext uri="{FF2B5EF4-FFF2-40B4-BE49-F238E27FC236}">
                <a16:creationId xmlns:a16="http://schemas.microsoft.com/office/drawing/2014/main" id="{2859A69C-DAEA-574C-EAC8-CC4B840E2385}"/>
              </a:ext>
            </a:extLst>
          </p:cNvPr>
          <p:cNvCxnSpPr>
            <a:cxnSpLocks/>
            <a:stCxn id="15" idx="3"/>
            <a:endCxn id="19" idx="1"/>
          </p:cNvCxnSpPr>
          <p:nvPr/>
        </p:nvCxnSpPr>
        <p:spPr>
          <a:xfrm>
            <a:off x="5864806" y="2980487"/>
            <a:ext cx="1798728" cy="540863"/>
          </a:xfrm>
          <a:prstGeom prst="straightConnector1">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5" name="CuadroTexto 4">
            <a:extLst>
              <a:ext uri="{FF2B5EF4-FFF2-40B4-BE49-F238E27FC236}">
                <a16:creationId xmlns:a16="http://schemas.microsoft.com/office/drawing/2014/main" id="{888503C9-71AA-8589-858D-C9006EF4AFBF}"/>
              </a:ext>
            </a:extLst>
          </p:cNvPr>
          <p:cNvSpPr txBox="1"/>
          <p:nvPr/>
        </p:nvSpPr>
        <p:spPr>
          <a:xfrm>
            <a:off x="7778692" y="6048574"/>
            <a:ext cx="3971348" cy="307777"/>
          </a:xfrm>
          <a:prstGeom prst="rect">
            <a:avLst/>
          </a:prstGeom>
          <a:noFill/>
        </p:spPr>
        <p:txBody>
          <a:bodyPr wrap="square" rtlCol="0">
            <a:spAutoFit/>
          </a:bodyPr>
          <a:lstStyle>
            <a:defPPr>
              <a:defRPr lang="es-ES"/>
            </a:defPPr>
            <a:lvl1pPr>
              <a:defRPr sz="700" b="0" i="1">
                <a:solidFill>
                  <a:schemeClr val="accent1"/>
                </a:solidFill>
                <a:effectLst/>
              </a:defRPr>
            </a:lvl1pPr>
          </a:lstStyle>
          <a:p>
            <a:pPr algn="ctr"/>
            <a:r>
              <a:rPr lang="en-US" dirty="0"/>
              <a:t>1. </a:t>
            </a:r>
            <a:r>
              <a:rPr lang="en-US" dirty="0" err="1"/>
              <a:t>Vrints</a:t>
            </a:r>
            <a:r>
              <a:rPr lang="en-US" dirty="0"/>
              <a:t> C, et al. 2024 ESC Guidelines for the management of chronic coronary syndromes. </a:t>
            </a:r>
            <a:r>
              <a:rPr lang="en-US" dirty="0" err="1"/>
              <a:t>Eur</a:t>
            </a:r>
            <a:r>
              <a:rPr lang="en-US" dirty="0"/>
              <a:t> Heart J. 2024 Sep 29;45(36):3415-3537. </a:t>
            </a:r>
            <a:r>
              <a:rPr lang="en-US" dirty="0" err="1"/>
              <a:t>doi</a:t>
            </a:r>
            <a:r>
              <a:rPr lang="en-US" dirty="0"/>
              <a:t>: 10.1093/</a:t>
            </a:r>
            <a:r>
              <a:rPr lang="en-US" dirty="0" err="1"/>
              <a:t>eurheartj</a:t>
            </a:r>
            <a:r>
              <a:rPr lang="en-US" dirty="0"/>
              <a:t>/ehae177.</a:t>
            </a:r>
          </a:p>
        </p:txBody>
      </p:sp>
      <p:sp>
        <p:nvSpPr>
          <p:cNvPr id="8" name="CuadroTexto 7">
            <a:extLst>
              <a:ext uri="{FF2B5EF4-FFF2-40B4-BE49-F238E27FC236}">
                <a16:creationId xmlns:a16="http://schemas.microsoft.com/office/drawing/2014/main" id="{ADA58F36-44EB-F383-A290-E92544167ABC}"/>
              </a:ext>
            </a:extLst>
          </p:cNvPr>
          <p:cNvSpPr txBox="1"/>
          <p:nvPr/>
        </p:nvSpPr>
        <p:spPr>
          <a:xfrm>
            <a:off x="7778693" y="5841896"/>
            <a:ext cx="4174126" cy="246221"/>
          </a:xfrm>
          <a:prstGeom prst="rect">
            <a:avLst/>
          </a:prstGeom>
          <a:noFill/>
        </p:spPr>
        <p:txBody>
          <a:bodyPr wrap="square">
            <a:spAutoFit/>
          </a:bodyPr>
          <a:lstStyle/>
          <a:p>
            <a:pPr algn="ctr"/>
            <a:r>
              <a:rPr lang="es-ES" sz="1000" dirty="0">
                <a:solidFill>
                  <a:schemeClr val="accent1"/>
                </a:solidFill>
              </a:rPr>
              <a:t>Guía ESC 2024 para el manejo de los síndromes coronarios crónicos </a:t>
            </a:r>
          </a:p>
        </p:txBody>
      </p:sp>
      <p:sp>
        <p:nvSpPr>
          <p:cNvPr id="10" name="CuadroTexto 9">
            <a:extLst>
              <a:ext uri="{FF2B5EF4-FFF2-40B4-BE49-F238E27FC236}">
                <a16:creationId xmlns:a16="http://schemas.microsoft.com/office/drawing/2014/main" id="{CFA0DF43-6AED-BAAD-7068-1AFF89B269A7}"/>
              </a:ext>
            </a:extLst>
          </p:cNvPr>
          <p:cNvSpPr txBox="1"/>
          <p:nvPr/>
        </p:nvSpPr>
        <p:spPr>
          <a:xfrm>
            <a:off x="4218132" y="6449592"/>
            <a:ext cx="2207351" cy="200055"/>
          </a:xfrm>
          <a:prstGeom prst="rect">
            <a:avLst/>
          </a:prstGeom>
          <a:noFill/>
        </p:spPr>
        <p:txBody>
          <a:bodyPr wrap="square" rtlCol="0">
            <a:spAutoFit/>
          </a:bodyPr>
          <a:lstStyle>
            <a:defPPr>
              <a:defRPr lang="es-ES"/>
            </a:defPPr>
            <a:lvl1pPr>
              <a:defRPr sz="700" b="0" i="1">
                <a:solidFill>
                  <a:schemeClr val="accent1"/>
                </a:solidFill>
                <a:effectLst/>
              </a:defRPr>
            </a:lvl1pPr>
          </a:lstStyle>
          <a:p>
            <a:pPr algn="ctr"/>
            <a:r>
              <a:rPr lang="en-US" b="1" dirty="0" err="1"/>
              <a:t>Eur</a:t>
            </a:r>
            <a:r>
              <a:rPr lang="en-US" b="1" dirty="0"/>
              <a:t> Heart J. 2024 Sep 29;45(36):3415-3537</a:t>
            </a:r>
            <a:endParaRPr lang="es-ES" b="1" dirty="0"/>
          </a:p>
        </p:txBody>
      </p:sp>
      <p:sp>
        <p:nvSpPr>
          <p:cNvPr id="3" name="CuadroTexto 2">
            <a:extLst>
              <a:ext uri="{FF2B5EF4-FFF2-40B4-BE49-F238E27FC236}">
                <a16:creationId xmlns:a16="http://schemas.microsoft.com/office/drawing/2014/main" id="{18A1A671-217C-5C17-6546-F977EDA51D4B}"/>
              </a:ext>
            </a:extLst>
          </p:cNvPr>
          <p:cNvSpPr txBox="1"/>
          <p:nvPr/>
        </p:nvSpPr>
        <p:spPr>
          <a:xfrm rot="16200000">
            <a:off x="10633273" y="3376069"/>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39516831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6D4711-DC6A-BD1A-E40D-95B6DF99297A}"/>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49299334-D24B-98C9-E89E-8E571C3756F5}"/>
              </a:ext>
            </a:extLst>
          </p:cNvPr>
          <p:cNvSpPr>
            <a:spLocks noGrp="1"/>
          </p:cNvSpPr>
          <p:nvPr>
            <p:ph type="body" sz="quarter" idx="24"/>
          </p:nvPr>
        </p:nvSpPr>
        <p:spPr/>
        <p:txBody>
          <a:bodyPr/>
          <a:lstStyle/>
          <a:p>
            <a:endParaRPr lang="es-ES" dirty="0"/>
          </a:p>
        </p:txBody>
      </p:sp>
      <p:sp>
        <p:nvSpPr>
          <p:cNvPr id="6" name="Marcador de número de diapositiva 5">
            <a:extLst>
              <a:ext uri="{FF2B5EF4-FFF2-40B4-BE49-F238E27FC236}">
                <a16:creationId xmlns:a16="http://schemas.microsoft.com/office/drawing/2014/main" id="{6E4B2387-36FE-C43E-C025-4ABE8512BA1A}"/>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sp>
        <p:nvSpPr>
          <p:cNvPr id="12" name="6 CuadroTexto">
            <a:extLst>
              <a:ext uri="{FF2B5EF4-FFF2-40B4-BE49-F238E27FC236}">
                <a16:creationId xmlns:a16="http://schemas.microsoft.com/office/drawing/2014/main" id="{B9D7EE2A-D58B-4B84-265E-0DDA3C85FD3F}"/>
              </a:ext>
            </a:extLst>
          </p:cNvPr>
          <p:cNvSpPr txBox="1"/>
          <p:nvPr/>
        </p:nvSpPr>
        <p:spPr>
          <a:xfrm>
            <a:off x="6885497" y="3562763"/>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2" name="Imagen 1">
            <a:extLst>
              <a:ext uri="{FF2B5EF4-FFF2-40B4-BE49-F238E27FC236}">
                <a16:creationId xmlns:a16="http://schemas.microsoft.com/office/drawing/2014/main" id="{BD252566-652B-21D0-37D4-FC3B7357BFCB}"/>
              </a:ext>
            </a:extLst>
          </p:cNvPr>
          <p:cNvPicPr>
            <a:picLocks noChangeAspect="1"/>
          </p:cNvPicPr>
          <p:nvPr/>
        </p:nvPicPr>
        <p:blipFill>
          <a:blip r:embed="rId3"/>
          <a:stretch>
            <a:fillRect/>
          </a:stretch>
        </p:blipFill>
        <p:spPr>
          <a:xfrm>
            <a:off x="10623775" y="231972"/>
            <a:ext cx="1329043" cy="457240"/>
          </a:xfrm>
          <a:prstGeom prst="rect">
            <a:avLst/>
          </a:prstGeom>
        </p:spPr>
      </p:pic>
      <p:sp>
        <p:nvSpPr>
          <p:cNvPr id="9" name="Título 3">
            <a:extLst>
              <a:ext uri="{FF2B5EF4-FFF2-40B4-BE49-F238E27FC236}">
                <a16:creationId xmlns:a16="http://schemas.microsoft.com/office/drawing/2014/main" id="{BE73E785-055D-93FC-9909-7F5A25880B3D}"/>
              </a:ext>
            </a:extLst>
          </p:cNvPr>
          <p:cNvSpPr txBox="1">
            <a:spLocks/>
          </p:cNvSpPr>
          <p:nvPr/>
        </p:nvSpPr>
        <p:spPr>
          <a:xfrm>
            <a:off x="1140921" y="189728"/>
            <a:ext cx="5327649" cy="1469134"/>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endParaRPr lang="es-ES" sz="2800" dirty="0"/>
          </a:p>
        </p:txBody>
      </p:sp>
      <p:pic>
        <p:nvPicPr>
          <p:cNvPr id="11" name="Imagen 10">
            <a:extLst>
              <a:ext uri="{FF2B5EF4-FFF2-40B4-BE49-F238E27FC236}">
                <a16:creationId xmlns:a16="http://schemas.microsoft.com/office/drawing/2014/main" id="{FE44475F-36C1-6FB6-9EE7-0F8005A5470D}"/>
              </a:ext>
            </a:extLst>
          </p:cNvPr>
          <p:cNvPicPr>
            <a:picLocks noChangeAspect="1"/>
          </p:cNvPicPr>
          <p:nvPr/>
        </p:nvPicPr>
        <p:blipFill>
          <a:blip r:embed="rId4"/>
          <a:stretch>
            <a:fillRect/>
          </a:stretch>
        </p:blipFill>
        <p:spPr>
          <a:xfrm>
            <a:off x="5343218" y="1022559"/>
            <a:ext cx="6072910" cy="5309648"/>
          </a:xfrm>
          <a:prstGeom prst="rect">
            <a:avLst/>
          </a:prstGeom>
        </p:spPr>
      </p:pic>
      <p:sp>
        <p:nvSpPr>
          <p:cNvPr id="19" name="CuadroTexto 18">
            <a:extLst>
              <a:ext uri="{FF2B5EF4-FFF2-40B4-BE49-F238E27FC236}">
                <a16:creationId xmlns:a16="http://schemas.microsoft.com/office/drawing/2014/main" id="{AA3A5BEB-BE52-A543-0779-F64C77420264}"/>
              </a:ext>
            </a:extLst>
          </p:cNvPr>
          <p:cNvSpPr txBox="1"/>
          <p:nvPr/>
        </p:nvSpPr>
        <p:spPr>
          <a:xfrm>
            <a:off x="1010210" y="88519"/>
            <a:ext cx="9441581" cy="954107"/>
          </a:xfrm>
          <a:prstGeom prst="rect">
            <a:avLst/>
          </a:prstGeom>
          <a:noFill/>
        </p:spPr>
        <p:txBody>
          <a:bodyPr wrap="square" rtlCol="0">
            <a:spAutoFit/>
          </a:bodyPr>
          <a:lstStyle/>
          <a:p>
            <a:r>
              <a:rPr lang="es-ES" sz="2800" dirty="0">
                <a:solidFill>
                  <a:schemeClr val="accent1"/>
                </a:solidFill>
                <a:latin typeface="+mj-lt"/>
                <a:ea typeface="+mj-ea"/>
                <a:cs typeface="+mj-cs"/>
              </a:rPr>
              <a:t>¿Qué pruebas diagnósticas debemos seguir en pacientes sintomáticos con sospecha de SCC?</a:t>
            </a:r>
            <a:endParaRPr lang="en-GB" sz="2800" dirty="0">
              <a:solidFill>
                <a:schemeClr val="accent1"/>
              </a:solidFill>
              <a:latin typeface="+mj-lt"/>
              <a:ea typeface="+mj-ea"/>
              <a:cs typeface="+mj-cs"/>
            </a:endParaRPr>
          </a:p>
        </p:txBody>
      </p:sp>
      <p:sp>
        <p:nvSpPr>
          <p:cNvPr id="7" name="CuadroTexto 6">
            <a:extLst>
              <a:ext uri="{FF2B5EF4-FFF2-40B4-BE49-F238E27FC236}">
                <a16:creationId xmlns:a16="http://schemas.microsoft.com/office/drawing/2014/main" id="{B8FF128B-5D85-8BFE-877F-5BA0F38BCABF}"/>
              </a:ext>
            </a:extLst>
          </p:cNvPr>
          <p:cNvSpPr txBox="1"/>
          <p:nvPr/>
        </p:nvSpPr>
        <p:spPr>
          <a:xfrm>
            <a:off x="1362949" y="5003440"/>
            <a:ext cx="3980270" cy="584775"/>
          </a:xfrm>
          <a:prstGeom prst="rect">
            <a:avLst/>
          </a:prstGeom>
          <a:noFill/>
        </p:spPr>
        <p:txBody>
          <a:bodyPr wrap="square">
            <a:spAutoFit/>
          </a:bodyPr>
          <a:lstStyle/>
          <a:p>
            <a:pPr algn="just"/>
            <a:r>
              <a:rPr lang="en-GB" sz="800" dirty="0">
                <a:solidFill>
                  <a:schemeClr val="accent1"/>
                </a:solidFill>
              </a:rPr>
              <a:t>CAD: coronary artery disease; CCS: chronic coronary syndrome; CCTA: coronary computed tomography angiography: CMR: cardiac magnetic resonance; ECHO: echocardiography; PET: positron emission tomography; SPECT: single-photon emission computed tomography.</a:t>
            </a:r>
          </a:p>
        </p:txBody>
      </p:sp>
      <p:sp>
        <p:nvSpPr>
          <p:cNvPr id="8" name="CuadroTexto 7">
            <a:extLst>
              <a:ext uri="{FF2B5EF4-FFF2-40B4-BE49-F238E27FC236}">
                <a16:creationId xmlns:a16="http://schemas.microsoft.com/office/drawing/2014/main" id="{531FF014-C913-7007-49F7-737CCBC4BA61}"/>
              </a:ext>
            </a:extLst>
          </p:cNvPr>
          <p:cNvSpPr txBox="1"/>
          <p:nvPr/>
        </p:nvSpPr>
        <p:spPr>
          <a:xfrm>
            <a:off x="1362949" y="2354935"/>
            <a:ext cx="3980269" cy="1600438"/>
          </a:xfrm>
          <a:prstGeom prst="rect">
            <a:avLst/>
          </a:prstGeom>
          <a:solidFill>
            <a:schemeClr val="accent4"/>
          </a:solidFill>
          <a:ln w="19050">
            <a:noFill/>
          </a:ln>
        </p:spPr>
        <p:txBody>
          <a:bodyPr wrap="square" rtlCol="0">
            <a:spAutoFit/>
          </a:bodyPr>
          <a:lstStyle/>
          <a:p>
            <a:pPr algn="just"/>
            <a:r>
              <a:rPr lang="es-ES" sz="1400" dirty="0">
                <a:solidFill>
                  <a:schemeClr val="bg1"/>
                </a:solidFill>
              </a:rPr>
              <a:t>Se recomienda que los pacientes sintomáticos con sospecha de ANOCA/INOCA que no respondan a la terapia médica derivada de las directrices</a:t>
            </a:r>
            <a:r>
              <a:rPr lang="es-ES" sz="1400" b="1" dirty="0">
                <a:solidFill>
                  <a:schemeClr val="bg1"/>
                </a:solidFill>
              </a:rPr>
              <a:t> se sometan a pruebas funcionales coronarias invasivas para determinar los </a:t>
            </a:r>
            <a:r>
              <a:rPr lang="es-ES" sz="1400" b="1" dirty="0" err="1">
                <a:solidFill>
                  <a:schemeClr val="bg1"/>
                </a:solidFill>
              </a:rPr>
              <a:t>endotipos</a:t>
            </a:r>
            <a:r>
              <a:rPr lang="es-ES" sz="1400" b="1" dirty="0">
                <a:solidFill>
                  <a:schemeClr val="bg1"/>
                </a:solidFill>
              </a:rPr>
              <a:t> subyacentes y orientar la terapia médica adecuada</a:t>
            </a:r>
            <a:r>
              <a:rPr lang="es-ES" sz="1400" b="1" baseline="30000" dirty="0">
                <a:solidFill>
                  <a:schemeClr val="bg1"/>
                </a:solidFill>
              </a:rPr>
              <a:t>1</a:t>
            </a:r>
            <a:r>
              <a:rPr lang="es-ES" sz="1400" b="1" dirty="0">
                <a:solidFill>
                  <a:schemeClr val="bg1"/>
                </a:solidFill>
              </a:rPr>
              <a:t>.</a:t>
            </a:r>
          </a:p>
        </p:txBody>
      </p:sp>
      <p:sp>
        <p:nvSpPr>
          <p:cNvPr id="3" name="Flecha: doblada hacia arriba 2">
            <a:extLst>
              <a:ext uri="{FF2B5EF4-FFF2-40B4-BE49-F238E27FC236}">
                <a16:creationId xmlns:a16="http://schemas.microsoft.com/office/drawing/2014/main" id="{49170411-7B83-BD94-6F1F-632EE2D0D85E}"/>
              </a:ext>
            </a:extLst>
          </p:cNvPr>
          <p:cNvSpPr/>
          <p:nvPr/>
        </p:nvSpPr>
        <p:spPr>
          <a:xfrm rot="5400000">
            <a:off x="4658564" y="3781142"/>
            <a:ext cx="461245" cy="970836"/>
          </a:xfrm>
          <a:prstGeom prst="bentUpArrow">
            <a:avLst>
              <a:gd name="adj1" fmla="val 30026"/>
              <a:gd name="adj2" fmla="val 25000"/>
              <a:gd name="adj3" fmla="val 35051"/>
            </a:avLst>
          </a:prstGeom>
          <a:solidFill>
            <a:schemeClr val="accent4"/>
          </a:solidFill>
          <a:ln w="3810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CuadroTexto 14">
            <a:extLst>
              <a:ext uri="{FF2B5EF4-FFF2-40B4-BE49-F238E27FC236}">
                <a16:creationId xmlns:a16="http://schemas.microsoft.com/office/drawing/2014/main" id="{76395CB0-4AA4-1112-65D8-B019F074A855}"/>
              </a:ext>
            </a:extLst>
          </p:cNvPr>
          <p:cNvSpPr txBox="1"/>
          <p:nvPr/>
        </p:nvSpPr>
        <p:spPr>
          <a:xfrm>
            <a:off x="1422139" y="6302489"/>
            <a:ext cx="3980268" cy="307777"/>
          </a:xfrm>
          <a:prstGeom prst="rect">
            <a:avLst/>
          </a:prstGeom>
          <a:noFill/>
        </p:spPr>
        <p:txBody>
          <a:bodyPr wrap="square" rtlCol="0">
            <a:spAutoFit/>
          </a:bodyPr>
          <a:lstStyle>
            <a:defPPr>
              <a:defRPr lang="es-ES"/>
            </a:defPPr>
            <a:lvl1pPr>
              <a:defRPr sz="700" b="0" i="1">
                <a:solidFill>
                  <a:schemeClr val="accent1"/>
                </a:solidFill>
                <a:effectLst/>
              </a:defRPr>
            </a:lvl1pPr>
          </a:lstStyle>
          <a:p>
            <a:pPr algn="ctr"/>
            <a:r>
              <a:rPr lang="en-US" dirty="0"/>
              <a:t>1. </a:t>
            </a:r>
            <a:r>
              <a:rPr lang="en-US" dirty="0" err="1"/>
              <a:t>Vrints</a:t>
            </a:r>
            <a:r>
              <a:rPr lang="en-US" dirty="0"/>
              <a:t> C, et al. 2024 ESC Guidelines for the management of chronic coronary syndromes. </a:t>
            </a:r>
            <a:r>
              <a:rPr lang="en-US" dirty="0" err="1"/>
              <a:t>Eur</a:t>
            </a:r>
            <a:r>
              <a:rPr lang="en-US" dirty="0"/>
              <a:t> Heart J. 2024 Sep 29;45(36):3415-3537. </a:t>
            </a:r>
            <a:r>
              <a:rPr lang="en-US" dirty="0" err="1"/>
              <a:t>doi</a:t>
            </a:r>
            <a:r>
              <a:rPr lang="en-US" dirty="0"/>
              <a:t>: 10.1093/</a:t>
            </a:r>
            <a:r>
              <a:rPr lang="en-US" dirty="0" err="1"/>
              <a:t>eurheartj</a:t>
            </a:r>
            <a:r>
              <a:rPr lang="en-US" dirty="0"/>
              <a:t>/ehae177.</a:t>
            </a:r>
          </a:p>
        </p:txBody>
      </p:sp>
      <p:sp>
        <p:nvSpPr>
          <p:cNvPr id="16" name="CuadroTexto 15">
            <a:extLst>
              <a:ext uri="{FF2B5EF4-FFF2-40B4-BE49-F238E27FC236}">
                <a16:creationId xmlns:a16="http://schemas.microsoft.com/office/drawing/2014/main" id="{77822E2D-FB56-5E65-8C9C-1F27AF4A2DDB}"/>
              </a:ext>
            </a:extLst>
          </p:cNvPr>
          <p:cNvSpPr txBox="1"/>
          <p:nvPr/>
        </p:nvSpPr>
        <p:spPr>
          <a:xfrm>
            <a:off x="1333354" y="6081652"/>
            <a:ext cx="4098649" cy="246221"/>
          </a:xfrm>
          <a:prstGeom prst="rect">
            <a:avLst/>
          </a:prstGeom>
          <a:noFill/>
        </p:spPr>
        <p:txBody>
          <a:bodyPr wrap="square">
            <a:spAutoFit/>
          </a:bodyPr>
          <a:lstStyle/>
          <a:p>
            <a:pPr algn="ctr"/>
            <a:r>
              <a:rPr lang="es-ES" sz="1000" dirty="0">
                <a:solidFill>
                  <a:schemeClr val="accent1"/>
                </a:solidFill>
              </a:rPr>
              <a:t>Guía ESC 2024 para el manejo de los síndromes coronarios crónicos </a:t>
            </a:r>
          </a:p>
        </p:txBody>
      </p:sp>
      <p:sp>
        <p:nvSpPr>
          <p:cNvPr id="17" name="CuadroTexto 16">
            <a:extLst>
              <a:ext uri="{FF2B5EF4-FFF2-40B4-BE49-F238E27FC236}">
                <a16:creationId xmlns:a16="http://schemas.microsoft.com/office/drawing/2014/main" id="{A3691A87-CFC0-B32A-150C-0A6BAD5CE006}"/>
              </a:ext>
            </a:extLst>
          </p:cNvPr>
          <p:cNvSpPr txBox="1"/>
          <p:nvPr/>
        </p:nvSpPr>
        <p:spPr>
          <a:xfrm>
            <a:off x="8308595" y="6271181"/>
            <a:ext cx="2207351" cy="200055"/>
          </a:xfrm>
          <a:prstGeom prst="rect">
            <a:avLst/>
          </a:prstGeom>
          <a:noFill/>
        </p:spPr>
        <p:txBody>
          <a:bodyPr wrap="square" rtlCol="0">
            <a:spAutoFit/>
          </a:bodyPr>
          <a:lstStyle>
            <a:defPPr>
              <a:defRPr lang="es-ES"/>
            </a:defPPr>
            <a:lvl1pPr>
              <a:defRPr sz="700" b="0" i="1">
                <a:solidFill>
                  <a:schemeClr val="accent1"/>
                </a:solidFill>
                <a:effectLst/>
              </a:defRPr>
            </a:lvl1pPr>
          </a:lstStyle>
          <a:p>
            <a:pPr algn="ctr"/>
            <a:r>
              <a:rPr lang="en-US" b="1" dirty="0" err="1"/>
              <a:t>Eur</a:t>
            </a:r>
            <a:r>
              <a:rPr lang="en-US" b="1" dirty="0"/>
              <a:t> Heart J. 2024 Sep 29;45(36):3415-3537</a:t>
            </a:r>
            <a:endParaRPr lang="es-ES" b="1" dirty="0"/>
          </a:p>
        </p:txBody>
      </p:sp>
      <p:sp>
        <p:nvSpPr>
          <p:cNvPr id="5" name="CuadroTexto 4">
            <a:extLst>
              <a:ext uri="{FF2B5EF4-FFF2-40B4-BE49-F238E27FC236}">
                <a16:creationId xmlns:a16="http://schemas.microsoft.com/office/drawing/2014/main" id="{EB0985ED-BAAF-5AEE-162E-36A060658A66}"/>
              </a:ext>
            </a:extLst>
          </p:cNvPr>
          <p:cNvSpPr txBox="1"/>
          <p:nvPr/>
        </p:nvSpPr>
        <p:spPr>
          <a:xfrm rot="16200000">
            <a:off x="10633273" y="3376069"/>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17350741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C3D851-5F27-75C2-166C-01BFCD45C3C7}"/>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87DC1B5B-6D79-6308-A614-3B101B30B086}"/>
              </a:ext>
            </a:extLst>
          </p:cNvPr>
          <p:cNvSpPr>
            <a:spLocks noGrp="1"/>
          </p:cNvSpPr>
          <p:nvPr>
            <p:ph type="body" sz="quarter" idx="24"/>
          </p:nvPr>
        </p:nvSpPr>
        <p:spPr/>
        <p:txBody>
          <a:bodyPr/>
          <a:lstStyle/>
          <a:p>
            <a:endParaRPr lang="es-ES" dirty="0"/>
          </a:p>
        </p:txBody>
      </p:sp>
      <p:sp>
        <p:nvSpPr>
          <p:cNvPr id="6" name="Marcador de número de diapositiva 5">
            <a:extLst>
              <a:ext uri="{FF2B5EF4-FFF2-40B4-BE49-F238E27FC236}">
                <a16:creationId xmlns:a16="http://schemas.microsoft.com/office/drawing/2014/main" id="{BFDF091D-F9EC-69A3-AD59-A47E11F673E6}"/>
              </a:ext>
            </a:extLst>
          </p:cNvPr>
          <p:cNvSpPr>
            <a:spLocks noGrp="1"/>
          </p:cNvSpPr>
          <p:nvPr>
            <p:ph type="sldNum" sz="quarter" idx="4"/>
          </p:nvPr>
        </p:nvSpPr>
        <p:spPr>
          <a:xfrm>
            <a:off x="11014076" y="7012870"/>
            <a:ext cx="1042415"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pic>
        <p:nvPicPr>
          <p:cNvPr id="2" name="Imagen 1">
            <a:extLst>
              <a:ext uri="{FF2B5EF4-FFF2-40B4-BE49-F238E27FC236}">
                <a16:creationId xmlns:a16="http://schemas.microsoft.com/office/drawing/2014/main" id="{15E1E094-4439-64B8-A1A6-C5BDA7F001B2}"/>
              </a:ext>
            </a:extLst>
          </p:cNvPr>
          <p:cNvPicPr>
            <a:picLocks noChangeAspect="1"/>
          </p:cNvPicPr>
          <p:nvPr/>
        </p:nvPicPr>
        <p:blipFill>
          <a:blip r:embed="rId3"/>
          <a:stretch>
            <a:fillRect/>
          </a:stretch>
        </p:blipFill>
        <p:spPr>
          <a:xfrm>
            <a:off x="10623775" y="231972"/>
            <a:ext cx="1329043" cy="457240"/>
          </a:xfrm>
          <a:prstGeom prst="rect">
            <a:avLst/>
          </a:prstGeom>
        </p:spPr>
      </p:pic>
      <p:sp>
        <p:nvSpPr>
          <p:cNvPr id="5" name="Marcador de texto 4">
            <a:extLst>
              <a:ext uri="{FF2B5EF4-FFF2-40B4-BE49-F238E27FC236}">
                <a16:creationId xmlns:a16="http://schemas.microsoft.com/office/drawing/2014/main" id="{AF606F33-A4E5-2689-5235-CCDA7C7E9BE0}"/>
              </a:ext>
            </a:extLst>
          </p:cNvPr>
          <p:cNvSpPr>
            <a:spLocks noGrp="1"/>
          </p:cNvSpPr>
          <p:nvPr>
            <p:ph type="body" sz="quarter" idx="25"/>
          </p:nvPr>
        </p:nvSpPr>
        <p:spPr>
          <a:xfrm>
            <a:off x="4142954" y="7131419"/>
            <a:ext cx="4113439" cy="195084"/>
          </a:xfrm>
        </p:spPr>
        <p:txBody>
          <a:bodyPr/>
          <a:lstStyle/>
          <a:p>
            <a:endParaRPr lang="es-ES"/>
          </a:p>
        </p:txBody>
      </p:sp>
      <p:sp>
        <p:nvSpPr>
          <p:cNvPr id="9" name="Título 3">
            <a:extLst>
              <a:ext uri="{FF2B5EF4-FFF2-40B4-BE49-F238E27FC236}">
                <a16:creationId xmlns:a16="http://schemas.microsoft.com/office/drawing/2014/main" id="{FB5DB8C4-2DF0-D97C-E3E5-01708D819645}"/>
              </a:ext>
            </a:extLst>
          </p:cNvPr>
          <p:cNvSpPr txBox="1">
            <a:spLocks/>
          </p:cNvSpPr>
          <p:nvPr/>
        </p:nvSpPr>
        <p:spPr>
          <a:xfrm>
            <a:off x="1037784" y="198234"/>
            <a:ext cx="9334652" cy="489245"/>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_tradnl" sz="2800" dirty="0"/>
              <a:t>Tratamientos para la reducción de las síntomas del SCC</a:t>
            </a:r>
            <a:endParaRPr lang="es-ES" sz="2800" dirty="0"/>
          </a:p>
        </p:txBody>
      </p:sp>
      <p:grpSp>
        <p:nvGrpSpPr>
          <p:cNvPr id="38" name="Grupo 37">
            <a:extLst>
              <a:ext uri="{FF2B5EF4-FFF2-40B4-BE49-F238E27FC236}">
                <a16:creationId xmlns:a16="http://schemas.microsoft.com/office/drawing/2014/main" id="{5E2C3882-CD16-7051-3F17-ADFEB0EAEC6B}"/>
              </a:ext>
            </a:extLst>
          </p:cNvPr>
          <p:cNvGrpSpPr/>
          <p:nvPr/>
        </p:nvGrpSpPr>
        <p:grpSpPr>
          <a:xfrm>
            <a:off x="5530174" y="1276535"/>
            <a:ext cx="5093601" cy="5024405"/>
            <a:chOff x="3560771" y="932801"/>
            <a:chExt cx="5093601" cy="5024405"/>
          </a:xfrm>
        </p:grpSpPr>
        <p:sp>
          <p:nvSpPr>
            <p:cNvPr id="12" name="6 CuadroTexto">
              <a:extLst>
                <a:ext uri="{FF2B5EF4-FFF2-40B4-BE49-F238E27FC236}">
                  <a16:creationId xmlns:a16="http://schemas.microsoft.com/office/drawing/2014/main" id="{F990EC11-C72C-FF35-5C32-1702CE633EB1}"/>
                </a:ext>
              </a:extLst>
            </p:cNvPr>
            <p:cNvSpPr txBox="1"/>
            <p:nvPr/>
          </p:nvSpPr>
          <p:spPr>
            <a:xfrm>
              <a:off x="6998188" y="4219283"/>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23" name="Imagen 22">
              <a:extLst>
                <a:ext uri="{FF2B5EF4-FFF2-40B4-BE49-F238E27FC236}">
                  <a16:creationId xmlns:a16="http://schemas.microsoft.com/office/drawing/2014/main" id="{30C9E764-A855-B9C2-16AB-8DBCA8BB17E6}"/>
                </a:ext>
              </a:extLst>
            </p:cNvPr>
            <p:cNvPicPr>
              <a:picLocks noChangeAspect="1"/>
            </p:cNvPicPr>
            <p:nvPr/>
          </p:nvPicPr>
          <p:blipFill>
            <a:blip r:embed="rId4"/>
            <a:stretch>
              <a:fillRect/>
            </a:stretch>
          </p:blipFill>
          <p:spPr>
            <a:xfrm>
              <a:off x="3560771" y="932801"/>
              <a:ext cx="5060335" cy="5024405"/>
            </a:xfrm>
            <a:prstGeom prst="rect">
              <a:avLst/>
            </a:prstGeom>
          </p:spPr>
        </p:pic>
        <p:sp>
          <p:nvSpPr>
            <p:cNvPr id="25" name="Rectángulo: esquinas redondeadas 24">
              <a:extLst>
                <a:ext uri="{FF2B5EF4-FFF2-40B4-BE49-F238E27FC236}">
                  <a16:creationId xmlns:a16="http://schemas.microsoft.com/office/drawing/2014/main" id="{16ED282D-3593-8731-DDF0-DA5906E65A7B}"/>
                </a:ext>
              </a:extLst>
            </p:cNvPr>
            <p:cNvSpPr/>
            <p:nvPr/>
          </p:nvSpPr>
          <p:spPr>
            <a:xfrm>
              <a:off x="3798827" y="1388410"/>
              <a:ext cx="1071267" cy="557915"/>
            </a:xfrm>
            <a:prstGeom prst="roundRect">
              <a:avLst/>
            </a:prstGeom>
            <a:noFill/>
            <a:ln w="2857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n>
                  <a:solidFill>
                    <a:srgbClr val="00B050"/>
                  </a:solidFill>
                </a:ln>
                <a:noFill/>
              </a:endParaRPr>
            </a:p>
          </p:txBody>
        </p:sp>
        <p:sp>
          <p:nvSpPr>
            <p:cNvPr id="26" name="Rectángulo: esquinas redondeadas 25">
              <a:extLst>
                <a:ext uri="{FF2B5EF4-FFF2-40B4-BE49-F238E27FC236}">
                  <a16:creationId xmlns:a16="http://schemas.microsoft.com/office/drawing/2014/main" id="{0306F8B9-D0CD-DB48-0B00-32086293F0CB}"/>
                </a:ext>
              </a:extLst>
            </p:cNvPr>
            <p:cNvSpPr/>
            <p:nvPr/>
          </p:nvSpPr>
          <p:spPr>
            <a:xfrm>
              <a:off x="3798826" y="2592128"/>
              <a:ext cx="1071267" cy="557915"/>
            </a:xfrm>
            <a:prstGeom prst="roundRect">
              <a:avLst/>
            </a:prstGeom>
            <a:noFill/>
            <a:ln w="2857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n>
                  <a:solidFill>
                    <a:srgbClr val="00B050"/>
                  </a:solidFill>
                </a:ln>
                <a:noFill/>
              </a:endParaRPr>
            </a:p>
          </p:txBody>
        </p:sp>
        <p:sp>
          <p:nvSpPr>
            <p:cNvPr id="30" name="Rectángulo: esquinas redondeadas 29">
              <a:extLst>
                <a:ext uri="{FF2B5EF4-FFF2-40B4-BE49-F238E27FC236}">
                  <a16:creationId xmlns:a16="http://schemas.microsoft.com/office/drawing/2014/main" id="{E6D71728-87D1-F995-B074-A48DD9AB8F48}"/>
                </a:ext>
              </a:extLst>
            </p:cNvPr>
            <p:cNvSpPr/>
            <p:nvPr/>
          </p:nvSpPr>
          <p:spPr>
            <a:xfrm>
              <a:off x="3767815" y="3303571"/>
              <a:ext cx="2204556" cy="644236"/>
            </a:xfrm>
            <a:prstGeom prst="roundRect">
              <a:avLst/>
            </a:prstGeom>
            <a:noFill/>
            <a:ln w="2857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n>
                  <a:solidFill>
                    <a:srgbClr val="00B050"/>
                  </a:solidFill>
                </a:ln>
                <a:noFill/>
              </a:endParaRPr>
            </a:p>
          </p:txBody>
        </p:sp>
      </p:grpSp>
      <p:sp>
        <p:nvSpPr>
          <p:cNvPr id="42" name="Rectángulo 41">
            <a:extLst>
              <a:ext uri="{FF2B5EF4-FFF2-40B4-BE49-F238E27FC236}">
                <a16:creationId xmlns:a16="http://schemas.microsoft.com/office/drawing/2014/main" id="{0412AF74-4E8E-F57B-271B-7DB748C35922}"/>
              </a:ext>
            </a:extLst>
          </p:cNvPr>
          <p:cNvSpPr/>
          <p:nvPr/>
        </p:nvSpPr>
        <p:spPr>
          <a:xfrm>
            <a:off x="5624049" y="815801"/>
            <a:ext cx="4837345" cy="45345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s-ES" sz="1400" dirty="0">
                <a:solidFill>
                  <a:schemeClr val="bg1"/>
                </a:solidFill>
              </a:rPr>
              <a:t>Tratamiento de SCC</a:t>
            </a:r>
            <a:r>
              <a:rPr lang="es-ES" sz="1400" baseline="30000" dirty="0"/>
              <a:t>1</a:t>
            </a:r>
            <a:r>
              <a:rPr lang="es-ES" sz="1400" dirty="0">
                <a:solidFill>
                  <a:schemeClr val="bg1"/>
                </a:solidFill>
              </a:rPr>
              <a:t>:</a:t>
            </a:r>
            <a:endParaRPr lang="es-ES" sz="1400" dirty="0"/>
          </a:p>
        </p:txBody>
      </p:sp>
      <p:sp>
        <p:nvSpPr>
          <p:cNvPr id="55" name="Título 3">
            <a:extLst>
              <a:ext uri="{FF2B5EF4-FFF2-40B4-BE49-F238E27FC236}">
                <a16:creationId xmlns:a16="http://schemas.microsoft.com/office/drawing/2014/main" id="{FFBC7758-8432-5529-ABA6-9675A616A380}"/>
              </a:ext>
            </a:extLst>
          </p:cNvPr>
          <p:cNvSpPr txBox="1">
            <a:spLocks/>
          </p:cNvSpPr>
          <p:nvPr/>
        </p:nvSpPr>
        <p:spPr>
          <a:xfrm>
            <a:off x="1874684" y="2335697"/>
            <a:ext cx="2713679" cy="1569660"/>
          </a:xfrm>
          <a:prstGeom prst="rect">
            <a:avLst/>
          </a:prstGeom>
          <a:noFill/>
          <a:ln w="19050">
            <a:solidFill>
              <a:schemeClr val="accent4"/>
            </a:solidFill>
          </a:ln>
        </p:spPr>
        <p:txBody>
          <a:bodyPr wrap="square" rtlCol="0">
            <a:spAutoFit/>
          </a:bodyPr>
          <a:lstStyle>
            <a:defPPr>
              <a:defRPr lang="es-ES"/>
            </a:defPPr>
            <a:lvl1pPr algn="just">
              <a:defRPr sz="1200">
                <a:solidFill>
                  <a:schemeClr val="accent1"/>
                </a:solidFill>
              </a:defRPr>
            </a:lvl1pPr>
          </a:lstStyle>
          <a:p>
            <a:pPr algn="l"/>
            <a:r>
              <a:rPr lang="es-ES" dirty="0"/>
              <a:t>Tratamiento médico óptimo basado en 3 pilares</a:t>
            </a:r>
            <a:r>
              <a:rPr lang="es-ES" baseline="30000" dirty="0"/>
              <a:t>1</a:t>
            </a:r>
            <a:r>
              <a:rPr lang="es-ES" dirty="0"/>
              <a:t>:</a:t>
            </a:r>
          </a:p>
          <a:p>
            <a:pPr marL="285750" indent="-285750" algn="l">
              <a:buFont typeface="Arial" panose="020B0604020202020204" pitchFamily="34" charset="0"/>
              <a:buChar char="•"/>
            </a:pPr>
            <a:r>
              <a:rPr lang="es-ES" dirty="0"/>
              <a:t>Cambios en el </a:t>
            </a:r>
            <a:r>
              <a:rPr lang="es-ES" b="1" dirty="0"/>
              <a:t>estilo de vida</a:t>
            </a:r>
          </a:p>
          <a:p>
            <a:pPr marL="285750" indent="-285750" algn="l">
              <a:buFont typeface="Arial" panose="020B0604020202020204" pitchFamily="34" charset="0"/>
              <a:buChar char="•"/>
            </a:pPr>
            <a:r>
              <a:rPr lang="es-ES" dirty="0"/>
              <a:t>Manejo de </a:t>
            </a:r>
            <a:r>
              <a:rPr lang="es-ES" b="1" dirty="0"/>
              <a:t>factores de riesgo </a:t>
            </a:r>
            <a:r>
              <a:rPr lang="es-ES" dirty="0"/>
              <a:t>y mejora de la </a:t>
            </a:r>
            <a:r>
              <a:rPr lang="es-ES" b="1" dirty="0"/>
              <a:t>prognosis</a:t>
            </a:r>
          </a:p>
          <a:p>
            <a:pPr marL="285750" indent="-285750" algn="l">
              <a:buFont typeface="Arial" panose="020B0604020202020204" pitchFamily="34" charset="0"/>
              <a:buChar char="•"/>
            </a:pPr>
            <a:r>
              <a:rPr lang="es-ES" b="1" dirty="0"/>
              <a:t>Tratamiento farmacológico </a:t>
            </a:r>
            <a:r>
              <a:rPr lang="es-ES" dirty="0"/>
              <a:t>o </a:t>
            </a:r>
            <a:r>
              <a:rPr lang="es-ES" b="1" dirty="0"/>
              <a:t>quirúrgico</a:t>
            </a:r>
          </a:p>
          <a:p>
            <a:pPr algn="l"/>
            <a:endParaRPr lang="es-ES" dirty="0"/>
          </a:p>
        </p:txBody>
      </p:sp>
      <p:sp>
        <p:nvSpPr>
          <p:cNvPr id="56" name="Título 3">
            <a:extLst>
              <a:ext uri="{FF2B5EF4-FFF2-40B4-BE49-F238E27FC236}">
                <a16:creationId xmlns:a16="http://schemas.microsoft.com/office/drawing/2014/main" id="{46217AF7-68BF-C0A3-057E-7A730236FFDF}"/>
              </a:ext>
            </a:extLst>
          </p:cNvPr>
          <p:cNvSpPr txBox="1">
            <a:spLocks/>
          </p:cNvSpPr>
          <p:nvPr/>
        </p:nvSpPr>
        <p:spPr>
          <a:xfrm>
            <a:off x="1874684" y="4217605"/>
            <a:ext cx="2713679" cy="830997"/>
          </a:xfrm>
          <a:prstGeom prst="rect">
            <a:avLst/>
          </a:prstGeom>
          <a:noFill/>
          <a:ln w="19050">
            <a:solidFill>
              <a:schemeClr val="accent4"/>
            </a:solidFill>
          </a:ln>
        </p:spPr>
        <p:txBody>
          <a:bodyPr wrap="square" rtlCol="0">
            <a:spAutoFit/>
          </a:bodyPr>
          <a:lstStyle>
            <a:defPPr>
              <a:defRPr lang="es-ES"/>
            </a:defPPr>
            <a:lvl1pPr algn="just">
              <a:defRPr sz="1200">
                <a:solidFill>
                  <a:schemeClr val="accent1"/>
                </a:solidFill>
              </a:defRPr>
            </a:lvl1pPr>
          </a:lstStyle>
          <a:p>
            <a:pPr algn="l"/>
            <a:r>
              <a:rPr lang="es-ES" dirty="0"/>
              <a:t>El tratamiento dependerá del </a:t>
            </a:r>
            <a:r>
              <a:rPr lang="es-ES" b="1" dirty="0"/>
              <a:t>endotipo</a:t>
            </a:r>
            <a:r>
              <a:rPr lang="es-ES" dirty="0"/>
              <a:t> fisiopatológico (oclusivo o INOCA/ANOCA) y de las </a:t>
            </a:r>
            <a:r>
              <a:rPr lang="es-ES" b="1" dirty="0"/>
              <a:t>comorbilidades</a:t>
            </a:r>
            <a:r>
              <a:rPr lang="es-ES" dirty="0"/>
              <a:t> subyacentes</a:t>
            </a:r>
            <a:r>
              <a:rPr lang="es-ES" baseline="30000" dirty="0"/>
              <a:t>1</a:t>
            </a:r>
            <a:r>
              <a:rPr lang="es-ES" dirty="0"/>
              <a:t>. </a:t>
            </a:r>
          </a:p>
        </p:txBody>
      </p:sp>
      <p:cxnSp>
        <p:nvCxnSpPr>
          <p:cNvPr id="57" name="Conector recto de flecha 56">
            <a:extLst>
              <a:ext uri="{FF2B5EF4-FFF2-40B4-BE49-F238E27FC236}">
                <a16:creationId xmlns:a16="http://schemas.microsoft.com/office/drawing/2014/main" id="{19A04035-9E0C-0474-5F62-1C8911902D0B}"/>
              </a:ext>
            </a:extLst>
          </p:cNvPr>
          <p:cNvCxnSpPr>
            <a:cxnSpLocks/>
          </p:cNvCxnSpPr>
          <p:nvPr/>
        </p:nvCxnSpPr>
        <p:spPr>
          <a:xfrm flipV="1">
            <a:off x="4588363" y="2119521"/>
            <a:ext cx="976142" cy="642891"/>
          </a:xfrm>
          <a:prstGeom prst="straightConnector1">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60" name="Conector recto de flecha 59">
            <a:extLst>
              <a:ext uri="{FF2B5EF4-FFF2-40B4-BE49-F238E27FC236}">
                <a16:creationId xmlns:a16="http://schemas.microsoft.com/office/drawing/2014/main" id="{5A3C9BEB-6E3C-1540-A142-D76AA085C5DD}"/>
              </a:ext>
            </a:extLst>
          </p:cNvPr>
          <p:cNvCxnSpPr>
            <a:cxnSpLocks/>
          </p:cNvCxnSpPr>
          <p:nvPr/>
        </p:nvCxnSpPr>
        <p:spPr>
          <a:xfrm>
            <a:off x="4598906" y="3050831"/>
            <a:ext cx="898002" cy="0"/>
          </a:xfrm>
          <a:prstGeom prst="straightConnector1">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ector recto de flecha 62">
            <a:extLst>
              <a:ext uri="{FF2B5EF4-FFF2-40B4-BE49-F238E27FC236}">
                <a16:creationId xmlns:a16="http://schemas.microsoft.com/office/drawing/2014/main" id="{52675DA7-0121-41D7-6E25-065646DAD71B}"/>
              </a:ext>
            </a:extLst>
          </p:cNvPr>
          <p:cNvCxnSpPr>
            <a:cxnSpLocks/>
          </p:cNvCxnSpPr>
          <p:nvPr/>
        </p:nvCxnSpPr>
        <p:spPr>
          <a:xfrm>
            <a:off x="4589670" y="3251461"/>
            <a:ext cx="976142" cy="642891"/>
          </a:xfrm>
          <a:prstGeom prst="straightConnector1">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3" name="CuadroTexto 2">
            <a:extLst>
              <a:ext uri="{FF2B5EF4-FFF2-40B4-BE49-F238E27FC236}">
                <a16:creationId xmlns:a16="http://schemas.microsoft.com/office/drawing/2014/main" id="{E6160C47-96C8-3D2B-188E-D098695AFCF0}"/>
              </a:ext>
            </a:extLst>
          </p:cNvPr>
          <p:cNvSpPr txBox="1"/>
          <p:nvPr/>
        </p:nvSpPr>
        <p:spPr>
          <a:xfrm>
            <a:off x="5564505" y="6248060"/>
            <a:ext cx="2849880" cy="338554"/>
          </a:xfrm>
          <a:prstGeom prst="rect">
            <a:avLst/>
          </a:prstGeom>
          <a:noFill/>
        </p:spPr>
        <p:txBody>
          <a:bodyPr wrap="square">
            <a:spAutoFit/>
          </a:bodyPr>
          <a:lstStyle/>
          <a:p>
            <a:r>
              <a:rPr lang="en-GB" sz="800" dirty="0" err="1">
                <a:solidFill>
                  <a:schemeClr val="accent1"/>
                </a:solidFill>
              </a:rPr>
              <a:t>ACEi</a:t>
            </a:r>
            <a:r>
              <a:rPr lang="en-GB" sz="800" dirty="0">
                <a:solidFill>
                  <a:schemeClr val="accent1"/>
                </a:solidFill>
              </a:rPr>
              <a:t>: angiotensin converting enzyme inhibitor; CCB: calcium channel blocker</a:t>
            </a:r>
          </a:p>
        </p:txBody>
      </p:sp>
      <p:sp>
        <p:nvSpPr>
          <p:cNvPr id="8" name="CuadroTexto 7">
            <a:extLst>
              <a:ext uri="{FF2B5EF4-FFF2-40B4-BE49-F238E27FC236}">
                <a16:creationId xmlns:a16="http://schemas.microsoft.com/office/drawing/2014/main" id="{289F07DB-2AE8-A6A6-B3D1-7EFAC6C657EB}"/>
              </a:ext>
            </a:extLst>
          </p:cNvPr>
          <p:cNvSpPr txBox="1"/>
          <p:nvPr/>
        </p:nvSpPr>
        <p:spPr>
          <a:xfrm>
            <a:off x="1955421" y="5808944"/>
            <a:ext cx="2936001" cy="415498"/>
          </a:xfrm>
          <a:prstGeom prst="rect">
            <a:avLst/>
          </a:prstGeom>
          <a:noFill/>
        </p:spPr>
        <p:txBody>
          <a:bodyPr wrap="square" rtlCol="0">
            <a:spAutoFit/>
          </a:bodyPr>
          <a:lstStyle>
            <a:defPPr>
              <a:defRPr lang="es-ES"/>
            </a:defPPr>
            <a:lvl1pPr>
              <a:defRPr sz="700" b="0" i="1">
                <a:solidFill>
                  <a:schemeClr val="accent1"/>
                </a:solidFill>
                <a:effectLst/>
              </a:defRPr>
            </a:lvl1pPr>
          </a:lstStyle>
          <a:p>
            <a:pPr algn="ctr"/>
            <a:r>
              <a:rPr lang="en-US" dirty="0"/>
              <a:t>1. </a:t>
            </a:r>
            <a:r>
              <a:rPr lang="en-US" dirty="0" err="1"/>
              <a:t>Vrints</a:t>
            </a:r>
            <a:r>
              <a:rPr lang="en-US" dirty="0"/>
              <a:t> C, et al. 2024 ESC Guidelines for the management of chronic coronary syndromes. </a:t>
            </a:r>
            <a:r>
              <a:rPr lang="en-US" dirty="0" err="1"/>
              <a:t>Eur</a:t>
            </a:r>
            <a:r>
              <a:rPr lang="en-US" dirty="0"/>
              <a:t> Heart J. 2024 Sep 29;45(36):3415-3537. </a:t>
            </a:r>
            <a:r>
              <a:rPr lang="en-US" dirty="0" err="1"/>
              <a:t>doi</a:t>
            </a:r>
            <a:r>
              <a:rPr lang="en-US" dirty="0"/>
              <a:t>: 10.1093/</a:t>
            </a:r>
            <a:r>
              <a:rPr lang="en-US" dirty="0" err="1"/>
              <a:t>eurheartj</a:t>
            </a:r>
            <a:r>
              <a:rPr lang="en-US" dirty="0"/>
              <a:t>/ehae177.</a:t>
            </a:r>
          </a:p>
        </p:txBody>
      </p:sp>
      <p:sp>
        <p:nvSpPr>
          <p:cNvPr id="10" name="CuadroTexto 9">
            <a:extLst>
              <a:ext uri="{FF2B5EF4-FFF2-40B4-BE49-F238E27FC236}">
                <a16:creationId xmlns:a16="http://schemas.microsoft.com/office/drawing/2014/main" id="{4AB3E92A-FC38-DA97-0BAC-D248EDF708DD}"/>
              </a:ext>
            </a:extLst>
          </p:cNvPr>
          <p:cNvSpPr txBox="1"/>
          <p:nvPr/>
        </p:nvSpPr>
        <p:spPr>
          <a:xfrm>
            <a:off x="1753309" y="5406006"/>
            <a:ext cx="3340226" cy="400110"/>
          </a:xfrm>
          <a:prstGeom prst="rect">
            <a:avLst/>
          </a:prstGeom>
          <a:noFill/>
        </p:spPr>
        <p:txBody>
          <a:bodyPr wrap="square">
            <a:spAutoFit/>
          </a:bodyPr>
          <a:lstStyle/>
          <a:p>
            <a:pPr algn="ctr"/>
            <a:r>
              <a:rPr lang="es-ES" sz="1000" dirty="0">
                <a:solidFill>
                  <a:schemeClr val="accent1"/>
                </a:solidFill>
              </a:rPr>
              <a:t>Guía ESC 2024 para el manejo de los síndromes coronarios crónicos </a:t>
            </a:r>
          </a:p>
        </p:txBody>
      </p:sp>
      <p:sp>
        <p:nvSpPr>
          <p:cNvPr id="14" name="CuadroTexto 13">
            <a:extLst>
              <a:ext uri="{FF2B5EF4-FFF2-40B4-BE49-F238E27FC236}">
                <a16:creationId xmlns:a16="http://schemas.microsoft.com/office/drawing/2014/main" id="{8F40871D-A66D-CBB4-240C-52E7786DE189}"/>
              </a:ext>
            </a:extLst>
          </p:cNvPr>
          <p:cNvSpPr txBox="1"/>
          <p:nvPr/>
        </p:nvSpPr>
        <p:spPr>
          <a:xfrm>
            <a:off x="8562827" y="6317309"/>
            <a:ext cx="2027682"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pPr algn="l"/>
            <a:r>
              <a:rPr lang="en-US" b="1" dirty="0" err="1"/>
              <a:t>Eur</a:t>
            </a:r>
            <a:r>
              <a:rPr lang="en-US" b="1" dirty="0"/>
              <a:t> Heart J. 2024 Sep 29;45(36):3415-3537</a:t>
            </a:r>
            <a:endParaRPr lang="es-ES" b="1" dirty="0"/>
          </a:p>
        </p:txBody>
      </p:sp>
      <p:sp>
        <p:nvSpPr>
          <p:cNvPr id="7" name="CuadroTexto 6">
            <a:extLst>
              <a:ext uri="{FF2B5EF4-FFF2-40B4-BE49-F238E27FC236}">
                <a16:creationId xmlns:a16="http://schemas.microsoft.com/office/drawing/2014/main" id="{162C5D6E-A508-E72A-70FD-7E783F3578EA}"/>
              </a:ext>
            </a:extLst>
          </p:cNvPr>
          <p:cNvSpPr txBox="1"/>
          <p:nvPr/>
        </p:nvSpPr>
        <p:spPr>
          <a:xfrm rot="16200000">
            <a:off x="10555235" y="3267000"/>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21633877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67760E-52A9-9944-9472-5F09D0F016C3}"/>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EE242D5D-DA05-AC56-3238-017C0C05B82C}"/>
              </a:ext>
            </a:extLst>
          </p:cNvPr>
          <p:cNvSpPr>
            <a:spLocks noGrp="1"/>
          </p:cNvSpPr>
          <p:nvPr>
            <p:ph type="body" sz="quarter" idx="24"/>
          </p:nvPr>
        </p:nvSpPr>
        <p:spPr/>
        <p:txBody>
          <a:bodyPr/>
          <a:lstStyle/>
          <a:p>
            <a:endParaRPr lang="es-ES" dirty="0"/>
          </a:p>
        </p:txBody>
      </p:sp>
      <p:sp>
        <p:nvSpPr>
          <p:cNvPr id="6" name="Marcador de número de diapositiva 5">
            <a:extLst>
              <a:ext uri="{FF2B5EF4-FFF2-40B4-BE49-F238E27FC236}">
                <a16:creationId xmlns:a16="http://schemas.microsoft.com/office/drawing/2014/main" id="{49752C07-0110-461E-7C7F-7CDCD3432FF1}"/>
              </a:ext>
            </a:extLst>
          </p:cNvPr>
          <p:cNvSpPr>
            <a:spLocks noGrp="1"/>
          </p:cNvSpPr>
          <p:nvPr>
            <p:ph type="sldNum" sz="quarter" idx="4"/>
          </p:nvPr>
        </p:nvSpPr>
        <p:spPr>
          <a:xfrm>
            <a:off x="11014076" y="7012870"/>
            <a:ext cx="1042415"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pic>
        <p:nvPicPr>
          <p:cNvPr id="2" name="Imagen 1">
            <a:extLst>
              <a:ext uri="{FF2B5EF4-FFF2-40B4-BE49-F238E27FC236}">
                <a16:creationId xmlns:a16="http://schemas.microsoft.com/office/drawing/2014/main" id="{A5A7C247-F225-F849-F984-C082D4C4BA29}"/>
              </a:ext>
            </a:extLst>
          </p:cNvPr>
          <p:cNvPicPr>
            <a:picLocks noChangeAspect="1"/>
          </p:cNvPicPr>
          <p:nvPr/>
        </p:nvPicPr>
        <p:blipFill>
          <a:blip r:embed="rId3"/>
          <a:stretch>
            <a:fillRect/>
          </a:stretch>
        </p:blipFill>
        <p:spPr>
          <a:xfrm>
            <a:off x="10623775" y="231972"/>
            <a:ext cx="1329043" cy="457240"/>
          </a:xfrm>
          <a:prstGeom prst="rect">
            <a:avLst/>
          </a:prstGeom>
        </p:spPr>
      </p:pic>
      <p:sp>
        <p:nvSpPr>
          <p:cNvPr id="9" name="Título 3">
            <a:extLst>
              <a:ext uri="{FF2B5EF4-FFF2-40B4-BE49-F238E27FC236}">
                <a16:creationId xmlns:a16="http://schemas.microsoft.com/office/drawing/2014/main" id="{7A7A5606-F51A-6065-B1FD-C824510D3A2C}"/>
              </a:ext>
            </a:extLst>
          </p:cNvPr>
          <p:cNvSpPr txBox="1">
            <a:spLocks/>
          </p:cNvSpPr>
          <p:nvPr/>
        </p:nvSpPr>
        <p:spPr>
          <a:xfrm>
            <a:off x="1037784" y="198234"/>
            <a:ext cx="9516367" cy="777409"/>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_tradnl" sz="2800" dirty="0"/>
              <a:t>Tratamiento farmacológico para la reducción de síntomas del SCC </a:t>
            </a:r>
            <a:endParaRPr lang="es-ES" sz="2800" dirty="0"/>
          </a:p>
        </p:txBody>
      </p:sp>
      <p:sp>
        <p:nvSpPr>
          <p:cNvPr id="32" name="CuadroTexto 31">
            <a:extLst>
              <a:ext uri="{FF2B5EF4-FFF2-40B4-BE49-F238E27FC236}">
                <a16:creationId xmlns:a16="http://schemas.microsoft.com/office/drawing/2014/main" id="{1ADD8EBA-804D-880E-75FD-FFA84A41482A}"/>
              </a:ext>
            </a:extLst>
          </p:cNvPr>
          <p:cNvSpPr txBox="1"/>
          <p:nvPr/>
        </p:nvSpPr>
        <p:spPr>
          <a:xfrm>
            <a:off x="846357" y="5843502"/>
            <a:ext cx="2847819" cy="584775"/>
          </a:xfrm>
          <a:prstGeom prst="rect">
            <a:avLst/>
          </a:prstGeom>
          <a:noFill/>
        </p:spPr>
        <p:txBody>
          <a:bodyPr wrap="square">
            <a:spAutoFit/>
          </a:bodyPr>
          <a:lstStyle/>
          <a:p>
            <a:r>
              <a:rPr lang="en-GB" sz="800" dirty="0">
                <a:solidFill>
                  <a:schemeClr val="accent1"/>
                </a:solidFill>
              </a:rPr>
              <a:t>CAD: coronary artery disease; CCB: calcium channel blocker; COPD: chronic obstructive pulmonary disease; HCM: hypertrophic cardiomyopathy; </a:t>
            </a:r>
            <a:r>
              <a:rPr lang="en-GB" sz="800" dirty="0" err="1">
                <a:solidFill>
                  <a:schemeClr val="accent1"/>
                </a:solidFill>
              </a:rPr>
              <a:t>HFrEF</a:t>
            </a:r>
            <a:r>
              <a:rPr lang="en-GB" sz="800" dirty="0">
                <a:solidFill>
                  <a:schemeClr val="accent1"/>
                </a:solidFill>
              </a:rPr>
              <a:t>: heart failure with reduced ejection fraction.</a:t>
            </a:r>
          </a:p>
        </p:txBody>
      </p:sp>
      <p:grpSp>
        <p:nvGrpSpPr>
          <p:cNvPr id="16" name="Grupo 15">
            <a:extLst>
              <a:ext uri="{FF2B5EF4-FFF2-40B4-BE49-F238E27FC236}">
                <a16:creationId xmlns:a16="http://schemas.microsoft.com/office/drawing/2014/main" id="{AE3A958E-E884-EB7A-0BFA-80AC52849370}"/>
              </a:ext>
            </a:extLst>
          </p:cNvPr>
          <p:cNvGrpSpPr/>
          <p:nvPr/>
        </p:nvGrpSpPr>
        <p:grpSpPr>
          <a:xfrm>
            <a:off x="5915086" y="1114142"/>
            <a:ext cx="5174965" cy="4809371"/>
            <a:chOff x="798095" y="1773924"/>
            <a:chExt cx="5662486" cy="4328537"/>
          </a:xfrm>
        </p:grpSpPr>
        <p:pic>
          <p:nvPicPr>
            <p:cNvPr id="17" name="Imagen 16">
              <a:extLst>
                <a:ext uri="{FF2B5EF4-FFF2-40B4-BE49-F238E27FC236}">
                  <a16:creationId xmlns:a16="http://schemas.microsoft.com/office/drawing/2014/main" id="{05D877C8-2E98-F872-FFFD-EEE391EB88BD}"/>
                </a:ext>
              </a:extLst>
            </p:cNvPr>
            <p:cNvPicPr>
              <a:picLocks noChangeAspect="1"/>
            </p:cNvPicPr>
            <p:nvPr/>
          </p:nvPicPr>
          <p:blipFill>
            <a:blip r:embed="rId4"/>
            <a:srcRect l="1419"/>
            <a:stretch/>
          </p:blipFill>
          <p:spPr>
            <a:xfrm>
              <a:off x="798095" y="1773924"/>
              <a:ext cx="5662486" cy="2062395"/>
            </a:xfrm>
            <a:prstGeom prst="rect">
              <a:avLst/>
            </a:prstGeom>
          </p:spPr>
        </p:pic>
        <p:pic>
          <p:nvPicPr>
            <p:cNvPr id="10" name="Imagen 9">
              <a:extLst>
                <a:ext uri="{FF2B5EF4-FFF2-40B4-BE49-F238E27FC236}">
                  <a16:creationId xmlns:a16="http://schemas.microsoft.com/office/drawing/2014/main" id="{87648892-D35C-FF44-71F9-16595AA5A952}"/>
                </a:ext>
              </a:extLst>
            </p:cNvPr>
            <p:cNvPicPr>
              <a:picLocks noChangeAspect="1"/>
            </p:cNvPicPr>
            <p:nvPr/>
          </p:nvPicPr>
          <p:blipFill>
            <a:blip r:embed="rId5"/>
            <a:stretch>
              <a:fillRect/>
            </a:stretch>
          </p:blipFill>
          <p:spPr>
            <a:xfrm>
              <a:off x="820278" y="3795763"/>
              <a:ext cx="5618121" cy="481080"/>
            </a:xfrm>
            <a:prstGeom prst="rect">
              <a:avLst/>
            </a:prstGeom>
          </p:spPr>
        </p:pic>
        <p:pic>
          <p:nvPicPr>
            <p:cNvPr id="13" name="Imagen 12">
              <a:extLst>
                <a:ext uri="{FF2B5EF4-FFF2-40B4-BE49-F238E27FC236}">
                  <a16:creationId xmlns:a16="http://schemas.microsoft.com/office/drawing/2014/main" id="{916295E8-86AD-E427-54E1-81C44489059B}"/>
                </a:ext>
              </a:extLst>
            </p:cNvPr>
            <p:cNvPicPr>
              <a:picLocks noChangeAspect="1"/>
            </p:cNvPicPr>
            <p:nvPr/>
          </p:nvPicPr>
          <p:blipFill>
            <a:blip r:embed="rId6"/>
            <a:stretch>
              <a:fillRect/>
            </a:stretch>
          </p:blipFill>
          <p:spPr>
            <a:xfrm>
              <a:off x="798095" y="4276843"/>
              <a:ext cx="5662485" cy="1825618"/>
            </a:xfrm>
            <a:prstGeom prst="rect">
              <a:avLst/>
            </a:prstGeom>
          </p:spPr>
        </p:pic>
      </p:grpSp>
      <p:sp>
        <p:nvSpPr>
          <p:cNvPr id="24" name="Rectángulo 23">
            <a:extLst>
              <a:ext uri="{FF2B5EF4-FFF2-40B4-BE49-F238E27FC236}">
                <a16:creationId xmlns:a16="http://schemas.microsoft.com/office/drawing/2014/main" id="{11003EC4-CA07-FC10-7585-C0B0683E3E97}"/>
              </a:ext>
            </a:extLst>
          </p:cNvPr>
          <p:cNvSpPr/>
          <p:nvPr/>
        </p:nvSpPr>
        <p:spPr>
          <a:xfrm>
            <a:off x="952945" y="1200427"/>
            <a:ext cx="4635449" cy="45345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s-ES" sz="1400" dirty="0">
                <a:solidFill>
                  <a:schemeClr val="bg1"/>
                </a:solidFill>
              </a:rPr>
              <a:t>Combinaciones de medicamentos anti-anginosos</a:t>
            </a:r>
            <a:r>
              <a:rPr lang="es-ES" sz="1400" baseline="30000" dirty="0">
                <a:solidFill>
                  <a:schemeClr val="bg1"/>
                </a:solidFill>
              </a:rPr>
              <a:t>1</a:t>
            </a:r>
            <a:r>
              <a:rPr lang="es-ES" sz="1400" dirty="0">
                <a:solidFill>
                  <a:schemeClr val="bg1"/>
                </a:solidFill>
              </a:rPr>
              <a:t>:</a:t>
            </a:r>
            <a:endParaRPr lang="es-ES" sz="1400" dirty="0"/>
          </a:p>
        </p:txBody>
      </p:sp>
      <p:pic>
        <p:nvPicPr>
          <p:cNvPr id="25" name="Imagen 24">
            <a:extLst>
              <a:ext uri="{FF2B5EF4-FFF2-40B4-BE49-F238E27FC236}">
                <a16:creationId xmlns:a16="http://schemas.microsoft.com/office/drawing/2014/main" id="{75956D41-8029-7E9B-DB22-BF7E1B8601AE}"/>
              </a:ext>
            </a:extLst>
          </p:cNvPr>
          <p:cNvPicPr>
            <a:picLocks noChangeAspect="1"/>
          </p:cNvPicPr>
          <p:nvPr/>
        </p:nvPicPr>
        <p:blipFill>
          <a:blip r:embed="rId7"/>
          <a:stretch>
            <a:fillRect/>
          </a:stretch>
        </p:blipFill>
        <p:spPr>
          <a:xfrm>
            <a:off x="837213" y="1719035"/>
            <a:ext cx="4866914" cy="4180321"/>
          </a:xfrm>
          <a:prstGeom prst="rect">
            <a:avLst/>
          </a:prstGeom>
        </p:spPr>
      </p:pic>
      <p:sp>
        <p:nvSpPr>
          <p:cNvPr id="22" name="Estrella: 8 puntas 21">
            <a:extLst>
              <a:ext uri="{FF2B5EF4-FFF2-40B4-BE49-F238E27FC236}">
                <a16:creationId xmlns:a16="http://schemas.microsoft.com/office/drawing/2014/main" id="{BCB5B18A-D1E5-CCB8-1111-A8B7A5CA0C4B}"/>
              </a:ext>
            </a:extLst>
          </p:cNvPr>
          <p:cNvSpPr/>
          <p:nvPr/>
        </p:nvSpPr>
        <p:spPr>
          <a:xfrm>
            <a:off x="11011052" y="3930000"/>
            <a:ext cx="1066396" cy="299892"/>
          </a:xfrm>
          <a:prstGeom prst="star8">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s-ES" sz="900" b="1" dirty="0"/>
              <a:t>REVISED</a:t>
            </a:r>
            <a:endParaRPr lang="en-GB" sz="1000" b="1" dirty="0"/>
          </a:p>
        </p:txBody>
      </p:sp>
      <p:sp>
        <p:nvSpPr>
          <p:cNvPr id="19" name="Estrella: 8 puntas 18">
            <a:extLst>
              <a:ext uri="{FF2B5EF4-FFF2-40B4-BE49-F238E27FC236}">
                <a16:creationId xmlns:a16="http://schemas.microsoft.com/office/drawing/2014/main" id="{5176FE11-1961-769E-EF5E-0B7B2789B552}"/>
              </a:ext>
            </a:extLst>
          </p:cNvPr>
          <p:cNvSpPr/>
          <p:nvPr/>
        </p:nvSpPr>
        <p:spPr>
          <a:xfrm>
            <a:off x="11014770" y="4695434"/>
            <a:ext cx="1066396" cy="299892"/>
          </a:xfrm>
          <a:prstGeom prst="star8">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s-ES" sz="900" b="1" dirty="0"/>
              <a:t>REVISED</a:t>
            </a:r>
            <a:endParaRPr lang="en-GB" sz="1000" b="1" dirty="0"/>
          </a:p>
        </p:txBody>
      </p:sp>
      <p:pic>
        <p:nvPicPr>
          <p:cNvPr id="20" name="Picture 2" descr="New - Free signs icons">
            <a:extLst>
              <a:ext uri="{FF2B5EF4-FFF2-40B4-BE49-F238E27FC236}">
                <a16:creationId xmlns:a16="http://schemas.microsoft.com/office/drawing/2014/main" id="{1C95494E-7ACB-75E4-94AE-27EC0B94A54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005341" y="4209413"/>
            <a:ext cx="448946" cy="44894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New - Free signs icons">
            <a:extLst>
              <a:ext uri="{FF2B5EF4-FFF2-40B4-BE49-F238E27FC236}">
                <a16:creationId xmlns:a16="http://schemas.microsoft.com/office/drawing/2014/main" id="{EEE299E2-83D1-BE7D-5728-14FC601F886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121886" y="4978678"/>
            <a:ext cx="448946" cy="448946"/>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New - Free signs icons">
            <a:extLst>
              <a:ext uri="{FF2B5EF4-FFF2-40B4-BE49-F238E27FC236}">
                <a16:creationId xmlns:a16="http://schemas.microsoft.com/office/drawing/2014/main" id="{79C56359-D61E-4925-38F5-AD43C5577A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967797" y="1618735"/>
            <a:ext cx="448946" cy="448946"/>
          </a:xfrm>
          <a:prstGeom prst="rect">
            <a:avLst/>
          </a:prstGeom>
          <a:noFill/>
          <a:extLst>
            <a:ext uri="{909E8E84-426E-40DD-AFC4-6F175D3DCCD1}">
              <a14:hiddenFill xmlns:a14="http://schemas.microsoft.com/office/drawing/2010/main">
                <a:solidFill>
                  <a:srgbClr val="FFFFFF"/>
                </a:solidFill>
              </a14:hiddenFill>
            </a:ext>
          </a:extLst>
        </p:spPr>
      </p:pic>
      <p:sp>
        <p:nvSpPr>
          <p:cNvPr id="3" name="CuadroTexto 2">
            <a:extLst>
              <a:ext uri="{FF2B5EF4-FFF2-40B4-BE49-F238E27FC236}">
                <a16:creationId xmlns:a16="http://schemas.microsoft.com/office/drawing/2014/main" id="{BD8DD5D9-4F36-6092-6B57-03EDCD86A3D3}"/>
              </a:ext>
            </a:extLst>
          </p:cNvPr>
          <p:cNvSpPr txBox="1"/>
          <p:nvPr/>
        </p:nvSpPr>
        <p:spPr>
          <a:xfrm>
            <a:off x="2996301" y="6494701"/>
            <a:ext cx="7323025" cy="200055"/>
          </a:xfrm>
          <a:prstGeom prst="rect">
            <a:avLst/>
          </a:prstGeom>
          <a:noFill/>
        </p:spPr>
        <p:txBody>
          <a:bodyPr wrap="square" rtlCol="0">
            <a:spAutoFit/>
          </a:bodyPr>
          <a:lstStyle>
            <a:defPPr>
              <a:defRPr lang="es-ES"/>
            </a:defPPr>
            <a:lvl1pPr>
              <a:defRPr sz="700" b="0" i="1">
                <a:solidFill>
                  <a:schemeClr val="accent1"/>
                </a:solidFill>
                <a:effectLst/>
              </a:defRPr>
            </a:lvl1pPr>
          </a:lstStyle>
          <a:p>
            <a:r>
              <a:rPr lang="en-US" dirty="0"/>
              <a:t>1. </a:t>
            </a:r>
            <a:r>
              <a:rPr lang="en-US" dirty="0" err="1"/>
              <a:t>Vrints</a:t>
            </a:r>
            <a:r>
              <a:rPr lang="en-US" dirty="0"/>
              <a:t> C, et al. 2024 ESC Guidelines for the management of chronic coronary syndromes. </a:t>
            </a:r>
            <a:r>
              <a:rPr lang="en-US" dirty="0" err="1"/>
              <a:t>Eur</a:t>
            </a:r>
            <a:r>
              <a:rPr lang="en-US" dirty="0"/>
              <a:t> Heart J. 2024 Sep 29;45(36):3415-3537. </a:t>
            </a:r>
            <a:r>
              <a:rPr lang="en-US" dirty="0" err="1"/>
              <a:t>doi</a:t>
            </a:r>
            <a:r>
              <a:rPr lang="en-US" dirty="0"/>
              <a:t>: 10.1093/</a:t>
            </a:r>
            <a:r>
              <a:rPr lang="en-US" dirty="0" err="1"/>
              <a:t>eurheartj</a:t>
            </a:r>
            <a:r>
              <a:rPr lang="en-US" dirty="0"/>
              <a:t>/ehae177.</a:t>
            </a:r>
          </a:p>
        </p:txBody>
      </p:sp>
      <p:sp>
        <p:nvSpPr>
          <p:cNvPr id="5" name="CuadroTexto 4">
            <a:extLst>
              <a:ext uri="{FF2B5EF4-FFF2-40B4-BE49-F238E27FC236}">
                <a16:creationId xmlns:a16="http://schemas.microsoft.com/office/drawing/2014/main" id="{7DFEDD6D-87B7-FB98-1372-D831A96A5B1F}"/>
              </a:ext>
            </a:extLst>
          </p:cNvPr>
          <p:cNvSpPr txBox="1"/>
          <p:nvPr/>
        </p:nvSpPr>
        <p:spPr>
          <a:xfrm>
            <a:off x="3548378" y="6333573"/>
            <a:ext cx="6218871" cy="246221"/>
          </a:xfrm>
          <a:prstGeom prst="rect">
            <a:avLst/>
          </a:prstGeom>
          <a:noFill/>
        </p:spPr>
        <p:txBody>
          <a:bodyPr wrap="square">
            <a:spAutoFit/>
          </a:bodyPr>
          <a:lstStyle/>
          <a:p>
            <a:pPr algn="ctr"/>
            <a:r>
              <a:rPr lang="es-ES" sz="1000" dirty="0">
                <a:solidFill>
                  <a:schemeClr val="accent1"/>
                </a:solidFill>
              </a:rPr>
              <a:t>Guía ESC 2024 para el manejo de los síndromes coronarios crónicos </a:t>
            </a:r>
          </a:p>
        </p:txBody>
      </p:sp>
      <p:sp>
        <p:nvSpPr>
          <p:cNvPr id="12" name="CuadroTexto 11">
            <a:extLst>
              <a:ext uri="{FF2B5EF4-FFF2-40B4-BE49-F238E27FC236}">
                <a16:creationId xmlns:a16="http://schemas.microsoft.com/office/drawing/2014/main" id="{35A7F3E1-4C02-0418-BA84-DF947E83D4AA}"/>
              </a:ext>
            </a:extLst>
          </p:cNvPr>
          <p:cNvSpPr txBox="1"/>
          <p:nvPr/>
        </p:nvSpPr>
        <p:spPr>
          <a:xfrm>
            <a:off x="3694176" y="5856811"/>
            <a:ext cx="2032280" cy="200055"/>
          </a:xfrm>
          <a:prstGeom prst="rect">
            <a:avLst/>
          </a:prstGeom>
          <a:noFill/>
        </p:spPr>
        <p:txBody>
          <a:bodyPr wrap="square" rtlCol="0">
            <a:spAutoFit/>
          </a:bodyPr>
          <a:lstStyle>
            <a:defPPr>
              <a:defRPr lang="es-ES"/>
            </a:defPPr>
            <a:lvl1pPr>
              <a:defRPr sz="700" b="0" i="1">
                <a:solidFill>
                  <a:schemeClr val="accent1"/>
                </a:solidFill>
                <a:effectLst/>
              </a:defRPr>
            </a:lvl1pPr>
          </a:lstStyle>
          <a:p>
            <a:r>
              <a:rPr lang="en-US" b="1" dirty="0" err="1"/>
              <a:t>Eur</a:t>
            </a:r>
            <a:r>
              <a:rPr lang="en-US" b="1" dirty="0"/>
              <a:t> Heart J. 2024 Sep 29;45(36):3415-3537</a:t>
            </a:r>
            <a:endParaRPr lang="es-ES" b="1" dirty="0"/>
          </a:p>
        </p:txBody>
      </p:sp>
      <p:sp>
        <p:nvSpPr>
          <p:cNvPr id="14" name="CuadroTexto 13">
            <a:extLst>
              <a:ext uri="{FF2B5EF4-FFF2-40B4-BE49-F238E27FC236}">
                <a16:creationId xmlns:a16="http://schemas.microsoft.com/office/drawing/2014/main" id="{297466EF-73D4-9695-DA64-EC748D7C3B03}"/>
              </a:ext>
            </a:extLst>
          </p:cNvPr>
          <p:cNvSpPr txBox="1"/>
          <p:nvPr/>
        </p:nvSpPr>
        <p:spPr>
          <a:xfrm>
            <a:off x="9125712" y="5963977"/>
            <a:ext cx="1996174" cy="200055"/>
          </a:xfrm>
          <a:prstGeom prst="rect">
            <a:avLst/>
          </a:prstGeom>
          <a:noFill/>
        </p:spPr>
        <p:txBody>
          <a:bodyPr wrap="square" rtlCol="0">
            <a:spAutoFit/>
          </a:bodyPr>
          <a:lstStyle>
            <a:defPPr>
              <a:defRPr lang="es-ES"/>
            </a:defPPr>
            <a:lvl1pPr>
              <a:defRPr sz="700" b="0" i="1">
                <a:solidFill>
                  <a:schemeClr val="accent1"/>
                </a:solidFill>
                <a:effectLst/>
              </a:defRPr>
            </a:lvl1pPr>
          </a:lstStyle>
          <a:p>
            <a:r>
              <a:rPr lang="en-US" b="1" dirty="0" err="1"/>
              <a:t>Eur</a:t>
            </a:r>
            <a:r>
              <a:rPr lang="en-US" b="1" dirty="0"/>
              <a:t> Heart J. 2024 Sep 29;45(36):3415-3537</a:t>
            </a:r>
            <a:endParaRPr lang="es-ES" b="1" dirty="0"/>
          </a:p>
        </p:txBody>
      </p:sp>
      <p:sp>
        <p:nvSpPr>
          <p:cNvPr id="7" name="CuadroTexto 6">
            <a:extLst>
              <a:ext uri="{FF2B5EF4-FFF2-40B4-BE49-F238E27FC236}">
                <a16:creationId xmlns:a16="http://schemas.microsoft.com/office/drawing/2014/main" id="{B7739E38-3EE7-E5B4-4C59-F342C2B91107}"/>
              </a:ext>
            </a:extLst>
          </p:cNvPr>
          <p:cNvSpPr txBox="1"/>
          <p:nvPr/>
        </p:nvSpPr>
        <p:spPr>
          <a:xfrm rot="16200000">
            <a:off x="10622664" y="2506929"/>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7479224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E15212-ECBE-5FB7-5911-C6068B525936}"/>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BBD0F034-F096-F8CC-32F7-9AF330EF5A83}"/>
              </a:ext>
            </a:extLst>
          </p:cNvPr>
          <p:cNvSpPr>
            <a:spLocks noGrp="1"/>
          </p:cNvSpPr>
          <p:nvPr>
            <p:ph type="body" sz="quarter" idx="24"/>
          </p:nvPr>
        </p:nvSpPr>
        <p:spPr/>
        <p:txBody>
          <a:bodyPr/>
          <a:lstStyle/>
          <a:p>
            <a:endParaRPr lang="es-ES" dirty="0"/>
          </a:p>
        </p:txBody>
      </p:sp>
      <p:sp>
        <p:nvSpPr>
          <p:cNvPr id="12" name="6 CuadroTexto">
            <a:extLst>
              <a:ext uri="{FF2B5EF4-FFF2-40B4-BE49-F238E27FC236}">
                <a16:creationId xmlns:a16="http://schemas.microsoft.com/office/drawing/2014/main" id="{D4A63811-814F-E7E1-39BA-7E95F4F87198}"/>
              </a:ext>
            </a:extLst>
          </p:cNvPr>
          <p:cNvSpPr txBox="1"/>
          <p:nvPr/>
        </p:nvSpPr>
        <p:spPr>
          <a:xfrm>
            <a:off x="7088776" y="4609304"/>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2" name="Imagen 1">
            <a:extLst>
              <a:ext uri="{FF2B5EF4-FFF2-40B4-BE49-F238E27FC236}">
                <a16:creationId xmlns:a16="http://schemas.microsoft.com/office/drawing/2014/main" id="{F7B852BB-BFF3-99DB-7638-490199E60363}"/>
              </a:ext>
            </a:extLst>
          </p:cNvPr>
          <p:cNvPicPr>
            <a:picLocks noChangeAspect="1"/>
          </p:cNvPicPr>
          <p:nvPr/>
        </p:nvPicPr>
        <p:blipFill>
          <a:blip r:embed="rId3"/>
          <a:stretch>
            <a:fillRect/>
          </a:stretch>
        </p:blipFill>
        <p:spPr>
          <a:xfrm>
            <a:off x="10623775" y="231972"/>
            <a:ext cx="1329043" cy="457240"/>
          </a:xfrm>
          <a:prstGeom prst="rect">
            <a:avLst/>
          </a:prstGeom>
        </p:spPr>
      </p:pic>
      <p:sp>
        <p:nvSpPr>
          <p:cNvPr id="9" name="Título 3">
            <a:extLst>
              <a:ext uri="{FF2B5EF4-FFF2-40B4-BE49-F238E27FC236}">
                <a16:creationId xmlns:a16="http://schemas.microsoft.com/office/drawing/2014/main" id="{D0D60B42-27DA-3697-EA06-5E1B48147545}"/>
              </a:ext>
            </a:extLst>
          </p:cNvPr>
          <p:cNvSpPr txBox="1">
            <a:spLocks/>
          </p:cNvSpPr>
          <p:nvPr/>
        </p:nvSpPr>
        <p:spPr>
          <a:xfrm>
            <a:off x="1013601" y="304577"/>
            <a:ext cx="9144971" cy="484992"/>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_tradnl" sz="2800" dirty="0"/>
              <a:t>Tratamiento médico: mejoría del pronóstico en el SCC (I)</a:t>
            </a:r>
            <a:endParaRPr lang="es-ES" sz="2800" dirty="0"/>
          </a:p>
        </p:txBody>
      </p:sp>
      <p:pic>
        <p:nvPicPr>
          <p:cNvPr id="7" name="Imagen 6" descr="Imagen que contiene tabla&#10;&#10;Descripción generada automáticamente">
            <a:extLst>
              <a:ext uri="{FF2B5EF4-FFF2-40B4-BE49-F238E27FC236}">
                <a16:creationId xmlns:a16="http://schemas.microsoft.com/office/drawing/2014/main" id="{B95542F8-6D3A-7C64-8B4E-A64646949D9D}"/>
              </a:ext>
            </a:extLst>
          </p:cNvPr>
          <p:cNvPicPr>
            <a:picLocks noChangeAspect="1"/>
          </p:cNvPicPr>
          <p:nvPr/>
        </p:nvPicPr>
        <p:blipFill>
          <a:blip r:embed="rId4"/>
          <a:stretch>
            <a:fillRect/>
          </a:stretch>
        </p:blipFill>
        <p:spPr>
          <a:xfrm>
            <a:off x="9062408" y="3602922"/>
            <a:ext cx="3122734" cy="1490190"/>
          </a:xfrm>
          <a:prstGeom prst="rect">
            <a:avLst/>
          </a:prstGeom>
        </p:spPr>
      </p:pic>
      <p:pic>
        <p:nvPicPr>
          <p:cNvPr id="26" name="Imagen 25">
            <a:extLst>
              <a:ext uri="{FF2B5EF4-FFF2-40B4-BE49-F238E27FC236}">
                <a16:creationId xmlns:a16="http://schemas.microsoft.com/office/drawing/2014/main" id="{B041053C-CB1B-7008-A610-15D54DBA66E4}"/>
              </a:ext>
            </a:extLst>
          </p:cNvPr>
          <p:cNvPicPr>
            <a:picLocks noChangeAspect="1"/>
          </p:cNvPicPr>
          <p:nvPr/>
        </p:nvPicPr>
        <p:blipFill>
          <a:blip r:embed="rId3"/>
          <a:stretch>
            <a:fillRect/>
          </a:stretch>
        </p:blipFill>
        <p:spPr>
          <a:xfrm>
            <a:off x="10623775" y="231972"/>
            <a:ext cx="1329043" cy="457240"/>
          </a:xfrm>
          <a:prstGeom prst="rect">
            <a:avLst/>
          </a:prstGeom>
        </p:spPr>
      </p:pic>
      <p:cxnSp>
        <p:nvCxnSpPr>
          <p:cNvPr id="32" name="Conector recto 31">
            <a:extLst>
              <a:ext uri="{FF2B5EF4-FFF2-40B4-BE49-F238E27FC236}">
                <a16:creationId xmlns:a16="http://schemas.microsoft.com/office/drawing/2014/main" id="{707DFF0D-EAAB-F8EB-5342-CDA69A247727}"/>
              </a:ext>
            </a:extLst>
          </p:cNvPr>
          <p:cNvCxnSpPr>
            <a:cxnSpLocks/>
          </p:cNvCxnSpPr>
          <p:nvPr/>
        </p:nvCxnSpPr>
        <p:spPr>
          <a:xfrm>
            <a:off x="1893570" y="1315660"/>
            <a:ext cx="9144971"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3" name="Conector recto 32">
            <a:extLst>
              <a:ext uri="{FF2B5EF4-FFF2-40B4-BE49-F238E27FC236}">
                <a16:creationId xmlns:a16="http://schemas.microsoft.com/office/drawing/2014/main" id="{DCAA799E-1480-5F3F-B150-29F96247740E}"/>
              </a:ext>
            </a:extLst>
          </p:cNvPr>
          <p:cNvCxnSpPr/>
          <p:nvPr/>
        </p:nvCxnSpPr>
        <p:spPr>
          <a:xfrm>
            <a:off x="1904679" y="1315660"/>
            <a:ext cx="0" cy="26066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4" name="Conector recto 33">
            <a:extLst>
              <a:ext uri="{FF2B5EF4-FFF2-40B4-BE49-F238E27FC236}">
                <a16:creationId xmlns:a16="http://schemas.microsoft.com/office/drawing/2014/main" id="{E498636B-6363-5577-F258-D96B3F5D4FD6}"/>
              </a:ext>
            </a:extLst>
          </p:cNvPr>
          <p:cNvCxnSpPr/>
          <p:nvPr/>
        </p:nvCxnSpPr>
        <p:spPr>
          <a:xfrm>
            <a:off x="11026866" y="1293993"/>
            <a:ext cx="0" cy="26066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5" name="Conector recto 34">
            <a:extLst>
              <a:ext uri="{FF2B5EF4-FFF2-40B4-BE49-F238E27FC236}">
                <a16:creationId xmlns:a16="http://schemas.microsoft.com/office/drawing/2014/main" id="{9DC51E67-A343-F86E-BE28-6FD6EE0B3F02}"/>
              </a:ext>
            </a:extLst>
          </p:cNvPr>
          <p:cNvCxnSpPr>
            <a:cxnSpLocks/>
            <a:endCxn id="37" idx="0"/>
          </p:cNvCxnSpPr>
          <p:nvPr/>
        </p:nvCxnSpPr>
        <p:spPr>
          <a:xfrm>
            <a:off x="3984487" y="1317480"/>
            <a:ext cx="0" cy="238993"/>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6" name="Rectángulo: esquinas redondeadas 35">
            <a:extLst>
              <a:ext uri="{FF2B5EF4-FFF2-40B4-BE49-F238E27FC236}">
                <a16:creationId xmlns:a16="http://schemas.microsoft.com/office/drawing/2014/main" id="{9A1BE215-08C8-D909-40F4-BED4C1077A9D}"/>
              </a:ext>
            </a:extLst>
          </p:cNvPr>
          <p:cNvSpPr/>
          <p:nvPr/>
        </p:nvSpPr>
        <p:spPr>
          <a:xfrm>
            <a:off x="1060746" y="1556473"/>
            <a:ext cx="1715506" cy="494517"/>
          </a:xfrm>
          <a:prstGeom prst="roundRect">
            <a:avLst/>
          </a:prstGeom>
          <a:solidFill>
            <a:schemeClr val="accent2"/>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s-ES" sz="1400" b="1">
                <a:solidFill>
                  <a:schemeClr val="accent1"/>
                </a:solidFill>
              </a:rPr>
              <a:t>Tratamiento antitrombótico</a:t>
            </a:r>
            <a:endParaRPr lang="es-ES" sz="1400" b="1" dirty="0">
              <a:solidFill>
                <a:schemeClr val="accent1"/>
              </a:solidFill>
            </a:endParaRPr>
          </a:p>
        </p:txBody>
      </p:sp>
      <p:sp>
        <p:nvSpPr>
          <p:cNvPr id="37" name="Rectángulo: esquinas redondeadas 36">
            <a:extLst>
              <a:ext uri="{FF2B5EF4-FFF2-40B4-BE49-F238E27FC236}">
                <a16:creationId xmlns:a16="http://schemas.microsoft.com/office/drawing/2014/main" id="{91A9ABFC-B533-492D-4209-9C8D529D80B6}"/>
              </a:ext>
            </a:extLst>
          </p:cNvPr>
          <p:cNvSpPr/>
          <p:nvPr/>
        </p:nvSpPr>
        <p:spPr>
          <a:xfrm>
            <a:off x="2886079" y="1556473"/>
            <a:ext cx="2196816" cy="494517"/>
          </a:xfrm>
          <a:prstGeom prst="roundRect">
            <a:avLst/>
          </a:prstGeom>
          <a:solidFill>
            <a:schemeClr val="accent2">
              <a:lumMod val="20000"/>
              <a:lumOff val="80000"/>
            </a:schemeClr>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s-ES" sz="1400" b="1">
                <a:solidFill>
                  <a:schemeClr val="accent1">
                    <a:lumMod val="25000"/>
                    <a:lumOff val="75000"/>
                  </a:schemeClr>
                </a:solidFill>
              </a:rPr>
              <a:t>Tratamiento</a:t>
            </a:r>
          </a:p>
          <a:p>
            <a:pPr algn="ctr"/>
            <a:r>
              <a:rPr lang="es-ES" sz="1400" b="1">
                <a:solidFill>
                  <a:schemeClr val="accent1">
                    <a:lumMod val="25000"/>
                    <a:lumOff val="75000"/>
                  </a:schemeClr>
                </a:solidFill>
              </a:rPr>
              <a:t>hipolipemiante</a:t>
            </a:r>
            <a:endParaRPr lang="es-ES" sz="1400" b="1" dirty="0">
              <a:solidFill>
                <a:schemeClr val="accent1">
                  <a:lumMod val="25000"/>
                  <a:lumOff val="75000"/>
                </a:schemeClr>
              </a:solidFill>
            </a:endParaRPr>
          </a:p>
        </p:txBody>
      </p:sp>
      <p:sp>
        <p:nvSpPr>
          <p:cNvPr id="38" name="Rectángulo: esquinas redondeadas 37">
            <a:extLst>
              <a:ext uri="{FF2B5EF4-FFF2-40B4-BE49-F238E27FC236}">
                <a16:creationId xmlns:a16="http://schemas.microsoft.com/office/drawing/2014/main" id="{F2F9FBD4-A733-49C7-5CFB-64A008AA45E6}"/>
              </a:ext>
            </a:extLst>
          </p:cNvPr>
          <p:cNvSpPr/>
          <p:nvPr/>
        </p:nvSpPr>
        <p:spPr>
          <a:xfrm>
            <a:off x="9874952" y="1551414"/>
            <a:ext cx="2190047" cy="508434"/>
          </a:xfrm>
          <a:prstGeom prst="roundRect">
            <a:avLst/>
          </a:prstGeom>
          <a:solidFill>
            <a:schemeClr val="accent2">
              <a:lumMod val="20000"/>
              <a:lumOff val="80000"/>
            </a:schemeClr>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s-ES" sz="1400" b="1">
                <a:solidFill>
                  <a:schemeClr val="accent1">
                    <a:lumMod val="25000"/>
                    <a:lumOff val="75000"/>
                  </a:schemeClr>
                </a:solidFill>
              </a:rPr>
              <a:t>Tratamiento</a:t>
            </a:r>
          </a:p>
          <a:p>
            <a:pPr algn="ctr"/>
            <a:r>
              <a:rPr lang="es-ES" sz="1400" b="1">
                <a:solidFill>
                  <a:schemeClr val="accent1">
                    <a:lumMod val="25000"/>
                    <a:lumOff val="75000"/>
                  </a:schemeClr>
                </a:solidFill>
              </a:rPr>
              <a:t> antiinflamatorio</a:t>
            </a:r>
            <a:endParaRPr lang="es-ES" sz="1400" b="1" dirty="0">
              <a:solidFill>
                <a:schemeClr val="accent1">
                  <a:lumMod val="25000"/>
                  <a:lumOff val="75000"/>
                </a:schemeClr>
              </a:solidFill>
            </a:endParaRPr>
          </a:p>
        </p:txBody>
      </p:sp>
      <p:sp>
        <p:nvSpPr>
          <p:cNvPr id="39" name="Rectángulo: esquinas redondeadas 38">
            <a:extLst>
              <a:ext uri="{FF2B5EF4-FFF2-40B4-BE49-F238E27FC236}">
                <a16:creationId xmlns:a16="http://schemas.microsoft.com/office/drawing/2014/main" id="{6B1E93E0-1408-CD48-35F6-B3C6E68001EA}"/>
              </a:ext>
            </a:extLst>
          </p:cNvPr>
          <p:cNvSpPr/>
          <p:nvPr/>
        </p:nvSpPr>
        <p:spPr>
          <a:xfrm>
            <a:off x="7517974" y="1565330"/>
            <a:ext cx="2196815" cy="494517"/>
          </a:xfrm>
          <a:prstGeom prst="roundRect">
            <a:avLst/>
          </a:prstGeom>
          <a:solidFill>
            <a:schemeClr val="accent2">
              <a:lumMod val="20000"/>
              <a:lumOff val="80000"/>
            </a:schemeClr>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s-ES" sz="1400" b="1">
                <a:solidFill>
                  <a:schemeClr val="accent1">
                    <a:lumMod val="25000"/>
                    <a:lumOff val="75000"/>
                  </a:schemeClr>
                </a:solidFill>
              </a:rPr>
              <a:t>Tratamiento antiobesidad</a:t>
            </a:r>
            <a:endParaRPr lang="es-ES" sz="1400" b="1" dirty="0">
              <a:solidFill>
                <a:schemeClr val="accent1">
                  <a:lumMod val="25000"/>
                  <a:lumOff val="75000"/>
                </a:schemeClr>
              </a:solidFill>
            </a:endParaRPr>
          </a:p>
        </p:txBody>
      </p:sp>
      <p:cxnSp>
        <p:nvCxnSpPr>
          <p:cNvPr id="40" name="Conector recto 39">
            <a:extLst>
              <a:ext uri="{FF2B5EF4-FFF2-40B4-BE49-F238E27FC236}">
                <a16:creationId xmlns:a16="http://schemas.microsoft.com/office/drawing/2014/main" id="{52A74019-187A-4853-1956-7C1E15DCB2A7}"/>
              </a:ext>
            </a:extLst>
          </p:cNvPr>
          <p:cNvCxnSpPr>
            <a:cxnSpLocks/>
          </p:cNvCxnSpPr>
          <p:nvPr/>
        </p:nvCxnSpPr>
        <p:spPr>
          <a:xfrm>
            <a:off x="8550699" y="1326337"/>
            <a:ext cx="0" cy="238993"/>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1" name="Rectángulo: esquinas redondeadas 40">
            <a:extLst>
              <a:ext uri="{FF2B5EF4-FFF2-40B4-BE49-F238E27FC236}">
                <a16:creationId xmlns:a16="http://schemas.microsoft.com/office/drawing/2014/main" id="{4275FDC8-EFFA-D6D6-1E83-C89295E7E73E}"/>
              </a:ext>
            </a:extLst>
          </p:cNvPr>
          <p:cNvSpPr/>
          <p:nvPr/>
        </p:nvSpPr>
        <p:spPr>
          <a:xfrm>
            <a:off x="5348499" y="1565330"/>
            <a:ext cx="1954206" cy="494517"/>
          </a:xfrm>
          <a:prstGeom prst="roundRect">
            <a:avLst/>
          </a:prstGeom>
          <a:solidFill>
            <a:schemeClr val="accent2">
              <a:lumMod val="20000"/>
              <a:lumOff val="80000"/>
            </a:schemeClr>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s-ES" sz="1400" b="1">
                <a:solidFill>
                  <a:schemeClr val="accent1">
                    <a:lumMod val="25000"/>
                    <a:lumOff val="75000"/>
                  </a:schemeClr>
                </a:solidFill>
              </a:rPr>
              <a:t>Tratamiento fármacos SRAA</a:t>
            </a:r>
            <a:endParaRPr lang="es-ES" sz="1400" b="1" dirty="0">
              <a:solidFill>
                <a:schemeClr val="accent1">
                  <a:lumMod val="25000"/>
                  <a:lumOff val="75000"/>
                </a:schemeClr>
              </a:solidFill>
            </a:endParaRPr>
          </a:p>
        </p:txBody>
      </p:sp>
      <p:cxnSp>
        <p:nvCxnSpPr>
          <p:cNvPr id="42" name="Conector recto 41">
            <a:extLst>
              <a:ext uri="{FF2B5EF4-FFF2-40B4-BE49-F238E27FC236}">
                <a16:creationId xmlns:a16="http://schemas.microsoft.com/office/drawing/2014/main" id="{F5F9CAC2-1752-5EE7-115F-5E09493A92F4}"/>
              </a:ext>
            </a:extLst>
          </p:cNvPr>
          <p:cNvCxnSpPr>
            <a:cxnSpLocks/>
          </p:cNvCxnSpPr>
          <p:nvPr/>
        </p:nvCxnSpPr>
        <p:spPr>
          <a:xfrm>
            <a:off x="6325602" y="1326337"/>
            <a:ext cx="0" cy="238993"/>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 name="Conector recto de flecha 4">
            <a:extLst>
              <a:ext uri="{FF2B5EF4-FFF2-40B4-BE49-F238E27FC236}">
                <a16:creationId xmlns:a16="http://schemas.microsoft.com/office/drawing/2014/main" id="{8E4EF20A-C1AD-CA29-993C-A9408FE496E5}"/>
              </a:ext>
            </a:extLst>
          </p:cNvPr>
          <p:cNvCxnSpPr>
            <a:cxnSpLocks/>
          </p:cNvCxnSpPr>
          <p:nvPr/>
        </p:nvCxnSpPr>
        <p:spPr>
          <a:xfrm>
            <a:off x="1918499" y="2059847"/>
            <a:ext cx="243676" cy="758776"/>
          </a:xfrm>
          <a:prstGeom prst="straightConnector1">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6" name="CuadroTexto 5">
            <a:extLst>
              <a:ext uri="{FF2B5EF4-FFF2-40B4-BE49-F238E27FC236}">
                <a16:creationId xmlns:a16="http://schemas.microsoft.com/office/drawing/2014/main" id="{FF48B708-7A1E-A465-39B4-8F478D68FB2E}"/>
              </a:ext>
            </a:extLst>
          </p:cNvPr>
          <p:cNvSpPr txBox="1"/>
          <p:nvPr/>
        </p:nvSpPr>
        <p:spPr>
          <a:xfrm>
            <a:off x="2964006" y="6353368"/>
            <a:ext cx="7095855" cy="200055"/>
          </a:xfrm>
          <a:prstGeom prst="rect">
            <a:avLst/>
          </a:prstGeom>
          <a:noFill/>
        </p:spPr>
        <p:txBody>
          <a:bodyPr wrap="square" rtlCol="0">
            <a:spAutoFit/>
          </a:bodyPr>
          <a:lstStyle>
            <a:defPPr>
              <a:defRPr lang="es-ES"/>
            </a:defPPr>
            <a:lvl1pPr>
              <a:defRPr sz="700" b="0" i="1">
                <a:solidFill>
                  <a:schemeClr val="accent1"/>
                </a:solidFill>
                <a:effectLst/>
              </a:defRPr>
            </a:lvl1pPr>
          </a:lstStyle>
          <a:p>
            <a:pPr algn="ctr"/>
            <a:r>
              <a:rPr lang="en-US" dirty="0"/>
              <a:t>1. </a:t>
            </a:r>
            <a:r>
              <a:rPr lang="en-US" dirty="0" err="1"/>
              <a:t>Vrints</a:t>
            </a:r>
            <a:r>
              <a:rPr lang="en-US" dirty="0"/>
              <a:t> C, et al. 2024 ESC Guidelines for the management of chronic coronary syndromes. </a:t>
            </a:r>
            <a:r>
              <a:rPr lang="en-US" dirty="0" err="1"/>
              <a:t>Eur</a:t>
            </a:r>
            <a:r>
              <a:rPr lang="en-US" dirty="0"/>
              <a:t> Heart J. 2024 Sep 29;45(36):3415-3537. </a:t>
            </a:r>
            <a:r>
              <a:rPr lang="en-US" dirty="0" err="1"/>
              <a:t>doi</a:t>
            </a:r>
            <a:r>
              <a:rPr lang="en-US" dirty="0"/>
              <a:t>: 10.1093/</a:t>
            </a:r>
            <a:r>
              <a:rPr lang="en-US" dirty="0" err="1"/>
              <a:t>eurheartj</a:t>
            </a:r>
            <a:r>
              <a:rPr lang="en-US" dirty="0"/>
              <a:t>/ehae177.</a:t>
            </a:r>
          </a:p>
        </p:txBody>
      </p:sp>
      <p:sp>
        <p:nvSpPr>
          <p:cNvPr id="15" name="CuadroTexto 14">
            <a:extLst>
              <a:ext uri="{FF2B5EF4-FFF2-40B4-BE49-F238E27FC236}">
                <a16:creationId xmlns:a16="http://schemas.microsoft.com/office/drawing/2014/main" id="{F7B77192-E707-5C06-AFEB-13628716698F}"/>
              </a:ext>
            </a:extLst>
          </p:cNvPr>
          <p:cNvSpPr txBox="1"/>
          <p:nvPr/>
        </p:nvSpPr>
        <p:spPr>
          <a:xfrm>
            <a:off x="3402498" y="6149188"/>
            <a:ext cx="6218871" cy="246221"/>
          </a:xfrm>
          <a:prstGeom prst="rect">
            <a:avLst/>
          </a:prstGeom>
          <a:noFill/>
        </p:spPr>
        <p:txBody>
          <a:bodyPr wrap="square">
            <a:spAutoFit/>
          </a:bodyPr>
          <a:lstStyle/>
          <a:p>
            <a:pPr algn="ctr"/>
            <a:r>
              <a:rPr lang="es-ES" sz="1000" dirty="0">
                <a:solidFill>
                  <a:schemeClr val="accent1"/>
                </a:solidFill>
              </a:rPr>
              <a:t>Guía ESC 2024 para el manejo de los síndromes coronarios crónicos </a:t>
            </a:r>
          </a:p>
        </p:txBody>
      </p:sp>
      <p:sp>
        <p:nvSpPr>
          <p:cNvPr id="16" name="CuadroTexto 15">
            <a:extLst>
              <a:ext uri="{FF2B5EF4-FFF2-40B4-BE49-F238E27FC236}">
                <a16:creationId xmlns:a16="http://schemas.microsoft.com/office/drawing/2014/main" id="{5BB3D28D-F98F-2362-DDF0-C5803A427F24}"/>
              </a:ext>
            </a:extLst>
          </p:cNvPr>
          <p:cNvSpPr txBox="1"/>
          <p:nvPr/>
        </p:nvSpPr>
        <p:spPr>
          <a:xfrm>
            <a:off x="7225750" y="5273748"/>
            <a:ext cx="2032280" cy="200055"/>
          </a:xfrm>
          <a:prstGeom prst="rect">
            <a:avLst/>
          </a:prstGeom>
          <a:noFill/>
        </p:spPr>
        <p:txBody>
          <a:bodyPr wrap="square" rtlCol="0">
            <a:spAutoFit/>
          </a:bodyPr>
          <a:lstStyle>
            <a:defPPr>
              <a:defRPr lang="es-ES"/>
            </a:defPPr>
            <a:lvl1pPr>
              <a:defRPr sz="700" b="0" i="1">
                <a:solidFill>
                  <a:schemeClr val="accent1"/>
                </a:solidFill>
                <a:effectLst/>
              </a:defRPr>
            </a:lvl1pPr>
          </a:lstStyle>
          <a:p>
            <a:r>
              <a:rPr lang="en-US" b="1" dirty="0" err="1"/>
              <a:t>Eur</a:t>
            </a:r>
            <a:r>
              <a:rPr lang="en-US" b="1" dirty="0"/>
              <a:t> Heart J. 2024 Sep 29;45(36):3415-3537</a:t>
            </a:r>
            <a:endParaRPr lang="es-ES" b="1" dirty="0"/>
          </a:p>
        </p:txBody>
      </p:sp>
      <p:pic>
        <p:nvPicPr>
          <p:cNvPr id="20" name="Imagen 19">
            <a:extLst>
              <a:ext uri="{FF2B5EF4-FFF2-40B4-BE49-F238E27FC236}">
                <a16:creationId xmlns:a16="http://schemas.microsoft.com/office/drawing/2014/main" id="{885E2ABA-E582-CC50-E51A-2FF3B78408F9}"/>
              </a:ext>
            </a:extLst>
          </p:cNvPr>
          <p:cNvPicPr>
            <a:picLocks noChangeAspect="1"/>
          </p:cNvPicPr>
          <p:nvPr/>
        </p:nvPicPr>
        <p:blipFill>
          <a:blip r:embed="rId5"/>
          <a:stretch>
            <a:fillRect/>
          </a:stretch>
        </p:blipFill>
        <p:spPr>
          <a:xfrm>
            <a:off x="1002576" y="3070971"/>
            <a:ext cx="8160637" cy="2203282"/>
          </a:xfrm>
          <a:prstGeom prst="rect">
            <a:avLst/>
          </a:prstGeom>
        </p:spPr>
      </p:pic>
      <p:sp>
        <p:nvSpPr>
          <p:cNvPr id="10" name="CuadroTexto 9">
            <a:extLst>
              <a:ext uri="{FF2B5EF4-FFF2-40B4-BE49-F238E27FC236}">
                <a16:creationId xmlns:a16="http://schemas.microsoft.com/office/drawing/2014/main" id="{7A8DDC82-0B1C-4AD1-2753-9A1D09860423}"/>
              </a:ext>
            </a:extLst>
          </p:cNvPr>
          <p:cNvSpPr txBox="1"/>
          <p:nvPr/>
        </p:nvSpPr>
        <p:spPr>
          <a:xfrm>
            <a:off x="2155082" y="3089205"/>
            <a:ext cx="222891" cy="215444"/>
          </a:xfrm>
          <a:prstGeom prst="rect">
            <a:avLst/>
          </a:prstGeom>
          <a:noFill/>
        </p:spPr>
        <p:txBody>
          <a:bodyPr wrap="square">
            <a:spAutoFit/>
          </a:bodyPr>
          <a:lstStyle/>
          <a:p>
            <a:r>
              <a:rPr lang="es-ES" sz="800" b="1" dirty="0">
                <a:solidFill>
                  <a:schemeClr val="tx1">
                    <a:lumMod val="50000"/>
                  </a:schemeClr>
                </a:solidFill>
              </a:rPr>
              <a:t>1</a:t>
            </a:r>
          </a:p>
        </p:txBody>
      </p:sp>
      <p:sp>
        <p:nvSpPr>
          <p:cNvPr id="3" name="CuadroTexto 2">
            <a:extLst>
              <a:ext uri="{FF2B5EF4-FFF2-40B4-BE49-F238E27FC236}">
                <a16:creationId xmlns:a16="http://schemas.microsoft.com/office/drawing/2014/main" id="{22F2B241-1EE2-1F16-AA46-EE4855209B4D}"/>
              </a:ext>
            </a:extLst>
          </p:cNvPr>
          <p:cNvSpPr txBox="1"/>
          <p:nvPr/>
        </p:nvSpPr>
        <p:spPr>
          <a:xfrm rot="16200000">
            <a:off x="10717199" y="5460417"/>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36177890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A795D3-75D8-E0B4-2CC8-65B3209D5A4A}"/>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8775DB1C-256E-D2E4-A61E-BF5508B094BF}"/>
              </a:ext>
            </a:extLst>
          </p:cNvPr>
          <p:cNvSpPr>
            <a:spLocks noGrp="1"/>
          </p:cNvSpPr>
          <p:nvPr>
            <p:ph type="body" sz="quarter" idx="24"/>
          </p:nvPr>
        </p:nvSpPr>
        <p:spPr/>
        <p:txBody>
          <a:bodyPr/>
          <a:lstStyle/>
          <a:p>
            <a:endParaRPr lang="es-ES"/>
          </a:p>
        </p:txBody>
      </p:sp>
      <p:sp>
        <p:nvSpPr>
          <p:cNvPr id="6" name="Marcador de número de diapositiva 5">
            <a:extLst>
              <a:ext uri="{FF2B5EF4-FFF2-40B4-BE49-F238E27FC236}">
                <a16:creationId xmlns:a16="http://schemas.microsoft.com/office/drawing/2014/main" id="{CCA7200B-ACBD-5844-039B-2A1F2E3F4A8D}"/>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pic>
        <p:nvPicPr>
          <p:cNvPr id="2" name="Imagen 1">
            <a:extLst>
              <a:ext uri="{FF2B5EF4-FFF2-40B4-BE49-F238E27FC236}">
                <a16:creationId xmlns:a16="http://schemas.microsoft.com/office/drawing/2014/main" id="{E2B178C1-AE80-6CD8-37AF-3A9AA5075A40}"/>
              </a:ext>
            </a:extLst>
          </p:cNvPr>
          <p:cNvPicPr>
            <a:picLocks noChangeAspect="1"/>
          </p:cNvPicPr>
          <p:nvPr/>
        </p:nvPicPr>
        <p:blipFill>
          <a:blip r:embed="rId3"/>
          <a:stretch>
            <a:fillRect/>
          </a:stretch>
        </p:blipFill>
        <p:spPr>
          <a:xfrm>
            <a:off x="10623775" y="231972"/>
            <a:ext cx="1329043" cy="457240"/>
          </a:xfrm>
          <a:prstGeom prst="rect">
            <a:avLst/>
          </a:prstGeom>
        </p:spPr>
      </p:pic>
      <p:sp>
        <p:nvSpPr>
          <p:cNvPr id="10" name="CuadroTexto 9">
            <a:extLst>
              <a:ext uri="{FF2B5EF4-FFF2-40B4-BE49-F238E27FC236}">
                <a16:creationId xmlns:a16="http://schemas.microsoft.com/office/drawing/2014/main" id="{8773C13D-4CA7-F498-E1BD-13B466605590}"/>
              </a:ext>
            </a:extLst>
          </p:cNvPr>
          <p:cNvSpPr txBox="1"/>
          <p:nvPr/>
        </p:nvSpPr>
        <p:spPr>
          <a:xfrm>
            <a:off x="932091" y="85595"/>
            <a:ext cx="9978312" cy="954107"/>
          </a:xfrm>
          <a:prstGeom prst="rect">
            <a:avLst/>
          </a:prstGeom>
          <a:noFill/>
        </p:spPr>
        <p:txBody>
          <a:bodyPr wrap="square">
            <a:spAutoFit/>
          </a:bodyPr>
          <a:lstStyle/>
          <a:p>
            <a:r>
              <a:rPr lang="es-ES" sz="2800" dirty="0">
                <a:solidFill>
                  <a:schemeClr val="accent1"/>
                </a:solidFill>
                <a:latin typeface="+mj-lt"/>
                <a:ea typeface="+mj-ea"/>
                <a:cs typeface="+mj-cs"/>
              </a:rPr>
              <a:t>Tratamiento antitrombótico en pacientes sin indicación para anticoagulación oral y que van a recibir PCI (II)</a:t>
            </a:r>
            <a:endParaRPr lang="en-GB" sz="2800" dirty="0">
              <a:solidFill>
                <a:schemeClr val="accent1"/>
              </a:solidFill>
              <a:latin typeface="+mj-lt"/>
              <a:ea typeface="+mj-ea"/>
              <a:cs typeface="+mj-cs"/>
            </a:endParaRPr>
          </a:p>
        </p:txBody>
      </p:sp>
      <p:sp>
        <p:nvSpPr>
          <p:cNvPr id="11" name="CuadroTexto 10">
            <a:extLst>
              <a:ext uri="{FF2B5EF4-FFF2-40B4-BE49-F238E27FC236}">
                <a16:creationId xmlns:a16="http://schemas.microsoft.com/office/drawing/2014/main" id="{4EBA4B0D-90BD-B3C6-1469-E268D3DE01A1}"/>
              </a:ext>
            </a:extLst>
          </p:cNvPr>
          <p:cNvSpPr txBox="1"/>
          <p:nvPr/>
        </p:nvSpPr>
        <p:spPr>
          <a:xfrm>
            <a:off x="990902" y="4891392"/>
            <a:ext cx="4844731" cy="477054"/>
          </a:xfrm>
          <a:prstGeom prst="rect">
            <a:avLst/>
          </a:prstGeom>
          <a:noFill/>
        </p:spPr>
        <p:txBody>
          <a:bodyPr wrap="square">
            <a:spAutoFit/>
          </a:bodyPr>
          <a:lstStyle/>
          <a:p>
            <a:pPr algn="just"/>
            <a:r>
              <a:rPr lang="en-GB" sz="900" b="0" i="0" u="none" strike="noStrike" baseline="0" dirty="0">
                <a:solidFill>
                  <a:srgbClr val="000000"/>
                </a:solidFill>
                <a:latin typeface="Gill Sans Nova" panose="020B0602020104020203" pitchFamily="34" charset="0"/>
              </a:rPr>
              <a:t>b</a:t>
            </a:r>
            <a:r>
              <a:rPr lang="en-GB" sz="800" dirty="0">
                <a:solidFill>
                  <a:schemeClr val="accent1"/>
                </a:solidFill>
              </a:rPr>
              <a:t>.i.d.: bis in die (twice daily); CCS: chronic coronary syndrome; CYP2C19: cytochrome P450 2C19; DAPT: dual antiplatelet therapy; mo.: months; OAC: oral anticoagulant; o.d.: once daily; PCI: percutaneous coronary intervention.</a:t>
            </a:r>
          </a:p>
        </p:txBody>
      </p:sp>
      <p:grpSp>
        <p:nvGrpSpPr>
          <p:cNvPr id="21" name="Grupo 20">
            <a:extLst>
              <a:ext uri="{FF2B5EF4-FFF2-40B4-BE49-F238E27FC236}">
                <a16:creationId xmlns:a16="http://schemas.microsoft.com/office/drawing/2014/main" id="{39D3A30C-D5D5-B4BE-5B16-57A360B47165}"/>
              </a:ext>
            </a:extLst>
          </p:cNvPr>
          <p:cNvGrpSpPr/>
          <p:nvPr/>
        </p:nvGrpSpPr>
        <p:grpSpPr>
          <a:xfrm>
            <a:off x="6434255" y="1327591"/>
            <a:ext cx="4990576" cy="5028760"/>
            <a:chOff x="6061486" y="1225139"/>
            <a:chExt cx="4990576" cy="5028760"/>
          </a:xfrm>
        </p:grpSpPr>
        <p:sp>
          <p:nvSpPr>
            <p:cNvPr id="12" name="6 CuadroTexto">
              <a:extLst>
                <a:ext uri="{FF2B5EF4-FFF2-40B4-BE49-F238E27FC236}">
                  <a16:creationId xmlns:a16="http://schemas.microsoft.com/office/drawing/2014/main" id="{63A9BB1D-FC5C-8D18-3621-B2FE334273AB}"/>
                </a:ext>
              </a:extLst>
            </p:cNvPr>
            <p:cNvSpPr txBox="1"/>
            <p:nvPr/>
          </p:nvSpPr>
          <p:spPr>
            <a:xfrm>
              <a:off x="6885497" y="3562763"/>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8" name="Imagen 7">
              <a:extLst>
                <a:ext uri="{FF2B5EF4-FFF2-40B4-BE49-F238E27FC236}">
                  <a16:creationId xmlns:a16="http://schemas.microsoft.com/office/drawing/2014/main" id="{75DC558A-0466-3D69-B29F-09B69CF1F57C}"/>
                </a:ext>
              </a:extLst>
            </p:cNvPr>
            <p:cNvPicPr>
              <a:picLocks noChangeAspect="1"/>
            </p:cNvPicPr>
            <p:nvPr/>
          </p:nvPicPr>
          <p:blipFill>
            <a:blip r:embed="rId4"/>
            <a:srcRect l="446" r="1451"/>
            <a:stretch/>
          </p:blipFill>
          <p:spPr>
            <a:xfrm>
              <a:off x="6061486" y="1225139"/>
              <a:ext cx="4990576" cy="5028760"/>
            </a:xfrm>
            <a:prstGeom prst="rect">
              <a:avLst/>
            </a:prstGeom>
            <a:ln>
              <a:solidFill>
                <a:schemeClr val="accent1"/>
              </a:solidFill>
            </a:ln>
          </p:spPr>
        </p:pic>
      </p:grpSp>
      <p:sp>
        <p:nvSpPr>
          <p:cNvPr id="9" name="Rectángulo 8">
            <a:extLst>
              <a:ext uri="{FF2B5EF4-FFF2-40B4-BE49-F238E27FC236}">
                <a16:creationId xmlns:a16="http://schemas.microsoft.com/office/drawing/2014/main" id="{B19BCF89-D80F-FF9F-62DD-FC8B99FEE882}"/>
              </a:ext>
            </a:extLst>
          </p:cNvPr>
          <p:cNvSpPr/>
          <p:nvPr/>
        </p:nvSpPr>
        <p:spPr>
          <a:xfrm>
            <a:off x="4736878" y="1836167"/>
            <a:ext cx="1098755" cy="383459"/>
          </a:xfrm>
          <a:prstGeom prst="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1200"/>
              <a:t>¿Riesgo sangrado?</a:t>
            </a:r>
            <a:endParaRPr lang="en-GB" sz="1200"/>
          </a:p>
        </p:txBody>
      </p:sp>
      <p:sp>
        <p:nvSpPr>
          <p:cNvPr id="13" name="Rectángulo 12">
            <a:extLst>
              <a:ext uri="{FF2B5EF4-FFF2-40B4-BE49-F238E27FC236}">
                <a16:creationId xmlns:a16="http://schemas.microsoft.com/office/drawing/2014/main" id="{7C7F84C7-85AE-41F1-C85D-67258DA38847}"/>
              </a:ext>
            </a:extLst>
          </p:cNvPr>
          <p:cNvSpPr/>
          <p:nvPr/>
        </p:nvSpPr>
        <p:spPr>
          <a:xfrm>
            <a:off x="4736878" y="1379169"/>
            <a:ext cx="1098755" cy="383459"/>
          </a:xfrm>
          <a:prstGeom prst="rect">
            <a:avLst/>
          </a:prstGeom>
          <a:solidFill>
            <a:srgbClr val="002060"/>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1200"/>
              <a:t>¿Riesgo isquémico?</a:t>
            </a:r>
            <a:endParaRPr lang="en-GB" sz="1200"/>
          </a:p>
        </p:txBody>
      </p:sp>
      <p:pic>
        <p:nvPicPr>
          <p:cNvPr id="15" name="Imagen 14">
            <a:extLst>
              <a:ext uri="{FF2B5EF4-FFF2-40B4-BE49-F238E27FC236}">
                <a16:creationId xmlns:a16="http://schemas.microsoft.com/office/drawing/2014/main" id="{3B88C65A-4982-8521-ECF0-13D44740072B}"/>
              </a:ext>
            </a:extLst>
          </p:cNvPr>
          <p:cNvPicPr>
            <a:picLocks noChangeAspect="1"/>
          </p:cNvPicPr>
          <p:nvPr/>
        </p:nvPicPr>
        <p:blipFill>
          <a:blip r:embed="rId5"/>
          <a:stretch>
            <a:fillRect/>
          </a:stretch>
        </p:blipFill>
        <p:spPr>
          <a:xfrm>
            <a:off x="837280" y="2364583"/>
            <a:ext cx="5243167" cy="1104901"/>
          </a:xfrm>
          <a:prstGeom prst="rect">
            <a:avLst/>
          </a:prstGeom>
        </p:spPr>
      </p:pic>
      <p:pic>
        <p:nvPicPr>
          <p:cNvPr id="17" name="Imagen 16">
            <a:extLst>
              <a:ext uri="{FF2B5EF4-FFF2-40B4-BE49-F238E27FC236}">
                <a16:creationId xmlns:a16="http://schemas.microsoft.com/office/drawing/2014/main" id="{2732EBD6-E6A1-E24B-BF2B-6D8B3497F964}"/>
              </a:ext>
            </a:extLst>
          </p:cNvPr>
          <p:cNvPicPr>
            <a:picLocks noChangeAspect="1"/>
          </p:cNvPicPr>
          <p:nvPr/>
        </p:nvPicPr>
        <p:blipFill>
          <a:blip r:embed="rId6"/>
          <a:stretch>
            <a:fillRect/>
          </a:stretch>
        </p:blipFill>
        <p:spPr>
          <a:xfrm>
            <a:off x="837280" y="3308378"/>
            <a:ext cx="3662536" cy="1438476"/>
          </a:xfrm>
          <a:prstGeom prst="rect">
            <a:avLst/>
          </a:prstGeom>
        </p:spPr>
      </p:pic>
      <p:sp>
        <p:nvSpPr>
          <p:cNvPr id="18" name="Estrella: 8 puntas 17">
            <a:extLst>
              <a:ext uri="{FF2B5EF4-FFF2-40B4-BE49-F238E27FC236}">
                <a16:creationId xmlns:a16="http://schemas.microsoft.com/office/drawing/2014/main" id="{58C70F40-151F-6629-F428-E6EDA4A225DC}"/>
              </a:ext>
            </a:extLst>
          </p:cNvPr>
          <p:cNvSpPr/>
          <p:nvPr/>
        </p:nvSpPr>
        <p:spPr>
          <a:xfrm>
            <a:off x="4563151" y="3867990"/>
            <a:ext cx="1134640" cy="331245"/>
          </a:xfrm>
          <a:prstGeom prst="star8">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s-ES" sz="1000" b="1" dirty="0"/>
              <a:t>REVISED</a:t>
            </a:r>
            <a:endParaRPr lang="en-GB" sz="1000" b="1" dirty="0"/>
          </a:p>
        </p:txBody>
      </p:sp>
      <p:sp>
        <p:nvSpPr>
          <p:cNvPr id="14" name="CuadroTexto 13">
            <a:extLst>
              <a:ext uri="{FF2B5EF4-FFF2-40B4-BE49-F238E27FC236}">
                <a16:creationId xmlns:a16="http://schemas.microsoft.com/office/drawing/2014/main" id="{F879B8A2-532A-C3DA-37D2-788138648C01}"/>
              </a:ext>
            </a:extLst>
          </p:cNvPr>
          <p:cNvSpPr txBox="1"/>
          <p:nvPr/>
        </p:nvSpPr>
        <p:spPr>
          <a:xfrm>
            <a:off x="1167371" y="5995339"/>
            <a:ext cx="4706889" cy="307777"/>
          </a:xfrm>
          <a:prstGeom prst="rect">
            <a:avLst/>
          </a:prstGeom>
          <a:noFill/>
        </p:spPr>
        <p:txBody>
          <a:bodyPr wrap="square" rtlCol="0">
            <a:spAutoFit/>
          </a:bodyPr>
          <a:lstStyle>
            <a:defPPr>
              <a:defRPr lang="es-ES"/>
            </a:defPPr>
            <a:lvl1pPr>
              <a:defRPr sz="700" b="0" i="1">
                <a:solidFill>
                  <a:schemeClr val="accent1"/>
                </a:solidFill>
                <a:effectLst/>
              </a:defRPr>
            </a:lvl1pPr>
          </a:lstStyle>
          <a:p>
            <a:pPr algn="ctr"/>
            <a:r>
              <a:rPr lang="en-US" dirty="0"/>
              <a:t>1. </a:t>
            </a:r>
            <a:r>
              <a:rPr lang="en-US" dirty="0" err="1"/>
              <a:t>Vrints</a:t>
            </a:r>
            <a:r>
              <a:rPr lang="en-US" dirty="0"/>
              <a:t> C, et al. 2024 ESC Guidelines for the management of chronic coronary syndromes. </a:t>
            </a:r>
            <a:r>
              <a:rPr lang="en-US" dirty="0" err="1"/>
              <a:t>Eur</a:t>
            </a:r>
            <a:r>
              <a:rPr lang="en-US" dirty="0"/>
              <a:t> Heart J. 2024 Sep 29;45(36):3415-3537. </a:t>
            </a:r>
            <a:r>
              <a:rPr lang="en-US" dirty="0" err="1"/>
              <a:t>doi</a:t>
            </a:r>
            <a:r>
              <a:rPr lang="en-US" dirty="0"/>
              <a:t>: 10.1093/</a:t>
            </a:r>
            <a:r>
              <a:rPr lang="en-US" dirty="0" err="1"/>
              <a:t>eurheartj</a:t>
            </a:r>
            <a:r>
              <a:rPr lang="en-US" dirty="0"/>
              <a:t>/ehae177.</a:t>
            </a:r>
          </a:p>
        </p:txBody>
      </p:sp>
      <p:sp>
        <p:nvSpPr>
          <p:cNvPr id="19" name="CuadroTexto 18">
            <a:extLst>
              <a:ext uri="{FF2B5EF4-FFF2-40B4-BE49-F238E27FC236}">
                <a16:creationId xmlns:a16="http://schemas.microsoft.com/office/drawing/2014/main" id="{AF95AD6D-9655-E252-F3D2-D315684BC5E6}"/>
              </a:ext>
            </a:extLst>
          </p:cNvPr>
          <p:cNvSpPr txBox="1"/>
          <p:nvPr/>
        </p:nvSpPr>
        <p:spPr>
          <a:xfrm>
            <a:off x="385734" y="5834280"/>
            <a:ext cx="6218871" cy="246221"/>
          </a:xfrm>
          <a:prstGeom prst="rect">
            <a:avLst/>
          </a:prstGeom>
          <a:noFill/>
        </p:spPr>
        <p:txBody>
          <a:bodyPr wrap="square">
            <a:spAutoFit/>
          </a:bodyPr>
          <a:lstStyle/>
          <a:p>
            <a:pPr algn="ctr"/>
            <a:r>
              <a:rPr lang="es-ES" sz="1000" dirty="0">
                <a:solidFill>
                  <a:schemeClr val="accent1"/>
                </a:solidFill>
              </a:rPr>
              <a:t>Guía ESC 2024 para el manejo de los síndromes coronarios crónicos </a:t>
            </a:r>
          </a:p>
        </p:txBody>
      </p:sp>
      <p:sp>
        <p:nvSpPr>
          <p:cNvPr id="20" name="CuadroTexto 19">
            <a:extLst>
              <a:ext uri="{FF2B5EF4-FFF2-40B4-BE49-F238E27FC236}">
                <a16:creationId xmlns:a16="http://schemas.microsoft.com/office/drawing/2014/main" id="{24E91EC9-2207-18E0-909F-F597A27BD930}"/>
              </a:ext>
            </a:extLst>
          </p:cNvPr>
          <p:cNvSpPr txBox="1"/>
          <p:nvPr/>
        </p:nvSpPr>
        <p:spPr>
          <a:xfrm>
            <a:off x="9481626" y="6397159"/>
            <a:ext cx="2032280" cy="200055"/>
          </a:xfrm>
          <a:prstGeom prst="rect">
            <a:avLst/>
          </a:prstGeom>
          <a:noFill/>
        </p:spPr>
        <p:txBody>
          <a:bodyPr wrap="square" rtlCol="0">
            <a:spAutoFit/>
          </a:bodyPr>
          <a:lstStyle>
            <a:defPPr>
              <a:defRPr lang="es-ES"/>
            </a:defPPr>
            <a:lvl1pPr>
              <a:defRPr sz="700" b="0" i="1">
                <a:solidFill>
                  <a:schemeClr val="accent1"/>
                </a:solidFill>
                <a:effectLst/>
              </a:defRPr>
            </a:lvl1pPr>
          </a:lstStyle>
          <a:p>
            <a:r>
              <a:rPr lang="en-US" b="1" dirty="0" err="1"/>
              <a:t>Eur</a:t>
            </a:r>
            <a:r>
              <a:rPr lang="en-US" b="1" dirty="0"/>
              <a:t> Heart J. 2024 Sep 29;45(36):3415-3537</a:t>
            </a:r>
            <a:endParaRPr lang="es-ES" b="1" dirty="0"/>
          </a:p>
        </p:txBody>
      </p:sp>
      <p:sp>
        <p:nvSpPr>
          <p:cNvPr id="22" name="CuadroTexto 21">
            <a:extLst>
              <a:ext uri="{FF2B5EF4-FFF2-40B4-BE49-F238E27FC236}">
                <a16:creationId xmlns:a16="http://schemas.microsoft.com/office/drawing/2014/main" id="{08F4A4FC-09CD-45A9-E81A-4B2CAD655A7E}"/>
              </a:ext>
            </a:extLst>
          </p:cNvPr>
          <p:cNvSpPr txBox="1"/>
          <p:nvPr/>
        </p:nvSpPr>
        <p:spPr>
          <a:xfrm>
            <a:off x="1788789" y="2327980"/>
            <a:ext cx="222891" cy="215444"/>
          </a:xfrm>
          <a:prstGeom prst="rect">
            <a:avLst/>
          </a:prstGeom>
          <a:noFill/>
        </p:spPr>
        <p:txBody>
          <a:bodyPr wrap="square">
            <a:spAutoFit/>
          </a:bodyPr>
          <a:lstStyle/>
          <a:p>
            <a:r>
              <a:rPr lang="es-ES" sz="800" b="1" dirty="0">
                <a:solidFill>
                  <a:schemeClr val="tx1">
                    <a:lumMod val="50000"/>
                  </a:schemeClr>
                </a:solidFill>
              </a:rPr>
              <a:t>1</a:t>
            </a:r>
          </a:p>
        </p:txBody>
      </p:sp>
      <p:sp>
        <p:nvSpPr>
          <p:cNvPr id="5" name="CuadroTexto 4">
            <a:extLst>
              <a:ext uri="{FF2B5EF4-FFF2-40B4-BE49-F238E27FC236}">
                <a16:creationId xmlns:a16="http://schemas.microsoft.com/office/drawing/2014/main" id="{65E24F56-9499-F05E-BB94-5F2438A90848}"/>
              </a:ext>
            </a:extLst>
          </p:cNvPr>
          <p:cNvSpPr txBox="1"/>
          <p:nvPr/>
        </p:nvSpPr>
        <p:spPr>
          <a:xfrm>
            <a:off x="10400884" y="1322638"/>
            <a:ext cx="222891" cy="215444"/>
          </a:xfrm>
          <a:prstGeom prst="rect">
            <a:avLst/>
          </a:prstGeom>
          <a:noFill/>
        </p:spPr>
        <p:txBody>
          <a:bodyPr wrap="square">
            <a:spAutoFit/>
          </a:bodyPr>
          <a:lstStyle/>
          <a:p>
            <a:r>
              <a:rPr lang="es-ES" sz="800" b="1" dirty="0">
                <a:solidFill>
                  <a:schemeClr val="tx1">
                    <a:lumMod val="50000"/>
                  </a:schemeClr>
                </a:solidFill>
              </a:rPr>
              <a:t>1</a:t>
            </a:r>
          </a:p>
        </p:txBody>
      </p:sp>
      <p:sp>
        <p:nvSpPr>
          <p:cNvPr id="3" name="CuadroTexto 2">
            <a:extLst>
              <a:ext uri="{FF2B5EF4-FFF2-40B4-BE49-F238E27FC236}">
                <a16:creationId xmlns:a16="http://schemas.microsoft.com/office/drawing/2014/main" id="{C4D1EA76-68D4-D35D-3664-A754996AD546}"/>
              </a:ext>
            </a:extLst>
          </p:cNvPr>
          <p:cNvSpPr txBox="1"/>
          <p:nvPr/>
        </p:nvSpPr>
        <p:spPr>
          <a:xfrm rot="16200000">
            <a:off x="10633273" y="3376069"/>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17627144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BEDCDA-8DD8-A402-DC8B-5463FBC4E92C}"/>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A01D4E71-C21C-0D05-9ACA-7078EAAF5AD6}"/>
              </a:ext>
            </a:extLst>
          </p:cNvPr>
          <p:cNvSpPr>
            <a:spLocks noGrp="1"/>
          </p:cNvSpPr>
          <p:nvPr>
            <p:ph type="body" sz="quarter" idx="24"/>
          </p:nvPr>
        </p:nvSpPr>
        <p:spPr/>
        <p:txBody>
          <a:bodyPr/>
          <a:lstStyle/>
          <a:p>
            <a:endParaRPr lang="es-ES" dirty="0"/>
          </a:p>
        </p:txBody>
      </p:sp>
      <p:sp>
        <p:nvSpPr>
          <p:cNvPr id="6" name="Marcador de número de diapositiva 5">
            <a:extLst>
              <a:ext uri="{FF2B5EF4-FFF2-40B4-BE49-F238E27FC236}">
                <a16:creationId xmlns:a16="http://schemas.microsoft.com/office/drawing/2014/main" id="{2C4D1899-2C23-180A-4045-98BE427A6402}"/>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sp>
        <p:nvSpPr>
          <p:cNvPr id="12" name="6 CuadroTexto">
            <a:extLst>
              <a:ext uri="{FF2B5EF4-FFF2-40B4-BE49-F238E27FC236}">
                <a16:creationId xmlns:a16="http://schemas.microsoft.com/office/drawing/2014/main" id="{766D1D9E-9148-93B6-0320-DA68A589F804}"/>
              </a:ext>
            </a:extLst>
          </p:cNvPr>
          <p:cNvSpPr txBox="1"/>
          <p:nvPr/>
        </p:nvSpPr>
        <p:spPr>
          <a:xfrm>
            <a:off x="6904258" y="3758311"/>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2" name="Imagen 1">
            <a:extLst>
              <a:ext uri="{FF2B5EF4-FFF2-40B4-BE49-F238E27FC236}">
                <a16:creationId xmlns:a16="http://schemas.microsoft.com/office/drawing/2014/main" id="{44B58D64-4CA5-1782-ED2E-1469069A291C}"/>
              </a:ext>
            </a:extLst>
          </p:cNvPr>
          <p:cNvPicPr>
            <a:picLocks noChangeAspect="1"/>
          </p:cNvPicPr>
          <p:nvPr/>
        </p:nvPicPr>
        <p:blipFill>
          <a:blip r:embed="rId3"/>
          <a:stretch>
            <a:fillRect/>
          </a:stretch>
        </p:blipFill>
        <p:spPr>
          <a:xfrm>
            <a:off x="10623775" y="231972"/>
            <a:ext cx="1329043" cy="457240"/>
          </a:xfrm>
          <a:prstGeom prst="rect">
            <a:avLst/>
          </a:prstGeom>
        </p:spPr>
      </p:pic>
      <p:sp>
        <p:nvSpPr>
          <p:cNvPr id="9" name="Título 3">
            <a:extLst>
              <a:ext uri="{FF2B5EF4-FFF2-40B4-BE49-F238E27FC236}">
                <a16:creationId xmlns:a16="http://schemas.microsoft.com/office/drawing/2014/main" id="{9158D893-ACE7-50A0-6D17-29A2D714424A}"/>
              </a:ext>
            </a:extLst>
          </p:cNvPr>
          <p:cNvSpPr txBox="1">
            <a:spLocks/>
          </p:cNvSpPr>
          <p:nvPr/>
        </p:nvSpPr>
        <p:spPr>
          <a:xfrm>
            <a:off x="1060745" y="304790"/>
            <a:ext cx="9373035" cy="1469134"/>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_tradnl" sz="2800" dirty="0"/>
              <a:t>Tratamiento médico: mejoría del pronóstico en el SCC (III)</a:t>
            </a:r>
            <a:endParaRPr lang="es-ES" sz="2800" dirty="0"/>
          </a:p>
        </p:txBody>
      </p:sp>
      <p:cxnSp>
        <p:nvCxnSpPr>
          <p:cNvPr id="11" name="Conector recto 10">
            <a:extLst>
              <a:ext uri="{FF2B5EF4-FFF2-40B4-BE49-F238E27FC236}">
                <a16:creationId xmlns:a16="http://schemas.microsoft.com/office/drawing/2014/main" id="{4FD136FE-BF5F-6EE0-D572-E36ECFD5E216}"/>
              </a:ext>
            </a:extLst>
          </p:cNvPr>
          <p:cNvCxnSpPr>
            <a:cxnSpLocks/>
          </p:cNvCxnSpPr>
          <p:nvPr/>
        </p:nvCxnSpPr>
        <p:spPr>
          <a:xfrm>
            <a:off x="1893570" y="1408972"/>
            <a:ext cx="9144971"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3" name="Conector recto 22">
            <a:extLst>
              <a:ext uri="{FF2B5EF4-FFF2-40B4-BE49-F238E27FC236}">
                <a16:creationId xmlns:a16="http://schemas.microsoft.com/office/drawing/2014/main" id="{EEC1F022-ADB5-E585-4406-FF347BC81152}"/>
              </a:ext>
            </a:extLst>
          </p:cNvPr>
          <p:cNvCxnSpPr/>
          <p:nvPr/>
        </p:nvCxnSpPr>
        <p:spPr>
          <a:xfrm>
            <a:off x="1904679" y="1408972"/>
            <a:ext cx="0" cy="26066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 name="Conector recto 24">
            <a:extLst>
              <a:ext uri="{FF2B5EF4-FFF2-40B4-BE49-F238E27FC236}">
                <a16:creationId xmlns:a16="http://schemas.microsoft.com/office/drawing/2014/main" id="{802B64CC-0F96-7FCC-708F-F5E0D8C4FB45}"/>
              </a:ext>
            </a:extLst>
          </p:cNvPr>
          <p:cNvCxnSpPr/>
          <p:nvPr/>
        </p:nvCxnSpPr>
        <p:spPr>
          <a:xfrm>
            <a:off x="11026866" y="1387305"/>
            <a:ext cx="0" cy="26066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7" name="Conector recto 26">
            <a:extLst>
              <a:ext uri="{FF2B5EF4-FFF2-40B4-BE49-F238E27FC236}">
                <a16:creationId xmlns:a16="http://schemas.microsoft.com/office/drawing/2014/main" id="{0D5FAE7C-3F86-0DB0-1D17-6C9FDE57A9B6}"/>
              </a:ext>
            </a:extLst>
          </p:cNvPr>
          <p:cNvCxnSpPr>
            <a:cxnSpLocks/>
            <a:endCxn id="29" idx="0"/>
          </p:cNvCxnSpPr>
          <p:nvPr/>
        </p:nvCxnSpPr>
        <p:spPr>
          <a:xfrm>
            <a:off x="3984487" y="1410792"/>
            <a:ext cx="0" cy="238993"/>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8" name="Rectángulo: esquinas redondeadas 27">
            <a:extLst>
              <a:ext uri="{FF2B5EF4-FFF2-40B4-BE49-F238E27FC236}">
                <a16:creationId xmlns:a16="http://schemas.microsoft.com/office/drawing/2014/main" id="{E9360720-D879-88E5-68A6-3946DA9A4790}"/>
              </a:ext>
            </a:extLst>
          </p:cNvPr>
          <p:cNvSpPr/>
          <p:nvPr/>
        </p:nvSpPr>
        <p:spPr>
          <a:xfrm>
            <a:off x="1060746" y="1649785"/>
            <a:ext cx="1715506" cy="494517"/>
          </a:xfrm>
          <a:prstGeom prst="roundRect">
            <a:avLst/>
          </a:prstGeom>
          <a:solidFill>
            <a:schemeClr val="accent2">
              <a:lumMod val="20000"/>
              <a:lumOff val="80000"/>
            </a:schemeClr>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s-ES" sz="1400" b="1">
                <a:solidFill>
                  <a:schemeClr val="accent1">
                    <a:lumMod val="25000"/>
                    <a:lumOff val="75000"/>
                  </a:schemeClr>
                </a:solidFill>
              </a:rPr>
              <a:t>Tratamiento antitrombótico</a:t>
            </a:r>
            <a:endParaRPr lang="es-ES" sz="1400" b="1" dirty="0">
              <a:solidFill>
                <a:schemeClr val="accent1">
                  <a:lumMod val="25000"/>
                  <a:lumOff val="75000"/>
                </a:schemeClr>
              </a:solidFill>
            </a:endParaRPr>
          </a:p>
        </p:txBody>
      </p:sp>
      <p:sp>
        <p:nvSpPr>
          <p:cNvPr id="29" name="Rectángulo: esquinas redondeadas 28">
            <a:extLst>
              <a:ext uri="{FF2B5EF4-FFF2-40B4-BE49-F238E27FC236}">
                <a16:creationId xmlns:a16="http://schemas.microsoft.com/office/drawing/2014/main" id="{BB3A1F27-BB17-D9E7-D0BB-4EC5B4487D06}"/>
              </a:ext>
            </a:extLst>
          </p:cNvPr>
          <p:cNvSpPr/>
          <p:nvPr/>
        </p:nvSpPr>
        <p:spPr>
          <a:xfrm>
            <a:off x="2886079" y="1649785"/>
            <a:ext cx="2196816" cy="494517"/>
          </a:xfrm>
          <a:prstGeom prst="roundRect">
            <a:avLst/>
          </a:prstGeom>
          <a:solidFill>
            <a:schemeClr val="accent2"/>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s-ES" sz="1400" b="1">
                <a:solidFill>
                  <a:schemeClr val="accent1"/>
                </a:solidFill>
              </a:rPr>
              <a:t>Tratamiento</a:t>
            </a:r>
          </a:p>
          <a:p>
            <a:pPr algn="ctr"/>
            <a:r>
              <a:rPr lang="es-ES" sz="1400" b="1">
                <a:solidFill>
                  <a:schemeClr val="accent1"/>
                </a:solidFill>
              </a:rPr>
              <a:t>hipolipemiante</a:t>
            </a:r>
            <a:endParaRPr lang="es-ES" sz="1400" b="1" dirty="0">
              <a:solidFill>
                <a:schemeClr val="accent1"/>
              </a:solidFill>
            </a:endParaRPr>
          </a:p>
        </p:txBody>
      </p:sp>
      <p:sp>
        <p:nvSpPr>
          <p:cNvPr id="31" name="Rectángulo: esquinas redondeadas 30">
            <a:extLst>
              <a:ext uri="{FF2B5EF4-FFF2-40B4-BE49-F238E27FC236}">
                <a16:creationId xmlns:a16="http://schemas.microsoft.com/office/drawing/2014/main" id="{6DAD1883-C915-B80F-0BE1-52CFF0E3774E}"/>
              </a:ext>
            </a:extLst>
          </p:cNvPr>
          <p:cNvSpPr/>
          <p:nvPr/>
        </p:nvSpPr>
        <p:spPr>
          <a:xfrm>
            <a:off x="9874952" y="1644726"/>
            <a:ext cx="2190047" cy="508434"/>
          </a:xfrm>
          <a:prstGeom prst="roundRect">
            <a:avLst/>
          </a:prstGeom>
          <a:solidFill>
            <a:schemeClr val="accent2">
              <a:lumMod val="20000"/>
              <a:lumOff val="80000"/>
            </a:schemeClr>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s-ES" sz="1400" b="1">
                <a:solidFill>
                  <a:schemeClr val="accent1">
                    <a:lumMod val="25000"/>
                    <a:lumOff val="75000"/>
                  </a:schemeClr>
                </a:solidFill>
              </a:rPr>
              <a:t>Tratamiento</a:t>
            </a:r>
          </a:p>
          <a:p>
            <a:pPr algn="ctr"/>
            <a:r>
              <a:rPr lang="es-ES" sz="1400" b="1">
                <a:solidFill>
                  <a:schemeClr val="accent1">
                    <a:lumMod val="25000"/>
                    <a:lumOff val="75000"/>
                  </a:schemeClr>
                </a:solidFill>
              </a:rPr>
              <a:t> antiinflamatorio</a:t>
            </a:r>
            <a:endParaRPr lang="es-ES" sz="1400" b="1" dirty="0">
              <a:solidFill>
                <a:schemeClr val="accent1">
                  <a:lumMod val="25000"/>
                  <a:lumOff val="75000"/>
                </a:schemeClr>
              </a:solidFill>
            </a:endParaRPr>
          </a:p>
        </p:txBody>
      </p:sp>
      <p:sp>
        <p:nvSpPr>
          <p:cNvPr id="20" name="Rectángulo: esquinas redondeadas 19">
            <a:extLst>
              <a:ext uri="{FF2B5EF4-FFF2-40B4-BE49-F238E27FC236}">
                <a16:creationId xmlns:a16="http://schemas.microsoft.com/office/drawing/2014/main" id="{D288DA93-F516-14A8-3AE5-DE55994A1FA0}"/>
              </a:ext>
            </a:extLst>
          </p:cNvPr>
          <p:cNvSpPr/>
          <p:nvPr/>
        </p:nvSpPr>
        <p:spPr>
          <a:xfrm>
            <a:off x="7496902" y="1645706"/>
            <a:ext cx="2196815" cy="494517"/>
          </a:xfrm>
          <a:prstGeom prst="roundRect">
            <a:avLst/>
          </a:prstGeom>
          <a:solidFill>
            <a:schemeClr val="accent2">
              <a:lumMod val="20000"/>
              <a:lumOff val="80000"/>
            </a:schemeClr>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s-ES" sz="1400" b="1">
                <a:solidFill>
                  <a:schemeClr val="accent1">
                    <a:lumMod val="25000"/>
                    <a:lumOff val="75000"/>
                  </a:schemeClr>
                </a:solidFill>
              </a:rPr>
              <a:t>Tratamiento antiobesidad</a:t>
            </a:r>
            <a:endParaRPr lang="es-ES" sz="1400" b="1" dirty="0">
              <a:solidFill>
                <a:schemeClr val="accent1">
                  <a:lumMod val="25000"/>
                  <a:lumOff val="75000"/>
                </a:schemeClr>
              </a:solidFill>
            </a:endParaRPr>
          </a:p>
        </p:txBody>
      </p:sp>
      <p:pic>
        <p:nvPicPr>
          <p:cNvPr id="10" name="Imagen 9">
            <a:extLst>
              <a:ext uri="{FF2B5EF4-FFF2-40B4-BE49-F238E27FC236}">
                <a16:creationId xmlns:a16="http://schemas.microsoft.com/office/drawing/2014/main" id="{124FA8F1-A03B-56C9-1EB7-217AEA94A635}"/>
              </a:ext>
            </a:extLst>
          </p:cNvPr>
          <p:cNvPicPr>
            <a:picLocks noChangeAspect="1"/>
          </p:cNvPicPr>
          <p:nvPr/>
        </p:nvPicPr>
        <p:blipFill>
          <a:blip r:embed="rId4"/>
          <a:srcRect b="3661"/>
          <a:stretch/>
        </p:blipFill>
        <p:spPr>
          <a:xfrm>
            <a:off x="1047914" y="2559407"/>
            <a:ext cx="7013630" cy="3322308"/>
          </a:xfrm>
          <a:prstGeom prst="rect">
            <a:avLst/>
          </a:prstGeom>
        </p:spPr>
      </p:pic>
      <p:pic>
        <p:nvPicPr>
          <p:cNvPr id="7" name="Picture 2" descr="New - Free signs icons">
            <a:extLst>
              <a:ext uri="{FF2B5EF4-FFF2-40B4-BE49-F238E27FC236}">
                <a16:creationId xmlns:a16="http://schemas.microsoft.com/office/drawing/2014/main" id="{36E7C1DB-3557-2427-0E49-3881424D914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78703" y="3875146"/>
            <a:ext cx="716606" cy="71660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New - Free signs icons">
            <a:extLst>
              <a:ext uri="{FF2B5EF4-FFF2-40B4-BE49-F238E27FC236}">
                <a16:creationId xmlns:a16="http://schemas.microsoft.com/office/drawing/2014/main" id="{640CE3B9-1D9A-6A1B-687F-22B852742D4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97571" y="4697551"/>
            <a:ext cx="740800" cy="740800"/>
          </a:xfrm>
          <a:prstGeom prst="rect">
            <a:avLst/>
          </a:prstGeom>
          <a:noFill/>
          <a:extLst>
            <a:ext uri="{909E8E84-426E-40DD-AFC4-6F175D3DCCD1}">
              <a14:hiddenFill xmlns:a14="http://schemas.microsoft.com/office/drawing/2010/main">
                <a:solidFill>
                  <a:srgbClr val="FFFFFF"/>
                </a:solidFill>
              </a14:hiddenFill>
            </a:ext>
          </a:extLst>
        </p:spPr>
      </p:pic>
      <p:cxnSp>
        <p:nvCxnSpPr>
          <p:cNvPr id="18" name="Conector recto 17">
            <a:extLst>
              <a:ext uri="{FF2B5EF4-FFF2-40B4-BE49-F238E27FC236}">
                <a16:creationId xmlns:a16="http://schemas.microsoft.com/office/drawing/2014/main" id="{7AB07D51-E812-0577-2545-6D19BBB9921E}"/>
              </a:ext>
            </a:extLst>
          </p:cNvPr>
          <p:cNvCxnSpPr>
            <a:cxnSpLocks/>
          </p:cNvCxnSpPr>
          <p:nvPr/>
        </p:nvCxnSpPr>
        <p:spPr>
          <a:xfrm>
            <a:off x="8526374" y="1419649"/>
            <a:ext cx="0" cy="238993"/>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Rectángulo: esquinas redondeadas 15">
            <a:extLst>
              <a:ext uri="{FF2B5EF4-FFF2-40B4-BE49-F238E27FC236}">
                <a16:creationId xmlns:a16="http://schemas.microsoft.com/office/drawing/2014/main" id="{FE3EC33D-2828-3C72-D07F-6FD90B5A73FA}"/>
              </a:ext>
            </a:extLst>
          </p:cNvPr>
          <p:cNvSpPr/>
          <p:nvPr/>
        </p:nvSpPr>
        <p:spPr>
          <a:xfrm>
            <a:off x="5370626" y="1628444"/>
            <a:ext cx="1954206" cy="494517"/>
          </a:xfrm>
          <a:prstGeom prst="roundRect">
            <a:avLst/>
          </a:prstGeom>
          <a:solidFill>
            <a:schemeClr val="accent2">
              <a:lumMod val="20000"/>
              <a:lumOff val="80000"/>
            </a:schemeClr>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s-ES" sz="1400" b="1">
                <a:solidFill>
                  <a:schemeClr val="accent1">
                    <a:lumMod val="25000"/>
                    <a:lumOff val="75000"/>
                  </a:schemeClr>
                </a:solidFill>
              </a:rPr>
              <a:t>Bloqueadores SRAA</a:t>
            </a:r>
            <a:endParaRPr lang="es-ES" sz="1400" b="1" dirty="0">
              <a:solidFill>
                <a:schemeClr val="accent1">
                  <a:lumMod val="25000"/>
                  <a:lumOff val="75000"/>
                </a:schemeClr>
              </a:solidFill>
            </a:endParaRPr>
          </a:p>
        </p:txBody>
      </p:sp>
      <p:cxnSp>
        <p:nvCxnSpPr>
          <p:cNvPr id="19" name="Conector recto 18">
            <a:extLst>
              <a:ext uri="{FF2B5EF4-FFF2-40B4-BE49-F238E27FC236}">
                <a16:creationId xmlns:a16="http://schemas.microsoft.com/office/drawing/2014/main" id="{9E88BC9A-6986-3247-1FB6-2402DE4AD967}"/>
              </a:ext>
            </a:extLst>
          </p:cNvPr>
          <p:cNvCxnSpPr>
            <a:cxnSpLocks/>
          </p:cNvCxnSpPr>
          <p:nvPr/>
        </p:nvCxnSpPr>
        <p:spPr>
          <a:xfrm>
            <a:off x="6325602" y="1419649"/>
            <a:ext cx="0" cy="238993"/>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4" name="CuadroTexto 23">
            <a:extLst>
              <a:ext uri="{FF2B5EF4-FFF2-40B4-BE49-F238E27FC236}">
                <a16:creationId xmlns:a16="http://schemas.microsoft.com/office/drawing/2014/main" id="{771EACFC-2AF7-850C-D844-2A28B6172D35}"/>
              </a:ext>
            </a:extLst>
          </p:cNvPr>
          <p:cNvSpPr txBox="1"/>
          <p:nvPr/>
        </p:nvSpPr>
        <p:spPr>
          <a:xfrm>
            <a:off x="8991771" y="3734232"/>
            <a:ext cx="2915614" cy="1754326"/>
          </a:xfrm>
          <a:prstGeom prst="rect">
            <a:avLst/>
          </a:prstGeom>
          <a:noFill/>
          <a:ln w="19050">
            <a:solidFill>
              <a:schemeClr val="accent4"/>
            </a:solidFill>
          </a:ln>
        </p:spPr>
        <p:txBody>
          <a:bodyPr wrap="square" rtlCol="0">
            <a:spAutoFit/>
          </a:bodyPr>
          <a:lstStyle/>
          <a:p>
            <a:pPr algn="just"/>
            <a:r>
              <a:rPr lang="es-ES" sz="1200" dirty="0">
                <a:solidFill>
                  <a:schemeClr val="accent1"/>
                </a:solidFill>
              </a:rPr>
              <a:t>La modulación del sistema renina-angiotensina-aldosterona (RAAS) y el uso del inhibidor de neprilisina </a:t>
            </a:r>
            <a:r>
              <a:rPr lang="es-ES" sz="1200" dirty="0" err="1">
                <a:solidFill>
                  <a:schemeClr val="accent1"/>
                </a:solidFill>
              </a:rPr>
              <a:t>sacubitrilo</a:t>
            </a:r>
            <a:r>
              <a:rPr lang="es-ES" sz="1200" dirty="0">
                <a:solidFill>
                  <a:schemeClr val="accent1"/>
                </a:solidFill>
              </a:rPr>
              <a:t> en combinación con un bloqueador del SRAA han demostrado ser beneficiosos tanto en pacientes </a:t>
            </a:r>
            <a:r>
              <a:rPr lang="es-ES" sz="1200" b="1" dirty="0">
                <a:solidFill>
                  <a:schemeClr val="accent1"/>
                </a:solidFill>
              </a:rPr>
              <a:t>con insuficiencia cardíaca (HF) tras un infarto de miocardio (MI) como en aquellos con hipertensión</a:t>
            </a:r>
            <a:r>
              <a:rPr lang="es-ES" sz="1200" b="1" baseline="30000" dirty="0">
                <a:solidFill>
                  <a:schemeClr val="accent1"/>
                </a:solidFill>
              </a:rPr>
              <a:t>1</a:t>
            </a:r>
            <a:r>
              <a:rPr lang="es-ES" sz="1200" b="1" dirty="0"/>
              <a:t>.</a:t>
            </a:r>
            <a:endParaRPr lang="es-ES" sz="1200" b="1" dirty="0">
              <a:solidFill>
                <a:schemeClr val="accent1"/>
              </a:solidFill>
            </a:endParaRPr>
          </a:p>
        </p:txBody>
      </p:sp>
      <p:cxnSp>
        <p:nvCxnSpPr>
          <p:cNvPr id="8" name="Conector recto de flecha 7">
            <a:extLst>
              <a:ext uri="{FF2B5EF4-FFF2-40B4-BE49-F238E27FC236}">
                <a16:creationId xmlns:a16="http://schemas.microsoft.com/office/drawing/2014/main" id="{75901B7B-74F0-C617-1F17-9E13FDACA053}"/>
              </a:ext>
            </a:extLst>
          </p:cNvPr>
          <p:cNvCxnSpPr>
            <a:cxnSpLocks/>
          </p:cNvCxnSpPr>
          <p:nvPr/>
        </p:nvCxnSpPr>
        <p:spPr>
          <a:xfrm>
            <a:off x="7324832" y="2122961"/>
            <a:ext cx="2854866" cy="1403148"/>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sp>
        <p:nvSpPr>
          <p:cNvPr id="5" name="CuadroTexto 4">
            <a:extLst>
              <a:ext uri="{FF2B5EF4-FFF2-40B4-BE49-F238E27FC236}">
                <a16:creationId xmlns:a16="http://schemas.microsoft.com/office/drawing/2014/main" id="{A4C615C3-F16D-0329-2D38-B7BEA891A55D}"/>
              </a:ext>
            </a:extLst>
          </p:cNvPr>
          <p:cNvSpPr txBox="1"/>
          <p:nvPr/>
        </p:nvSpPr>
        <p:spPr>
          <a:xfrm>
            <a:off x="2978013" y="6458146"/>
            <a:ext cx="7323025" cy="200055"/>
          </a:xfrm>
          <a:prstGeom prst="rect">
            <a:avLst/>
          </a:prstGeom>
          <a:noFill/>
        </p:spPr>
        <p:txBody>
          <a:bodyPr wrap="square" rtlCol="0">
            <a:spAutoFit/>
          </a:bodyPr>
          <a:lstStyle>
            <a:defPPr>
              <a:defRPr lang="es-ES"/>
            </a:defPPr>
            <a:lvl1pPr>
              <a:defRPr sz="700" b="0" i="1">
                <a:solidFill>
                  <a:schemeClr val="accent1"/>
                </a:solidFill>
                <a:effectLst/>
              </a:defRPr>
            </a:lvl1pPr>
          </a:lstStyle>
          <a:p>
            <a:r>
              <a:rPr lang="en-US" dirty="0"/>
              <a:t>1. </a:t>
            </a:r>
            <a:r>
              <a:rPr lang="en-US" dirty="0" err="1"/>
              <a:t>Vrints</a:t>
            </a:r>
            <a:r>
              <a:rPr lang="en-US" dirty="0"/>
              <a:t> C, et al. 2024 ESC Guidelines for the management of chronic coronary syndromes. </a:t>
            </a:r>
            <a:r>
              <a:rPr lang="en-US" dirty="0" err="1"/>
              <a:t>Eur</a:t>
            </a:r>
            <a:r>
              <a:rPr lang="en-US" dirty="0"/>
              <a:t> Heart J. 2024 Sep 29;45(36):3415-3537. </a:t>
            </a:r>
            <a:r>
              <a:rPr lang="en-US" dirty="0" err="1"/>
              <a:t>doi</a:t>
            </a:r>
            <a:r>
              <a:rPr lang="en-US" dirty="0"/>
              <a:t>: 10.1093/</a:t>
            </a:r>
            <a:r>
              <a:rPr lang="en-US" dirty="0" err="1"/>
              <a:t>eurheartj</a:t>
            </a:r>
            <a:r>
              <a:rPr lang="en-US" dirty="0"/>
              <a:t>/ehae177.</a:t>
            </a:r>
          </a:p>
        </p:txBody>
      </p:sp>
      <p:sp>
        <p:nvSpPr>
          <p:cNvPr id="21" name="CuadroTexto 20">
            <a:extLst>
              <a:ext uri="{FF2B5EF4-FFF2-40B4-BE49-F238E27FC236}">
                <a16:creationId xmlns:a16="http://schemas.microsoft.com/office/drawing/2014/main" id="{B45A8590-FF25-37D2-D546-9086BC68DF86}"/>
              </a:ext>
            </a:extLst>
          </p:cNvPr>
          <p:cNvSpPr txBox="1"/>
          <p:nvPr/>
        </p:nvSpPr>
        <p:spPr>
          <a:xfrm>
            <a:off x="3530090" y="6297018"/>
            <a:ext cx="6218871" cy="246221"/>
          </a:xfrm>
          <a:prstGeom prst="rect">
            <a:avLst/>
          </a:prstGeom>
          <a:noFill/>
        </p:spPr>
        <p:txBody>
          <a:bodyPr wrap="square">
            <a:spAutoFit/>
          </a:bodyPr>
          <a:lstStyle/>
          <a:p>
            <a:pPr algn="ctr"/>
            <a:r>
              <a:rPr lang="es-ES" sz="1000" dirty="0">
                <a:solidFill>
                  <a:schemeClr val="accent1"/>
                </a:solidFill>
              </a:rPr>
              <a:t>Guía ESC 2024 para el manejo de los síndromes coronarios crónicos </a:t>
            </a:r>
          </a:p>
        </p:txBody>
      </p:sp>
      <p:sp>
        <p:nvSpPr>
          <p:cNvPr id="26" name="CuadroTexto 25">
            <a:extLst>
              <a:ext uri="{FF2B5EF4-FFF2-40B4-BE49-F238E27FC236}">
                <a16:creationId xmlns:a16="http://schemas.microsoft.com/office/drawing/2014/main" id="{A8582590-F8D1-A286-49F3-855B6791C5B8}"/>
              </a:ext>
            </a:extLst>
          </p:cNvPr>
          <p:cNvSpPr txBox="1"/>
          <p:nvPr/>
        </p:nvSpPr>
        <p:spPr>
          <a:xfrm>
            <a:off x="2374005" y="2492572"/>
            <a:ext cx="222891" cy="246221"/>
          </a:xfrm>
          <a:prstGeom prst="rect">
            <a:avLst/>
          </a:prstGeom>
          <a:noFill/>
        </p:spPr>
        <p:txBody>
          <a:bodyPr wrap="square">
            <a:spAutoFit/>
          </a:bodyPr>
          <a:lstStyle/>
          <a:p>
            <a:r>
              <a:rPr lang="es-ES" sz="1000" b="1" dirty="0">
                <a:solidFill>
                  <a:schemeClr val="tx1">
                    <a:lumMod val="50000"/>
                  </a:schemeClr>
                </a:solidFill>
              </a:rPr>
              <a:t>1</a:t>
            </a:r>
          </a:p>
        </p:txBody>
      </p:sp>
      <p:sp>
        <p:nvSpPr>
          <p:cNvPr id="3" name="CuadroTexto 2">
            <a:extLst>
              <a:ext uri="{FF2B5EF4-FFF2-40B4-BE49-F238E27FC236}">
                <a16:creationId xmlns:a16="http://schemas.microsoft.com/office/drawing/2014/main" id="{066962EA-23DC-099E-49CC-56843654E20B}"/>
              </a:ext>
            </a:extLst>
          </p:cNvPr>
          <p:cNvSpPr txBox="1"/>
          <p:nvPr/>
        </p:nvSpPr>
        <p:spPr>
          <a:xfrm rot="16200000">
            <a:off x="10799829" y="3138336"/>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18124829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D32ADB-57F7-4E74-3DC8-49B73E421941}"/>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AA7C5B35-08EA-A272-B6D3-A9937C45CA22}"/>
              </a:ext>
            </a:extLst>
          </p:cNvPr>
          <p:cNvSpPr>
            <a:spLocks noGrp="1"/>
          </p:cNvSpPr>
          <p:nvPr>
            <p:ph type="body" sz="quarter" idx="24"/>
          </p:nvPr>
        </p:nvSpPr>
        <p:spPr/>
        <p:txBody>
          <a:bodyPr/>
          <a:lstStyle/>
          <a:p>
            <a:endParaRPr lang="es-ES" dirty="0"/>
          </a:p>
        </p:txBody>
      </p:sp>
      <p:sp>
        <p:nvSpPr>
          <p:cNvPr id="6" name="Marcador de número de diapositiva 5">
            <a:extLst>
              <a:ext uri="{FF2B5EF4-FFF2-40B4-BE49-F238E27FC236}">
                <a16:creationId xmlns:a16="http://schemas.microsoft.com/office/drawing/2014/main" id="{F1B12E55-15E9-0282-B10B-BC3B4250D786}"/>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sp>
        <p:nvSpPr>
          <p:cNvPr id="12" name="6 CuadroTexto">
            <a:extLst>
              <a:ext uri="{FF2B5EF4-FFF2-40B4-BE49-F238E27FC236}">
                <a16:creationId xmlns:a16="http://schemas.microsoft.com/office/drawing/2014/main" id="{9F52AC58-DDC6-629D-7818-7B2F56C51519}"/>
              </a:ext>
            </a:extLst>
          </p:cNvPr>
          <p:cNvSpPr txBox="1"/>
          <p:nvPr/>
        </p:nvSpPr>
        <p:spPr>
          <a:xfrm>
            <a:off x="6894515" y="3758711"/>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2" name="Imagen 1">
            <a:extLst>
              <a:ext uri="{FF2B5EF4-FFF2-40B4-BE49-F238E27FC236}">
                <a16:creationId xmlns:a16="http://schemas.microsoft.com/office/drawing/2014/main" id="{CA58DCB1-3DB0-504E-A35F-CCBB4CE85E39}"/>
              </a:ext>
            </a:extLst>
          </p:cNvPr>
          <p:cNvPicPr>
            <a:picLocks noChangeAspect="1"/>
          </p:cNvPicPr>
          <p:nvPr/>
        </p:nvPicPr>
        <p:blipFill>
          <a:blip r:embed="rId3"/>
          <a:stretch>
            <a:fillRect/>
          </a:stretch>
        </p:blipFill>
        <p:spPr>
          <a:xfrm>
            <a:off x="10623775" y="231972"/>
            <a:ext cx="1329043" cy="457240"/>
          </a:xfrm>
          <a:prstGeom prst="rect">
            <a:avLst/>
          </a:prstGeom>
        </p:spPr>
      </p:pic>
      <p:pic>
        <p:nvPicPr>
          <p:cNvPr id="17" name="Imagen 16">
            <a:extLst>
              <a:ext uri="{FF2B5EF4-FFF2-40B4-BE49-F238E27FC236}">
                <a16:creationId xmlns:a16="http://schemas.microsoft.com/office/drawing/2014/main" id="{4F4245DE-623C-D10A-151E-C715407520AC}"/>
              </a:ext>
            </a:extLst>
          </p:cNvPr>
          <p:cNvPicPr>
            <a:picLocks noChangeAspect="1"/>
          </p:cNvPicPr>
          <p:nvPr/>
        </p:nvPicPr>
        <p:blipFill>
          <a:blip r:embed="rId4"/>
          <a:stretch>
            <a:fillRect/>
          </a:stretch>
        </p:blipFill>
        <p:spPr>
          <a:xfrm>
            <a:off x="1060746" y="1959202"/>
            <a:ext cx="7489953" cy="2340980"/>
          </a:xfrm>
          <a:prstGeom prst="rect">
            <a:avLst/>
          </a:prstGeom>
        </p:spPr>
      </p:pic>
      <p:pic>
        <p:nvPicPr>
          <p:cNvPr id="22" name="Imagen 21">
            <a:extLst>
              <a:ext uri="{FF2B5EF4-FFF2-40B4-BE49-F238E27FC236}">
                <a16:creationId xmlns:a16="http://schemas.microsoft.com/office/drawing/2014/main" id="{FE9AC8BD-3B2C-AD33-A10B-AA0B074CB130}"/>
              </a:ext>
            </a:extLst>
          </p:cNvPr>
          <p:cNvPicPr>
            <a:picLocks noChangeAspect="1"/>
          </p:cNvPicPr>
          <p:nvPr/>
        </p:nvPicPr>
        <p:blipFill>
          <a:blip r:embed="rId5"/>
          <a:srcRect t="2488"/>
          <a:stretch/>
        </p:blipFill>
        <p:spPr>
          <a:xfrm>
            <a:off x="1026365" y="4481509"/>
            <a:ext cx="7477886" cy="904722"/>
          </a:xfrm>
          <a:prstGeom prst="rect">
            <a:avLst/>
          </a:prstGeom>
        </p:spPr>
      </p:pic>
      <p:pic>
        <p:nvPicPr>
          <p:cNvPr id="30" name="Imagen 29">
            <a:extLst>
              <a:ext uri="{FF2B5EF4-FFF2-40B4-BE49-F238E27FC236}">
                <a16:creationId xmlns:a16="http://schemas.microsoft.com/office/drawing/2014/main" id="{EB093E62-01E6-1115-601F-385F70C56D75}"/>
              </a:ext>
            </a:extLst>
          </p:cNvPr>
          <p:cNvPicPr>
            <a:picLocks noChangeAspect="1"/>
          </p:cNvPicPr>
          <p:nvPr/>
        </p:nvPicPr>
        <p:blipFill>
          <a:blip r:embed="rId6"/>
          <a:stretch>
            <a:fillRect/>
          </a:stretch>
        </p:blipFill>
        <p:spPr>
          <a:xfrm>
            <a:off x="4508695" y="5567022"/>
            <a:ext cx="7444123" cy="728743"/>
          </a:xfrm>
          <a:prstGeom prst="rect">
            <a:avLst/>
          </a:prstGeom>
        </p:spPr>
      </p:pic>
      <p:pic>
        <p:nvPicPr>
          <p:cNvPr id="3" name="Picture 2" descr="New - Free signs icons">
            <a:extLst>
              <a:ext uri="{FF2B5EF4-FFF2-40B4-BE49-F238E27FC236}">
                <a16:creationId xmlns:a16="http://schemas.microsoft.com/office/drawing/2014/main" id="{D94D1A64-5CE0-A121-9BF5-275A778ECF6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504251" y="3680019"/>
            <a:ext cx="716606" cy="71660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New - Free signs icons">
            <a:extLst>
              <a:ext uri="{FF2B5EF4-FFF2-40B4-BE49-F238E27FC236}">
                <a16:creationId xmlns:a16="http://schemas.microsoft.com/office/drawing/2014/main" id="{B86FD106-17F4-7173-6A30-27628D760D0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71529" y="5527460"/>
            <a:ext cx="716606" cy="716606"/>
          </a:xfrm>
          <a:prstGeom prst="rect">
            <a:avLst/>
          </a:prstGeom>
          <a:noFill/>
          <a:extLst>
            <a:ext uri="{909E8E84-426E-40DD-AFC4-6F175D3DCCD1}">
              <a14:hiddenFill xmlns:a14="http://schemas.microsoft.com/office/drawing/2010/main">
                <a:solidFill>
                  <a:srgbClr val="FFFFFF"/>
                </a:solidFill>
              </a14:hiddenFill>
            </a:ext>
          </a:extLst>
        </p:spPr>
      </p:pic>
      <p:pic>
        <p:nvPicPr>
          <p:cNvPr id="10" name="Imagen 9">
            <a:extLst>
              <a:ext uri="{FF2B5EF4-FFF2-40B4-BE49-F238E27FC236}">
                <a16:creationId xmlns:a16="http://schemas.microsoft.com/office/drawing/2014/main" id="{5B19BFFC-0066-B153-DB13-AAE9C6D1D2FC}"/>
              </a:ext>
            </a:extLst>
          </p:cNvPr>
          <p:cNvPicPr>
            <a:picLocks noChangeAspect="1"/>
          </p:cNvPicPr>
          <p:nvPr/>
        </p:nvPicPr>
        <p:blipFill>
          <a:blip r:embed="rId3"/>
          <a:stretch>
            <a:fillRect/>
          </a:stretch>
        </p:blipFill>
        <p:spPr>
          <a:xfrm>
            <a:off x="10623775" y="231972"/>
            <a:ext cx="1329043" cy="457240"/>
          </a:xfrm>
          <a:prstGeom prst="rect">
            <a:avLst/>
          </a:prstGeom>
        </p:spPr>
      </p:pic>
      <p:sp>
        <p:nvSpPr>
          <p:cNvPr id="13" name="Título 3">
            <a:extLst>
              <a:ext uri="{FF2B5EF4-FFF2-40B4-BE49-F238E27FC236}">
                <a16:creationId xmlns:a16="http://schemas.microsoft.com/office/drawing/2014/main" id="{F0C98E2A-DDDF-709B-8562-7D402C498151}"/>
              </a:ext>
            </a:extLst>
          </p:cNvPr>
          <p:cNvSpPr txBox="1">
            <a:spLocks/>
          </p:cNvSpPr>
          <p:nvPr/>
        </p:nvSpPr>
        <p:spPr>
          <a:xfrm>
            <a:off x="1060746" y="108843"/>
            <a:ext cx="9545004" cy="542802"/>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_tradnl" sz="2800" dirty="0"/>
              <a:t>Tratamiento médico: mejoría del pronóstico en el SCC (y IV)</a:t>
            </a:r>
            <a:endParaRPr lang="es-ES" sz="2800" dirty="0"/>
          </a:p>
        </p:txBody>
      </p:sp>
      <p:cxnSp>
        <p:nvCxnSpPr>
          <p:cNvPr id="14" name="Conector recto 13">
            <a:extLst>
              <a:ext uri="{FF2B5EF4-FFF2-40B4-BE49-F238E27FC236}">
                <a16:creationId xmlns:a16="http://schemas.microsoft.com/office/drawing/2014/main" id="{9F0BB048-6A17-EFC4-E05B-C3968C1FA5C6}"/>
              </a:ext>
            </a:extLst>
          </p:cNvPr>
          <p:cNvCxnSpPr>
            <a:cxnSpLocks/>
          </p:cNvCxnSpPr>
          <p:nvPr/>
        </p:nvCxnSpPr>
        <p:spPr>
          <a:xfrm>
            <a:off x="1893570" y="1026415"/>
            <a:ext cx="9144971"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 name="Conector recto 14">
            <a:extLst>
              <a:ext uri="{FF2B5EF4-FFF2-40B4-BE49-F238E27FC236}">
                <a16:creationId xmlns:a16="http://schemas.microsoft.com/office/drawing/2014/main" id="{9CABFF49-2862-1FC2-9901-72D79C061448}"/>
              </a:ext>
            </a:extLst>
          </p:cNvPr>
          <p:cNvCxnSpPr/>
          <p:nvPr/>
        </p:nvCxnSpPr>
        <p:spPr>
          <a:xfrm>
            <a:off x="1904679" y="1026415"/>
            <a:ext cx="0" cy="26066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 name="Conector recto 15">
            <a:extLst>
              <a:ext uri="{FF2B5EF4-FFF2-40B4-BE49-F238E27FC236}">
                <a16:creationId xmlns:a16="http://schemas.microsoft.com/office/drawing/2014/main" id="{EF315992-ACC2-3F19-4672-84BE3569F546}"/>
              </a:ext>
            </a:extLst>
          </p:cNvPr>
          <p:cNvCxnSpPr/>
          <p:nvPr/>
        </p:nvCxnSpPr>
        <p:spPr>
          <a:xfrm>
            <a:off x="11020516" y="1023798"/>
            <a:ext cx="0" cy="26066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 name="Conector recto 18">
            <a:extLst>
              <a:ext uri="{FF2B5EF4-FFF2-40B4-BE49-F238E27FC236}">
                <a16:creationId xmlns:a16="http://schemas.microsoft.com/office/drawing/2014/main" id="{19D21EB3-F4D8-D7C2-6A93-0721A614356D}"/>
              </a:ext>
            </a:extLst>
          </p:cNvPr>
          <p:cNvCxnSpPr>
            <a:cxnSpLocks/>
            <a:endCxn id="24" idx="0"/>
          </p:cNvCxnSpPr>
          <p:nvPr/>
        </p:nvCxnSpPr>
        <p:spPr>
          <a:xfrm>
            <a:off x="3984487" y="1028235"/>
            <a:ext cx="0" cy="238993"/>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1" name="Rectángulo: esquinas redondeadas 20">
            <a:extLst>
              <a:ext uri="{FF2B5EF4-FFF2-40B4-BE49-F238E27FC236}">
                <a16:creationId xmlns:a16="http://schemas.microsoft.com/office/drawing/2014/main" id="{28BB5EF9-7AA0-114D-8505-5407A81D0441}"/>
              </a:ext>
            </a:extLst>
          </p:cNvPr>
          <p:cNvSpPr/>
          <p:nvPr/>
        </p:nvSpPr>
        <p:spPr>
          <a:xfrm>
            <a:off x="1060746" y="1267228"/>
            <a:ext cx="1715506" cy="494517"/>
          </a:xfrm>
          <a:prstGeom prst="roundRect">
            <a:avLst/>
          </a:prstGeom>
          <a:solidFill>
            <a:schemeClr val="accent2">
              <a:lumMod val="20000"/>
              <a:lumOff val="80000"/>
            </a:schemeClr>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s-ES" sz="1400" b="1">
                <a:solidFill>
                  <a:schemeClr val="accent1">
                    <a:lumMod val="25000"/>
                    <a:lumOff val="75000"/>
                  </a:schemeClr>
                </a:solidFill>
              </a:rPr>
              <a:t>Tratamiento antitrombótico</a:t>
            </a:r>
            <a:endParaRPr lang="es-ES" sz="1400" b="1" dirty="0">
              <a:solidFill>
                <a:schemeClr val="accent1">
                  <a:lumMod val="25000"/>
                  <a:lumOff val="75000"/>
                </a:schemeClr>
              </a:solidFill>
            </a:endParaRPr>
          </a:p>
        </p:txBody>
      </p:sp>
      <p:sp>
        <p:nvSpPr>
          <p:cNvPr id="24" name="Rectángulo: esquinas redondeadas 23">
            <a:extLst>
              <a:ext uri="{FF2B5EF4-FFF2-40B4-BE49-F238E27FC236}">
                <a16:creationId xmlns:a16="http://schemas.microsoft.com/office/drawing/2014/main" id="{E5A367FB-4145-0D37-49DD-7F9C21F21DBA}"/>
              </a:ext>
            </a:extLst>
          </p:cNvPr>
          <p:cNvSpPr/>
          <p:nvPr/>
        </p:nvSpPr>
        <p:spPr>
          <a:xfrm>
            <a:off x="2886079" y="1267228"/>
            <a:ext cx="2196816" cy="494517"/>
          </a:xfrm>
          <a:prstGeom prst="roundRect">
            <a:avLst/>
          </a:prstGeom>
          <a:solidFill>
            <a:schemeClr val="accent2">
              <a:lumMod val="20000"/>
              <a:lumOff val="80000"/>
            </a:schemeClr>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s-ES" sz="1400" b="1">
                <a:solidFill>
                  <a:schemeClr val="accent1">
                    <a:lumMod val="25000"/>
                    <a:lumOff val="75000"/>
                  </a:schemeClr>
                </a:solidFill>
              </a:rPr>
              <a:t>Tratamiento</a:t>
            </a:r>
          </a:p>
          <a:p>
            <a:pPr algn="ctr"/>
            <a:r>
              <a:rPr lang="es-ES" sz="1400" b="1">
                <a:solidFill>
                  <a:schemeClr val="accent1">
                    <a:lumMod val="25000"/>
                    <a:lumOff val="75000"/>
                  </a:schemeClr>
                </a:solidFill>
              </a:rPr>
              <a:t>hipolipemiante</a:t>
            </a:r>
            <a:endParaRPr lang="es-ES" sz="1400" b="1" dirty="0">
              <a:solidFill>
                <a:schemeClr val="accent1">
                  <a:lumMod val="25000"/>
                  <a:lumOff val="75000"/>
                </a:schemeClr>
              </a:solidFill>
            </a:endParaRPr>
          </a:p>
        </p:txBody>
      </p:sp>
      <p:sp>
        <p:nvSpPr>
          <p:cNvPr id="26" name="Rectángulo: esquinas redondeadas 25">
            <a:extLst>
              <a:ext uri="{FF2B5EF4-FFF2-40B4-BE49-F238E27FC236}">
                <a16:creationId xmlns:a16="http://schemas.microsoft.com/office/drawing/2014/main" id="{01AA0D35-D517-0AAE-2A4D-41B3A997582F}"/>
              </a:ext>
            </a:extLst>
          </p:cNvPr>
          <p:cNvSpPr/>
          <p:nvPr/>
        </p:nvSpPr>
        <p:spPr>
          <a:xfrm>
            <a:off x="9788118" y="1248890"/>
            <a:ext cx="2190047" cy="508434"/>
          </a:xfrm>
          <a:prstGeom prst="roundRect">
            <a:avLst/>
          </a:prstGeom>
          <a:solidFill>
            <a:schemeClr val="accent2"/>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s-ES" sz="1400" b="1">
                <a:solidFill>
                  <a:schemeClr val="accent1"/>
                </a:solidFill>
              </a:rPr>
              <a:t>Tratamiento</a:t>
            </a:r>
          </a:p>
          <a:p>
            <a:pPr algn="ctr"/>
            <a:r>
              <a:rPr lang="es-ES" sz="1400" b="1">
                <a:solidFill>
                  <a:schemeClr val="accent1"/>
                </a:solidFill>
              </a:rPr>
              <a:t> antiinflamatorio</a:t>
            </a:r>
            <a:endParaRPr lang="es-ES" sz="1400" b="1" dirty="0">
              <a:solidFill>
                <a:schemeClr val="accent1"/>
              </a:solidFill>
            </a:endParaRPr>
          </a:p>
        </p:txBody>
      </p:sp>
      <p:sp>
        <p:nvSpPr>
          <p:cNvPr id="33" name="Rectángulo: esquinas redondeadas 32">
            <a:extLst>
              <a:ext uri="{FF2B5EF4-FFF2-40B4-BE49-F238E27FC236}">
                <a16:creationId xmlns:a16="http://schemas.microsoft.com/office/drawing/2014/main" id="{4B2910E5-AFB3-F7FA-421D-6682E4BF7DB0}"/>
              </a:ext>
            </a:extLst>
          </p:cNvPr>
          <p:cNvSpPr/>
          <p:nvPr/>
        </p:nvSpPr>
        <p:spPr>
          <a:xfrm>
            <a:off x="7447004" y="1262807"/>
            <a:ext cx="2196815" cy="494517"/>
          </a:xfrm>
          <a:prstGeom prst="roundRect">
            <a:avLst/>
          </a:prstGeom>
          <a:solidFill>
            <a:schemeClr val="accent2"/>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s-ES" sz="1400" b="1">
                <a:solidFill>
                  <a:schemeClr val="accent1"/>
                </a:solidFill>
              </a:rPr>
              <a:t>Tratamiento antiobesidad</a:t>
            </a:r>
            <a:endParaRPr lang="es-ES" sz="1400" b="1" dirty="0">
              <a:solidFill>
                <a:schemeClr val="accent1"/>
              </a:solidFill>
            </a:endParaRPr>
          </a:p>
        </p:txBody>
      </p:sp>
      <p:cxnSp>
        <p:nvCxnSpPr>
          <p:cNvPr id="35" name="Conector recto 34">
            <a:extLst>
              <a:ext uri="{FF2B5EF4-FFF2-40B4-BE49-F238E27FC236}">
                <a16:creationId xmlns:a16="http://schemas.microsoft.com/office/drawing/2014/main" id="{B2460F0A-1D01-68F3-CBA3-A9F3D0FCF104}"/>
              </a:ext>
            </a:extLst>
          </p:cNvPr>
          <p:cNvCxnSpPr>
            <a:cxnSpLocks/>
          </p:cNvCxnSpPr>
          <p:nvPr/>
        </p:nvCxnSpPr>
        <p:spPr>
          <a:xfrm>
            <a:off x="8571639" y="1015581"/>
            <a:ext cx="0" cy="238993"/>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6" name="Rectángulo: esquinas redondeadas 35">
            <a:extLst>
              <a:ext uri="{FF2B5EF4-FFF2-40B4-BE49-F238E27FC236}">
                <a16:creationId xmlns:a16="http://schemas.microsoft.com/office/drawing/2014/main" id="{73A45443-91BB-EB79-A547-E67928A0771D}"/>
              </a:ext>
            </a:extLst>
          </p:cNvPr>
          <p:cNvSpPr/>
          <p:nvPr/>
        </p:nvSpPr>
        <p:spPr>
          <a:xfrm>
            <a:off x="5348499" y="1276085"/>
            <a:ext cx="1954206" cy="494517"/>
          </a:xfrm>
          <a:prstGeom prst="roundRect">
            <a:avLst/>
          </a:prstGeom>
          <a:solidFill>
            <a:schemeClr val="accent2">
              <a:lumMod val="20000"/>
              <a:lumOff val="80000"/>
            </a:schemeClr>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s-ES" sz="1400" b="1">
              <a:solidFill>
                <a:schemeClr val="accent1">
                  <a:lumMod val="25000"/>
                  <a:lumOff val="75000"/>
                </a:schemeClr>
              </a:solidFill>
            </a:endParaRPr>
          </a:p>
          <a:p>
            <a:pPr algn="ctr"/>
            <a:r>
              <a:rPr lang="es-ES" sz="1400" b="1">
                <a:solidFill>
                  <a:schemeClr val="accent1">
                    <a:lumMod val="25000"/>
                    <a:lumOff val="75000"/>
                  </a:schemeClr>
                </a:solidFill>
              </a:rPr>
              <a:t>Bloqueadores SRAA</a:t>
            </a:r>
          </a:p>
          <a:p>
            <a:pPr algn="ctr"/>
            <a:endParaRPr lang="es-ES" sz="1400" b="1" dirty="0">
              <a:solidFill>
                <a:schemeClr val="accent1">
                  <a:lumMod val="25000"/>
                  <a:lumOff val="75000"/>
                </a:schemeClr>
              </a:solidFill>
            </a:endParaRPr>
          </a:p>
        </p:txBody>
      </p:sp>
      <p:cxnSp>
        <p:nvCxnSpPr>
          <p:cNvPr id="37" name="Conector recto 36">
            <a:extLst>
              <a:ext uri="{FF2B5EF4-FFF2-40B4-BE49-F238E27FC236}">
                <a16:creationId xmlns:a16="http://schemas.microsoft.com/office/drawing/2014/main" id="{1D162B3B-7F03-554B-9E51-DF5A59FDCCF0}"/>
              </a:ext>
            </a:extLst>
          </p:cNvPr>
          <p:cNvCxnSpPr>
            <a:cxnSpLocks/>
          </p:cNvCxnSpPr>
          <p:nvPr/>
        </p:nvCxnSpPr>
        <p:spPr>
          <a:xfrm>
            <a:off x="6325602" y="1037092"/>
            <a:ext cx="0" cy="238993"/>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 name="Conector recto de flecha 8">
            <a:extLst>
              <a:ext uri="{FF2B5EF4-FFF2-40B4-BE49-F238E27FC236}">
                <a16:creationId xmlns:a16="http://schemas.microsoft.com/office/drawing/2014/main" id="{A2B257E2-0907-5158-F0E0-7AE2BF461D3E}"/>
              </a:ext>
            </a:extLst>
          </p:cNvPr>
          <p:cNvCxnSpPr>
            <a:cxnSpLocks/>
          </p:cNvCxnSpPr>
          <p:nvPr/>
        </p:nvCxnSpPr>
        <p:spPr>
          <a:xfrm>
            <a:off x="10999605" y="1756821"/>
            <a:ext cx="27261" cy="3708000"/>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cxnSp>
        <p:nvCxnSpPr>
          <p:cNvPr id="20" name="Conector recto de flecha 19">
            <a:extLst>
              <a:ext uri="{FF2B5EF4-FFF2-40B4-BE49-F238E27FC236}">
                <a16:creationId xmlns:a16="http://schemas.microsoft.com/office/drawing/2014/main" id="{263FFB12-24A7-EDE4-753C-56AED6C2DE87}"/>
              </a:ext>
            </a:extLst>
          </p:cNvPr>
          <p:cNvCxnSpPr>
            <a:cxnSpLocks/>
          </p:cNvCxnSpPr>
          <p:nvPr/>
        </p:nvCxnSpPr>
        <p:spPr>
          <a:xfrm flipH="1">
            <a:off x="7219950" y="1756821"/>
            <a:ext cx="1349961" cy="191623"/>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sp>
        <p:nvSpPr>
          <p:cNvPr id="7" name="CuadroTexto 6">
            <a:extLst>
              <a:ext uri="{FF2B5EF4-FFF2-40B4-BE49-F238E27FC236}">
                <a16:creationId xmlns:a16="http://schemas.microsoft.com/office/drawing/2014/main" id="{8274E6BF-71A9-41FC-EFFB-E02985E49B3F}"/>
              </a:ext>
            </a:extLst>
          </p:cNvPr>
          <p:cNvSpPr txBox="1"/>
          <p:nvPr/>
        </p:nvSpPr>
        <p:spPr>
          <a:xfrm>
            <a:off x="2978012" y="6568532"/>
            <a:ext cx="7323025" cy="200055"/>
          </a:xfrm>
          <a:prstGeom prst="rect">
            <a:avLst/>
          </a:prstGeom>
          <a:noFill/>
        </p:spPr>
        <p:txBody>
          <a:bodyPr wrap="square" rtlCol="0">
            <a:spAutoFit/>
          </a:bodyPr>
          <a:lstStyle>
            <a:defPPr>
              <a:defRPr lang="es-ES"/>
            </a:defPPr>
            <a:lvl1pPr>
              <a:defRPr sz="700" b="0" i="1">
                <a:solidFill>
                  <a:schemeClr val="accent1"/>
                </a:solidFill>
                <a:effectLst/>
              </a:defRPr>
            </a:lvl1pPr>
          </a:lstStyle>
          <a:p>
            <a:r>
              <a:rPr lang="en-US" dirty="0"/>
              <a:t>1. </a:t>
            </a:r>
            <a:r>
              <a:rPr lang="en-US" dirty="0" err="1"/>
              <a:t>Vrints</a:t>
            </a:r>
            <a:r>
              <a:rPr lang="en-US" dirty="0"/>
              <a:t> C, et al. 2024 ESC Guidelines for the management of chronic coronary syndromes. </a:t>
            </a:r>
            <a:r>
              <a:rPr lang="en-US" dirty="0" err="1"/>
              <a:t>Eur</a:t>
            </a:r>
            <a:r>
              <a:rPr lang="en-US" dirty="0"/>
              <a:t> Heart J. 2024 Sep 29;45(36):3415-3537. </a:t>
            </a:r>
            <a:r>
              <a:rPr lang="en-US" dirty="0" err="1"/>
              <a:t>doi</a:t>
            </a:r>
            <a:r>
              <a:rPr lang="en-US" dirty="0"/>
              <a:t>: 10.1093/</a:t>
            </a:r>
            <a:r>
              <a:rPr lang="en-US" dirty="0" err="1"/>
              <a:t>eurheartj</a:t>
            </a:r>
            <a:r>
              <a:rPr lang="en-US" dirty="0"/>
              <a:t>/ehae177.</a:t>
            </a:r>
          </a:p>
        </p:txBody>
      </p:sp>
      <p:sp>
        <p:nvSpPr>
          <p:cNvPr id="11" name="CuadroTexto 10">
            <a:extLst>
              <a:ext uri="{FF2B5EF4-FFF2-40B4-BE49-F238E27FC236}">
                <a16:creationId xmlns:a16="http://schemas.microsoft.com/office/drawing/2014/main" id="{D48D8368-85EE-2700-53EF-2D660A01F640}"/>
              </a:ext>
            </a:extLst>
          </p:cNvPr>
          <p:cNvSpPr txBox="1"/>
          <p:nvPr/>
        </p:nvSpPr>
        <p:spPr>
          <a:xfrm>
            <a:off x="3530088" y="6404844"/>
            <a:ext cx="6218871" cy="246221"/>
          </a:xfrm>
          <a:prstGeom prst="rect">
            <a:avLst/>
          </a:prstGeom>
          <a:noFill/>
        </p:spPr>
        <p:txBody>
          <a:bodyPr wrap="square">
            <a:spAutoFit/>
          </a:bodyPr>
          <a:lstStyle/>
          <a:p>
            <a:pPr algn="ctr"/>
            <a:r>
              <a:rPr lang="es-ES" sz="1000" dirty="0">
                <a:solidFill>
                  <a:schemeClr val="accent1"/>
                </a:solidFill>
              </a:rPr>
              <a:t>Guía ESC 2024 para el manejo de los síndromes coronarios crónicos </a:t>
            </a:r>
          </a:p>
        </p:txBody>
      </p:sp>
      <p:sp>
        <p:nvSpPr>
          <p:cNvPr id="23" name="CuadroTexto 22">
            <a:extLst>
              <a:ext uri="{FF2B5EF4-FFF2-40B4-BE49-F238E27FC236}">
                <a16:creationId xmlns:a16="http://schemas.microsoft.com/office/drawing/2014/main" id="{0C55B75C-635A-88A9-A7BE-BC38D59F789E}"/>
              </a:ext>
            </a:extLst>
          </p:cNvPr>
          <p:cNvSpPr txBox="1"/>
          <p:nvPr/>
        </p:nvSpPr>
        <p:spPr>
          <a:xfrm>
            <a:off x="2365165" y="1874224"/>
            <a:ext cx="222891" cy="246221"/>
          </a:xfrm>
          <a:prstGeom prst="rect">
            <a:avLst/>
          </a:prstGeom>
          <a:noFill/>
        </p:spPr>
        <p:txBody>
          <a:bodyPr wrap="square">
            <a:spAutoFit/>
          </a:bodyPr>
          <a:lstStyle/>
          <a:p>
            <a:r>
              <a:rPr lang="es-ES" sz="1000" b="1" dirty="0">
                <a:solidFill>
                  <a:schemeClr val="tx1">
                    <a:lumMod val="50000"/>
                  </a:schemeClr>
                </a:solidFill>
              </a:rPr>
              <a:t>1</a:t>
            </a:r>
          </a:p>
        </p:txBody>
      </p:sp>
      <p:sp>
        <p:nvSpPr>
          <p:cNvPr id="25" name="CuadroTexto 24">
            <a:extLst>
              <a:ext uri="{FF2B5EF4-FFF2-40B4-BE49-F238E27FC236}">
                <a16:creationId xmlns:a16="http://schemas.microsoft.com/office/drawing/2014/main" id="{90603BA5-0C9A-2224-C230-464D9CFBF6EC}"/>
              </a:ext>
            </a:extLst>
          </p:cNvPr>
          <p:cNvSpPr txBox="1"/>
          <p:nvPr/>
        </p:nvSpPr>
        <p:spPr>
          <a:xfrm>
            <a:off x="2387365" y="4427477"/>
            <a:ext cx="222891" cy="246221"/>
          </a:xfrm>
          <a:prstGeom prst="rect">
            <a:avLst/>
          </a:prstGeom>
          <a:noFill/>
        </p:spPr>
        <p:txBody>
          <a:bodyPr wrap="square">
            <a:spAutoFit/>
          </a:bodyPr>
          <a:lstStyle/>
          <a:p>
            <a:r>
              <a:rPr lang="es-ES" sz="1000" b="1" dirty="0">
                <a:solidFill>
                  <a:schemeClr val="tx1">
                    <a:lumMod val="50000"/>
                  </a:schemeClr>
                </a:solidFill>
              </a:rPr>
              <a:t>1</a:t>
            </a:r>
          </a:p>
        </p:txBody>
      </p:sp>
      <p:sp>
        <p:nvSpPr>
          <p:cNvPr id="28" name="CuadroTexto 27">
            <a:extLst>
              <a:ext uri="{FF2B5EF4-FFF2-40B4-BE49-F238E27FC236}">
                <a16:creationId xmlns:a16="http://schemas.microsoft.com/office/drawing/2014/main" id="{8B8AFB77-C706-F926-6892-C1FBB7F97208}"/>
              </a:ext>
            </a:extLst>
          </p:cNvPr>
          <p:cNvSpPr txBox="1"/>
          <p:nvPr/>
        </p:nvSpPr>
        <p:spPr>
          <a:xfrm>
            <a:off x="5809731" y="5532255"/>
            <a:ext cx="222891" cy="246221"/>
          </a:xfrm>
          <a:prstGeom prst="rect">
            <a:avLst/>
          </a:prstGeom>
          <a:noFill/>
        </p:spPr>
        <p:txBody>
          <a:bodyPr wrap="square">
            <a:spAutoFit/>
          </a:bodyPr>
          <a:lstStyle/>
          <a:p>
            <a:r>
              <a:rPr lang="es-ES" sz="1000" b="1" dirty="0">
                <a:solidFill>
                  <a:schemeClr val="tx1">
                    <a:lumMod val="50000"/>
                  </a:schemeClr>
                </a:solidFill>
              </a:rPr>
              <a:t>1</a:t>
            </a:r>
          </a:p>
        </p:txBody>
      </p:sp>
      <p:sp>
        <p:nvSpPr>
          <p:cNvPr id="5" name="CuadroTexto 4">
            <a:extLst>
              <a:ext uri="{FF2B5EF4-FFF2-40B4-BE49-F238E27FC236}">
                <a16:creationId xmlns:a16="http://schemas.microsoft.com/office/drawing/2014/main" id="{8EFBB1D2-EC1F-70F2-2D60-585494E2023A}"/>
              </a:ext>
            </a:extLst>
          </p:cNvPr>
          <p:cNvSpPr txBox="1"/>
          <p:nvPr/>
        </p:nvSpPr>
        <p:spPr>
          <a:xfrm rot="16200000">
            <a:off x="10633273" y="3376069"/>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33259468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929C12-DE64-F63B-982C-167A22D5D03E}"/>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3E2047F5-A3A6-7B3C-DEB7-6056387DECDA}"/>
              </a:ext>
            </a:extLst>
          </p:cNvPr>
          <p:cNvSpPr>
            <a:spLocks noGrp="1"/>
          </p:cNvSpPr>
          <p:nvPr>
            <p:ph type="body" sz="quarter" idx="24"/>
          </p:nvPr>
        </p:nvSpPr>
        <p:spPr/>
        <p:txBody>
          <a:bodyPr/>
          <a:lstStyle/>
          <a:p>
            <a:endParaRPr lang="es-ES" dirty="0"/>
          </a:p>
        </p:txBody>
      </p:sp>
      <p:sp>
        <p:nvSpPr>
          <p:cNvPr id="6" name="Marcador de número de diapositiva 5">
            <a:extLst>
              <a:ext uri="{FF2B5EF4-FFF2-40B4-BE49-F238E27FC236}">
                <a16:creationId xmlns:a16="http://schemas.microsoft.com/office/drawing/2014/main" id="{0C74FBB4-7551-60D9-EB79-85352A7D8E3D}"/>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sp>
        <p:nvSpPr>
          <p:cNvPr id="12" name="6 CuadroTexto">
            <a:extLst>
              <a:ext uri="{FF2B5EF4-FFF2-40B4-BE49-F238E27FC236}">
                <a16:creationId xmlns:a16="http://schemas.microsoft.com/office/drawing/2014/main" id="{2EE41547-AA2B-0BD4-254E-5812E3D7D85B}"/>
              </a:ext>
            </a:extLst>
          </p:cNvPr>
          <p:cNvSpPr txBox="1"/>
          <p:nvPr/>
        </p:nvSpPr>
        <p:spPr>
          <a:xfrm>
            <a:off x="6885497" y="3600087"/>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2" name="Imagen 1">
            <a:extLst>
              <a:ext uri="{FF2B5EF4-FFF2-40B4-BE49-F238E27FC236}">
                <a16:creationId xmlns:a16="http://schemas.microsoft.com/office/drawing/2014/main" id="{43EB503D-63D4-06B5-C54D-C8D9E0410992}"/>
              </a:ext>
            </a:extLst>
          </p:cNvPr>
          <p:cNvPicPr>
            <a:picLocks noChangeAspect="1"/>
          </p:cNvPicPr>
          <p:nvPr/>
        </p:nvPicPr>
        <p:blipFill>
          <a:blip r:embed="rId3"/>
          <a:stretch>
            <a:fillRect/>
          </a:stretch>
        </p:blipFill>
        <p:spPr>
          <a:xfrm>
            <a:off x="10623775" y="231972"/>
            <a:ext cx="1329043" cy="457240"/>
          </a:xfrm>
          <a:prstGeom prst="rect">
            <a:avLst/>
          </a:prstGeom>
        </p:spPr>
      </p:pic>
      <p:sp>
        <p:nvSpPr>
          <p:cNvPr id="9" name="Título 3">
            <a:extLst>
              <a:ext uri="{FF2B5EF4-FFF2-40B4-BE49-F238E27FC236}">
                <a16:creationId xmlns:a16="http://schemas.microsoft.com/office/drawing/2014/main" id="{461BE434-EAF6-B041-6B23-5FF7BDAB9CDB}"/>
              </a:ext>
            </a:extLst>
          </p:cNvPr>
          <p:cNvSpPr txBox="1">
            <a:spLocks/>
          </p:cNvSpPr>
          <p:nvPr/>
        </p:nvSpPr>
        <p:spPr>
          <a:xfrm>
            <a:off x="1035431" y="231972"/>
            <a:ext cx="9269517" cy="1469134"/>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 sz="2800" dirty="0"/>
              <a:t>Recomendaciones para la revascularización en pacientes con SCC</a:t>
            </a:r>
            <a:endParaRPr lang="es-ES" sz="2800" dirty="0">
              <a:solidFill>
                <a:srgbClr val="FF0000"/>
              </a:solidFill>
            </a:endParaRPr>
          </a:p>
        </p:txBody>
      </p:sp>
      <p:pic>
        <p:nvPicPr>
          <p:cNvPr id="10" name="Imagen 9">
            <a:extLst>
              <a:ext uri="{FF2B5EF4-FFF2-40B4-BE49-F238E27FC236}">
                <a16:creationId xmlns:a16="http://schemas.microsoft.com/office/drawing/2014/main" id="{8039D451-4F29-4C17-37F4-9793E4E699C6}"/>
              </a:ext>
            </a:extLst>
          </p:cNvPr>
          <p:cNvPicPr>
            <a:picLocks noChangeAspect="1"/>
          </p:cNvPicPr>
          <p:nvPr/>
        </p:nvPicPr>
        <p:blipFill>
          <a:blip r:embed="rId4"/>
          <a:stretch>
            <a:fillRect/>
          </a:stretch>
        </p:blipFill>
        <p:spPr>
          <a:xfrm>
            <a:off x="6978509" y="3600087"/>
            <a:ext cx="5035824" cy="1921625"/>
          </a:xfrm>
          <a:prstGeom prst="rect">
            <a:avLst/>
          </a:prstGeom>
        </p:spPr>
      </p:pic>
      <p:pic>
        <p:nvPicPr>
          <p:cNvPr id="17" name="Imagen 16">
            <a:extLst>
              <a:ext uri="{FF2B5EF4-FFF2-40B4-BE49-F238E27FC236}">
                <a16:creationId xmlns:a16="http://schemas.microsoft.com/office/drawing/2014/main" id="{696056CD-4B87-7C54-B266-940449F1EA37}"/>
              </a:ext>
            </a:extLst>
          </p:cNvPr>
          <p:cNvPicPr>
            <a:picLocks noChangeAspect="1"/>
          </p:cNvPicPr>
          <p:nvPr/>
        </p:nvPicPr>
        <p:blipFill>
          <a:blip r:embed="rId5"/>
          <a:stretch>
            <a:fillRect/>
          </a:stretch>
        </p:blipFill>
        <p:spPr>
          <a:xfrm>
            <a:off x="1014272" y="1738430"/>
            <a:ext cx="5813803" cy="3783282"/>
          </a:xfrm>
          <a:prstGeom prst="rect">
            <a:avLst/>
          </a:prstGeom>
        </p:spPr>
      </p:pic>
      <p:sp>
        <p:nvSpPr>
          <p:cNvPr id="3" name="CuadroTexto 2">
            <a:extLst>
              <a:ext uri="{FF2B5EF4-FFF2-40B4-BE49-F238E27FC236}">
                <a16:creationId xmlns:a16="http://schemas.microsoft.com/office/drawing/2014/main" id="{44D04074-D81A-C2B8-62EA-CA1F9DA8B381}"/>
              </a:ext>
            </a:extLst>
          </p:cNvPr>
          <p:cNvSpPr txBox="1"/>
          <p:nvPr/>
        </p:nvSpPr>
        <p:spPr>
          <a:xfrm>
            <a:off x="2924011" y="6338858"/>
            <a:ext cx="7323025" cy="200055"/>
          </a:xfrm>
          <a:prstGeom prst="rect">
            <a:avLst/>
          </a:prstGeom>
          <a:noFill/>
        </p:spPr>
        <p:txBody>
          <a:bodyPr wrap="square" rtlCol="0">
            <a:spAutoFit/>
          </a:bodyPr>
          <a:lstStyle>
            <a:defPPr>
              <a:defRPr lang="es-ES"/>
            </a:defPPr>
            <a:lvl1pPr>
              <a:defRPr sz="700" b="0" i="1">
                <a:solidFill>
                  <a:schemeClr val="accent1"/>
                </a:solidFill>
                <a:effectLst/>
              </a:defRPr>
            </a:lvl1pPr>
          </a:lstStyle>
          <a:p>
            <a:r>
              <a:rPr lang="en-US" dirty="0"/>
              <a:t>1. </a:t>
            </a:r>
            <a:r>
              <a:rPr lang="en-US" dirty="0" err="1"/>
              <a:t>Vrints</a:t>
            </a:r>
            <a:r>
              <a:rPr lang="en-US" dirty="0"/>
              <a:t> C, et al. 2024 ESC Guidelines for the management of chronic coronary syndromes. </a:t>
            </a:r>
            <a:r>
              <a:rPr lang="en-US" dirty="0" err="1"/>
              <a:t>Eur</a:t>
            </a:r>
            <a:r>
              <a:rPr lang="en-US" dirty="0"/>
              <a:t> Heart J. 2024 Sep 29;45(36):3415-3537. </a:t>
            </a:r>
            <a:r>
              <a:rPr lang="en-US" dirty="0" err="1"/>
              <a:t>doi</a:t>
            </a:r>
            <a:r>
              <a:rPr lang="en-US" dirty="0"/>
              <a:t>: 10.1093/</a:t>
            </a:r>
            <a:r>
              <a:rPr lang="en-US" dirty="0" err="1"/>
              <a:t>eurheartj</a:t>
            </a:r>
            <a:r>
              <a:rPr lang="en-US" dirty="0"/>
              <a:t>/ehae177.</a:t>
            </a:r>
          </a:p>
        </p:txBody>
      </p:sp>
      <p:sp>
        <p:nvSpPr>
          <p:cNvPr id="5" name="CuadroTexto 4">
            <a:extLst>
              <a:ext uri="{FF2B5EF4-FFF2-40B4-BE49-F238E27FC236}">
                <a16:creationId xmlns:a16="http://schemas.microsoft.com/office/drawing/2014/main" id="{047640E1-78E5-604A-68E6-AA8492628ED5}"/>
              </a:ext>
            </a:extLst>
          </p:cNvPr>
          <p:cNvSpPr txBox="1"/>
          <p:nvPr/>
        </p:nvSpPr>
        <p:spPr>
          <a:xfrm>
            <a:off x="3476088" y="6177730"/>
            <a:ext cx="6218871" cy="246221"/>
          </a:xfrm>
          <a:prstGeom prst="rect">
            <a:avLst/>
          </a:prstGeom>
          <a:noFill/>
        </p:spPr>
        <p:txBody>
          <a:bodyPr wrap="square">
            <a:spAutoFit/>
          </a:bodyPr>
          <a:lstStyle/>
          <a:p>
            <a:pPr algn="ctr"/>
            <a:r>
              <a:rPr lang="es-ES" sz="1000" dirty="0">
                <a:solidFill>
                  <a:schemeClr val="accent1"/>
                </a:solidFill>
              </a:rPr>
              <a:t>Guía ESC 2024 para el manejo de los síndromes coronarios crónicos </a:t>
            </a:r>
          </a:p>
        </p:txBody>
      </p:sp>
      <p:sp>
        <p:nvSpPr>
          <p:cNvPr id="11" name="CuadroTexto 10">
            <a:extLst>
              <a:ext uri="{FF2B5EF4-FFF2-40B4-BE49-F238E27FC236}">
                <a16:creationId xmlns:a16="http://schemas.microsoft.com/office/drawing/2014/main" id="{EF36BC2F-C28B-388D-FB3B-2743D6276CC0}"/>
              </a:ext>
            </a:extLst>
          </p:cNvPr>
          <p:cNvSpPr txBox="1"/>
          <p:nvPr/>
        </p:nvSpPr>
        <p:spPr>
          <a:xfrm>
            <a:off x="7824133" y="3538532"/>
            <a:ext cx="222891" cy="246221"/>
          </a:xfrm>
          <a:prstGeom prst="rect">
            <a:avLst/>
          </a:prstGeom>
          <a:noFill/>
        </p:spPr>
        <p:txBody>
          <a:bodyPr wrap="square">
            <a:spAutoFit/>
          </a:bodyPr>
          <a:lstStyle/>
          <a:p>
            <a:r>
              <a:rPr lang="es-ES" sz="1000" b="1" dirty="0">
                <a:solidFill>
                  <a:schemeClr val="tx1">
                    <a:lumMod val="50000"/>
                  </a:schemeClr>
                </a:solidFill>
              </a:rPr>
              <a:t>1</a:t>
            </a:r>
          </a:p>
        </p:txBody>
      </p:sp>
      <p:sp>
        <p:nvSpPr>
          <p:cNvPr id="13" name="CuadroTexto 12">
            <a:extLst>
              <a:ext uri="{FF2B5EF4-FFF2-40B4-BE49-F238E27FC236}">
                <a16:creationId xmlns:a16="http://schemas.microsoft.com/office/drawing/2014/main" id="{BF400065-4A81-2B8D-D4B1-EBFA70D08D73}"/>
              </a:ext>
            </a:extLst>
          </p:cNvPr>
          <p:cNvSpPr txBox="1"/>
          <p:nvPr/>
        </p:nvSpPr>
        <p:spPr>
          <a:xfrm>
            <a:off x="4946229" y="5483239"/>
            <a:ext cx="2032280" cy="200055"/>
          </a:xfrm>
          <a:prstGeom prst="rect">
            <a:avLst/>
          </a:prstGeom>
          <a:noFill/>
        </p:spPr>
        <p:txBody>
          <a:bodyPr wrap="square" rtlCol="0">
            <a:spAutoFit/>
          </a:bodyPr>
          <a:lstStyle>
            <a:defPPr>
              <a:defRPr lang="es-ES"/>
            </a:defPPr>
            <a:lvl1pPr>
              <a:defRPr sz="700" b="0" i="1">
                <a:solidFill>
                  <a:schemeClr val="accent1"/>
                </a:solidFill>
                <a:effectLst/>
              </a:defRPr>
            </a:lvl1pPr>
          </a:lstStyle>
          <a:p>
            <a:r>
              <a:rPr lang="en-US" b="1" dirty="0" err="1"/>
              <a:t>Eur</a:t>
            </a:r>
            <a:r>
              <a:rPr lang="en-US" b="1" dirty="0"/>
              <a:t> Heart J. 2024 Sep 29;45(36):3415-3537</a:t>
            </a:r>
            <a:endParaRPr lang="es-ES" b="1" dirty="0"/>
          </a:p>
        </p:txBody>
      </p:sp>
      <p:sp>
        <p:nvSpPr>
          <p:cNvPr id="14" name="CuadroTexto 13">
            <a:extLst>
              <a:ext uri="{FF2B5EF4-FFF2-40B4-BE49-F238E27FC236}">
                <a16:creationId xmlns:a16="http://schemas.microsoft.com/office/drawing/2014/main" id="{AA9DBBA8-EBC8-CADD-7436-76D5A3F4A847}"/>
              </a:ext>
            </a:extLst>
          </p:cNvPr>
          <p:cNvSpPr txBox="1"/>
          <p:nvPr/>
        </p:nvSpPr>
        <p:spPr>
          <a:xfrm>
            <a:off x="10159720" y="5482785"/>
            <a:ext cx="2032280" cy="200055"/>
          </a:xfrm>
          <a:prstGeom prst="rect">
            <a:avLst/>
          </a:prstGeom>
          <a:noFill/>
        </p:spPr>
        <p:txBody>
          <a:bodyPr wrap="square" rtlCol="0">
            <a:spAutoFit/>
          </a:bodyPr>
          <a:lstStyle>
            <a:defPPr>
              <a:defRPr lang="es-ES"/>
            </a:defPPr>
            <a:lvl1pPr>
              <a:defRPr sz="700" b="0" i="1">
                <a:solidFill>
                  <a:schemeClr val="accent1"/>
                </a:solidFill>
                <a:effectLst/>
              </a:defRPr>
            </a:lvl1pPr>
          </a:lstStyle>
          <a:p>
            <a:r>
              <a:rPr lang="en-US" b="1" dirty="0" err="1"/>
              <a:t>Eur</a:t>
            </a:r>
            <a:r>
              <a:rPr lang="en-US" b="1" dirty="0"/>
              <a:t> Heart J. 2024 Sep 29;45(36):3415-3537</a:t>
            </a:r>
            <a:endParaRPr lang="es-ES" b="1" dirty="0"/>
          </a:p>
        </p:txBody>
      </p:sp>
      <p:sp>
        <p:nvSpPr>
          <p:cNvPr id="15" name="CuadroTexto 14">
            <a:extLst>
              <a:ext uri="{FF2B5EF4-FFF2-40B4-BE49-F238E27FC236}">
                <a16:creationId xmlns:a16="http://schemas.microsoft.com/office/drawing/2014/main" id="{A3B68A57-9745-D522-1BCC-813A5E095606}"/>
              </a:ext>
            </a:extLst>
          </p:cNvPr>
          <p:cNvSpPr txBox="1"/>
          <p:nvPr/>
        </p:nvSpPr>
        <p:spPr>
          <a:xfrm>
            <a:off x="5215271" y="1761746"/>
            <a:ext cx="222891" cy="246221"/>
          </a:xfrm>
          <a:prstGeom prst="rect">
            <a:avLst/>
          </a:prstGeom>
          <a:noFill/>
        </p:spPr>
        <p:txBody>
          <a:bodyPr wrap="square">
            <a:spAutoFit/>
          </a:bodyPr>
          <a:lstStyle/>
          <a:p>
            <a:r>
              <a:rPr lang="es-ES" sz="1000" b="1" dirty="0">
                <a:solidFill>
                  <a:schemeClr val="tx1">
                    <a:lumMod val="50000"/>
                  </a:schemeClr>
                </a:solidFill>
              </a:rPr>
              <a:t>1</a:t>
            </a:r>
          </a:p>
        </p:txBody>
      </p:sp>
      <p:sp>
        <p:nvSpPr>
          <p:cNvPr id="7" name="CuadroTexto 6">
            <a:extLst>
              <a:ext uri="{FF2B5EF4-FFF2-40B4-BE49-F238E27FC236}">
                <a16:creationId xmlns:a16="http://schemas.microsoft.com/office/drawing/2014/main" id="{AECC3DC6-A6DA-7A3A-2E47-D7F8276E841B}"/>
              </a:ext>
            </a:extLst>
          </p:cNvPr>
          <p:cNvSpPr txBox="1"/>
          <p:nvPr/>
        </p:nvSpPr>
        <p:spPr>
          <a:xfrm rot="16200000">
            <a:off x="10663159" y="2387170"/>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37033930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D28704-1155-4663-0EEB-EBD50EB8AF79}"/>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8CE78445-8027-8B3D-DC1F-E85B4E4E13FF}"/>
              </a:ext>
            </a:extLst>
          </p:cNvPr>
          <p:cNvSpPr>
            <a:spLocks noGrp="1"/>
          </p:cNvSpPr>
          <p:nvPr>
            <p:ph type="body" sz="quarter" idx="24"/>
          </p:nvPr>
        </p:nvSpPr>
        <p:spPr/>
        <p:txBody>
          <a:bodyPr/>
          <a:lstStyle/>
          <a:p>
            <a:endParaRPr lang="es-ES"/>
          </a:p>
        </p:txBody>
      </p:sp>
      <p:sp>
        <p:nvSpPr>
          <p:cNvPr id="6" name="Marcador de número de diapositiva 5">
            <a:extLst>
              <a:ext uri="{FF2B5EF4-FFF2-40B4-BE49-F238E27FC236}">
                <a16:creationId xmlns:a16="http://schemas.microsoft.com/office/drawing/2014/main" id="{65AB06F3-1A3C-03B0-377D-B69DA8645D52}"/>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sp>
        <p:nvSpPr>
          <p:cNvPr id="12" name="6 CuadroTexto">
            <a:extLst>
              <a:ext uri="{FF2B5EF4-FFF2-40B4-BE49-F238E27FC236}">
                <a16:creationId xmlns:a16="http://schemas.microsoft.com/office/drawing/2014/main" id="{B892B0C6-A785-1852-EEDF-9F272F4ABE81}"/>
              </a:ext>
            </a:extLst>
          </p:cNvPr>
          <p:cNvSpPr txBox="1"/>
          <p:nvPr/>
        </p:nvSpPr>
        <p:spPr>
          <a:xfrm>
            <a:off x="6885497" y="3830614"/>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2" name="Imagen 1">
            <a:extLst>
              <a:ext uri="{FF2B5EF4-FFF2-40B4-BE49-F238E27FC236}">
                <a16:creationId xmlns:a16="http://schemas.microsoft.com/office/drawing/2014/main" id="{65B4C321-4C5F-05EB-2981-8F72AA20577E}"/>
              </a:ext>
            </a:extLst>
          </p:cNvPr>
          <p:cNvPicPr>
            <a:picLocks noChangeAspect="1"/>
          </p:cNvPicPr>
          <p:nvPr/>
        </p:nvPicPr>
        <p:blipFill>
          <a:blip r:embed="rId3"/>
          <a:stretch>
            <a:fillRect/>
          </a:stretch>
        </p:blipFill>
        <p:spPr>
          <a:xfrm>
            <a:off x="10623775" y="231972"/>
            <a:ext cx="1329043" cy="457240"/>
          </a:xfrm>
          <a:prstGeom prst="rect">
            <a:avLst/>
          </a:prstGeom>
        </p:spPr>
      </p:pic>
      <p:sp>
        <p:nvSpPr>
          <p:cNvPr id="9" name="Título 3">
            <a:extLst>
              <a:ext uri="{FF2B5EF4-FFF2-40B4-BE49-F238E27FC236}">
                <a16:creationId xmlns:a16="http://schemas.microsoft.com/office/drawing/2014/main" id="{983944B6-8837-2D1E-2767-9A6D4803098E}"/>
              </a:ext>
            </a:extLst>
          </p:cNvPr>
          <p:cNvSpPr txBox="1">
            <a:spLocks/>
          </p:cNvSpPr>
          <p:nvPr/>
        </p:nvSpPr>
        <p:spPr>
          <a:xfrm>
            <a:off x="1176647" y="239863"/>
            <a:ext cx="9273714" cy="1469134"/>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_tradnl" sz="2800" dirty="0"/>
              <a:t>Resumen de las principales recomendaciones </a:t>
            </a:r>
            <a:endParaRPr lang="es-ES" sz="2800" dirty="0"/>
          </a:p>
          <a:p>
            <a:endParaRPr lang="es-ES" sz="2800" dirty="0"/>
          </a:p>
        </p:txBody>
      </p:sp>
      <p:sp>
        <p:nvSpPr>
          <p:cNvPr id="3" name="CuadroTexto 2">
            <a:extLst>
              <a:ext uri="{FF2B5EF4-FFF2-40B4-BE49-F238E27FC236}">
                <a16:creationId xmlns:a16="http://schemas.microsoft.com/office/drawing/2014/main" id="{2DB85340-A4CA-F6E9-AFE7-C4FB347B5FAA}"/>
              </a:ext>
            </a:extLst>
          </p:cNvPr>
          <p:cNvSpPr txBox="1"/>
          <p:nvPr/>
        </p:nvSpPr>
        <p:spPr>
          <a:xfrm>
            <a:off x="1244813" y="1878904"/>
            <a:ext cx="9958507" cy="461665"/>
          </a:xfrm>
          <a:prstGeom prst="rect">
            <a:avLst/>
          </a:prstGeom>
          <a:solidFill>
            <a:schemeClr val="accent2"/>
          </a:solidFill>
        </p:spPr>
        <p:txBody>
          <a:bodyPr wrap="square">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es-ES" sz="1200" dirty="0">
                <a:solidFill>
                  <a:schemeClr val="accent1"/>
                </a:solidFill>
              </a:rPr>
              <a:t>Se insta a los cardiólogos a reconsiderar los síndromes coronarios crónicos (SCC), no solo como causados por obstrucciones en las arterias grandes, sino también por disfunción de los vasos más pequeños (</a:t>
            </a:r>
            <a:r>
              <a:rPr lang="es-ES" sz="1200" b="1" dirty="0">
                <a:solidFill>
                  <a:schemeClr val="accent1"/>
                </a:solidFill>
              </a:rPr>
              <a:t>microcirculación)</a:t>
            </a:r>
            <a:r>
              <a:rPr lang="es-ES" sz="1200" dirty="0">
                <a:solidFill>
                  <a:schemeClr val="accent1"/>
                </a:solidFill>
              </a:rPr>
              <a:t> y hay una n</a:t>
            </a:r>
            <a:r>
              <a:rPr lang="es-ES" sz="1200" dirty="0">
                <a:solidFill>
                  <a:schemeClr val="accent1"/>
                </a:solidFill>
                <a:sym typeface="Wingdings" panose="05000000000000000000" pitchFamily="2" charset="2"/>
              </a:rPr>
              <a:t>ueva definición del SCC</a:t>
            </a:r>
            <a:r>
              <a:rPr lang="es-ES" sz="1200" baseline="30000" dirty="0">
                <a:solidFill>
                  <a:schemeClr val="accent1"/>
                </a:solidFill>
                <a:sym typeface="Wingdings" panose="05000000000000000000" pitchFamily="2" charset="2"/>
              </a:rPr>
              <a:t>1</a:t>
            </a:r>
            <a:r>
              <a:rPr lang="es-ES" sz="1200" dirty="0">
                <a:solidFill>
                  <a:schemeClr val="accent1"/>
                </a:solidFill>
                <a:sym typeface="Wingdings" panose="05000000000000000000" pitchFamily="2" charset="2"/>
              </a:rPr>
              <a:t>.</a:t>
            </a:r>
            <a:endParaRPr lang="es-ES" sz="1200" dirty="0">
              <a:solidFill>
                <a:srgbClr val="002855"/>
              </a:solidFill>
              <a:latin typeface="Arial"/>
            </a:endParaRPr>
          </a:p>
        </p:txBody>
      </p:sp>
      <p:sp>
        <p:nvSpPr>
          <p:cNvPr id="7" name="CuadroTexto 6">
            <a:extLst>
              <a:ext uri="{FF2B5EF4-FFF2-40B4-BE49-F238E27FC236}">
                <a16:creationId xmlns:a16="http://schemas.microsoft.com/office/drawing/2014/main" id="{2278031B-4D17-9371-DE13-2C1ED13E8427}"/>
              </a:ext>
            </a:extLst>
          </p:cNvPr>
          <p:cNvSpPr txBox="1"/>
          <p:nvPr/>
        </p:nvSpPr>
        <p:spPr>
          <a:xfrm>
            <a:off x="1244812" y="2516116"/>
            <a:ext cx="9958507" cy="461665"/>
          </a:xfrm>
          <a:prstGeom prst="rect">
            <a:avLst/>
          </a:prstGeom>
          <a:solidFill>
            <a:schemeClr val="accent2"/>
          </a:solidFill>
        </p:spPr>
        <p:txBody>
          <a:bodyPr wrap="square">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en-GB" sz="1200" dirty="0">
                <a:solidFill>
                  <a:schemeClr val="accent1"/>
                </a:solidFill>
              </a:rPr>
              <a:t>Más de la </a:t>
            </a:r>
            <a:r>
              <a:rPr lang="en-GB" sz="1200" dirty="0" err="1">
                <a:solidFill>
                  <a:schemeClr val="accent1"/>
                </a:solidFill>
              </a:rPr>
              <a:t>mitad</a:t>
            </a:r>
            <a:r>
              <a:rPr lang="en-GB" sz="1200" dirty="0">
                <a:solidFill>
                  <a:schemeClr val="accent1"/>
                </a:solidFill>
              </a:rPr>
              <a:t> de </a:t>
            </a:r>
            <a:r>
              <a:rPr lang="en-GB" sz="1200" dirty="0" err="1">
                <a:solidFill>
                  <a:schemeClr val="accent1"/>
                </a:solidFill>
              </a:rPr>
              <a:t>los</a:t>
            </a:r>
            <a:r>
              <a:rPr lang="en-GB" sz="1200" dirty="0">
                <a:solidFill>
                  <a:schemeClr val="accent1"/>
                </a:solidFill>
              </a:rPr>
              <a:t> </a:t>
            </a:r>
            <a:r>
              <a:rPr lang="en-GB" sz="1200" dirty="0" err="1">
                <a:solidFill>
                  <a:schemeClr val="accent1"/>
                </a:solidFill>
              </a:rPr>
              <a:t>individuos</a:t>
            </a:r>
            <a:r>
              <a:rPr lang="en-GB" sz="1200" dirty="0">
                <a:solidFill>
                  <a:schemeClr val="accent1"/>
                </a:solidFill>
              </a:rPr>
              <a:t> con </a:t>
            </a:r>
            <a:r>
              <a:rPr lang="en-GB" sz="1200" dirty="0" err="1">
                <a:solidFill>
                  <a:schemeClr val="accent1"/>
                </a:solidFill>
              </a:rPr>
              <a:t>sospecha</a:t>
            </a:r>
            <a:r>
              <a:rPr lang="en-GB" sz="1200" dirty="0">
                <a:solidFill>
                  <a:schemeClr val="accent1"/>
                </a:solidFill>
              </a:rPr>
              <a:t> de SCC </a:t>
            </a:r>
            <a:r>
              <a:rPr lang="en-GB" sz="1200" dirty="0" err="1">
                <a:solidFill>
                  <a:schemeClr val="accent1"/>
                </a:solidFill>
              </a:rPr>
              <a:t>pueden</a:t>
            </a:r>
            <a:r>
              <a:rPr lang="en-GB" sz="1200" dirty="0">
                <a:solidFill>
                  <a:schemeClr val="accent1"/>
                </a:solidFill>
              </a:rPr>
              <a:t> </a:t>
            </a:r>
            <a:r>
              <a:rPr lang="en-GB" sz="1200" dirty="0" err="1">
                <a:solidFill>
                  <a:schemeClr val="accent1"/>
                </a:solidFill>
              </a:rPr>
              <a:t>presentar</a:t>
            </a:r>
            <a:r>
              <a:rPr lang="en-GB" sz="1200" dirty="0">
                <a:solidFill>
                  <a:schemeClr val="accent1"/>
                </a:solidFill>
              </a:rPr>
              <a:t> angina/</a:t>
            </a:r>
            <a:r>
              <a:rPr lang="en-GB" sz="1200" dirty="0" err="1">
                <a:solidFill>
                  <a:schemeClr val="accent1"/>
                </a:solidFill>
              </a:rPr>
              <a:t>isquemia</a:t>
            </a:r>
            <a:r>
              <a:rPr lang="en-GB" sz="1200" dirty="0">
                <a:solidFill>
                  <a:schemeClr val="accent1"/>
                </a:solidFill>
              </a:rPr>
              <a:t> con </a:t>
            </a:r>
            <a:r>
              <a:rPr lang="en-GB" sz="1200" dirty="0" err="1">
                <a:solidFill>
                  <a:schemeClr val="accent1"/>
                </a:solidFill>
              </a:rPr>
              <a:t>arterias</a:t>
            </a:r>
            <a:r>
              <a:rPr lang="en-GB" sz="1200" dirty="0">
                <a:solidFill>
                  <a:schemeClr val="accent1"/>
                </a:solidFill>
              </a:rPr>
              <a:t> </a:t>
            </a:r>
            <a:r>
              <a:rPr lang="en-GB" sz="1200" dirty="0" err="1">
                <a:solidFill>
                  <a:schemeClr val="accent1"/>
                </a:solidFill>
              </a:rPr>
              <a:t>coronarias</a:t>
            </a:r>
            <a:r>
              <a:rPr lang="en-GB" sz="1200" dirty="0">
                <a:solidFill>
                  <a:schemeClr val="accent1"/>
                </a:solidFill>
              </a:rPr>
              <a:t> no </a:t>
            </a:r>
            <a:r>
              <a:rPr lang="en-GB" sz="1200" dirty="0" err="1">
                <a:solidFill>
                  <a:schemeClr val="accent1"/>
                </a:solidFill>
              </a:rPr>
              <a:t>obstructivas</a:t>
            </a:r>
            <a:r>
              <a:rPr lang="en-GB" sz="1200" dirty="0">
                <a:solidFill>
                  <a:schemeClr val="accent1"/>
                </a:solidFill>
              </a:rPr>
              <a:t> (ANOCA/INOCA) </a:t>
            </a:r>
            <a:r>
              <a:rPr lang="en-GB" sz="1200" dirty="0" err="1">
                <a:solidFill>
                  <a:schemeClr val="accent1"/>
                </a:solidFill>
              </a:rPr>
              <a:t>causada</a:t>
            </a:r>
            <a:r>
              <a:rPr lang="en-GB" sz="1200" dirty="0">
                <a:solidFill>
                  <a:schemeClr val="accent1"/>
                </a:solidFill>
              </a:rPr>
              <a:t> </a:t>
            </a:r>
            <a:r>
              <a:rPr lang="en-GB" sz="1200" dirty="0" err="1">
                <a:solidFill>
                  <a:schemeClr val="accent1"/>
                </a:solidFill>
              </a:rPr>
              <a:t>por</a:t>
            </a:r>
            <a:r>
              <a:rPr lang="en-GB" sz="1200" dirty="0">
                <a:solidFill>
                  <a:schemeClr val="accent1"/>
                </a:solidFill>
              </a:rPr>
              <a:t> </a:t>
            </a:r>
            <a:r>
              <a:rPr lang="en-GB" sz="1200" b="1" dirty="0" err="1">
                <a:solidFill>
                  <a:schemeClr val="accent1"/>
                </a:solidFill>
              </a:rPr>
              <a:t>espasmo</a:t>
            </a:r>
            <a:r>
              <a:rPr lang="en-GB" sz="1200" b="1" dirty="0">
                <a:solidFill>
                  <a:schemeClr val="accent1"/>
                </a:solidFill>
              </a:rPr>
              <a:t> de las </a:t>
            </a:r>
            <a:r>
              <a:rPr lang="en-GB" sz="1200" b="1" dirty="0" err="1">
                <a:solidFill>
                  <a:schemeClr val="accent1"/>
                </a:solidFill>
              </a:rPr>
              <a:t>arterias</a:t>
            </a:r>
            <a:r>
              <a:rPr lang="en-GB" sz="1200" b="1" dirty="0">
                <a:solidFill>
                  <a:schemeClr val="accent1"/>
                </a:solidFill>
              </a:rPr>
              <a:t> </a:t>
            </a:r>
            <a:r>
              <a:rPr lang="en-GB" sz="1200" b="1" dirty="0" err="1">
                <a:solidFill>
                  <a:schemeClr val="accent1"/>
                </a:solidFill>
              </a:rPr>
              <a:t>coronarias</a:t>
            </a:r>
            <a:r>
              <a:rPr lang="en-GB" sz="1200" b="1" dirty="0">
                <a:solidFill>
                  <a:schemeClr val="accent1"/>
                </a:solidFill>
              </a:rPr>
              <a:t> o </a:t>
            </a:r>
            <a:r>
              <a:rPr lang="en-GB" sz="1200" b="1" dirty="0" err="1">
                <a:solidFill>
                  <a:schemeClr val="accent1"/>
                </a:solidFill>
              </a:rPr>
              <a:t>disfunción</a:t>
            </a:r>
            <a:r>
              <a:rPr lang="en-GB" sz="1200" b="1" dirty="0">
                <a:solidFill>
                  <a:schemeClr val="accent1"/>
                </a:solidFill>
              </a:rPr>
              <a:t> </a:t>
            </a:r>
            <a:r>
              <a:rPr lang="en-GB" sz="1200" b="1" dirty="0" err="1">
                <a:solidFill>
                  <a:schemeClr val="accent1"/>
                </a:solidFill>
              </a:rPr>
              <a:t>microcirculatoria</a:t>
            </a:r>
            <a:r>
              <a:rPr lang="es-ES" sz="1200" baseline="30000" dirty="0">
                <a:solidFill>
                  <a:schemeClr val="accent1"/>
                </a:solidFill>
                <a:sym typeface="Wingdings" panose="05000000000000000000" pitchFamily="2" charset="2"/>
              </a:rPr>
              <a:t>1</a:t>
            </a:r>
            <a:r>
              <a:rPr lang="en-GB" sz="1200" dirty="0">
                <a:solidFill>
                  <a:schemeClr val="accent1"/>
                </a:solidFill>
              </a:rPr>
              <a:t>.</a:t>
            </a:r>
            <a:endParaRPr lang="es-ES" sz="1200" dirty="0">
              <a:solidFill>
                <a:schemeClr val="accent1"/>
              </a:solidFill>
            </a:endParaRPr>
          </a:p>
        </p:txBody>
      </p:sp>
      <p:sp>
        <p:nvSpPr>
          <p:cNvPr id="10" name="CuadroTexto 9">
            <a:extLst>
              <a:ext uri="{FF2B5EF4-FFF2-40B4-BE49-F238E27FC236}">
                <a16:creationId xmlns:a16="http://schemas.microsoft.com/office/drawing/2014/main" id="{7CBE807E-7B83-2102-25AE-A2CA5F30B7C5}"/>
              </a:ext>
            </a:extLst>
          </p:cNvPr>
          <p:cNvSpPr txBox="1"/>
          <p:nvPr/>
        </p:nvSpPr>
        <p:spPr>
          <a:xfrm>
            <a:off x="1244813" y="3114060"/>
            <a:ext cx="9958506" cy="276999"/>
          </a:xfrm>
          <a:prstGeom prst="rect">
            <a:avLst/>
          </a:prstGeom>
          <a:solidFill>
            <a:schemeClr val="accent2"/>
          </a:solidFill>
        </p:spPr>
        <p:txBody>
          <a:bodyPr wrap="square">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es-ES" sz="1200" b="1" dirty="0">
                <a:solidFill>
                  <a:schemeClr val="accent1"/>
                </a:solidFill>
              </a:rPr>
              <a:t>Nuevas puntuaciones </a:t>
            </a:r>
            <a:r>
              <a:rPr lang="es-ES" sz="1200" dirty="0">
                <a:solidFill>
                  <a:schemeClr val="accent1"/>
                </a:solidFill>
              </a:rPr>
              <a:t>para estimar la probabilidad de obstrucción en arterias grandes</a:t>
            </a:r>
            <a:r>
              <a:rPr lang="es-ES" sz="1200" baseline="30000" dirty="0">
                <a:solidFill>
                  <a:schemeClr val="accent1"/>
                </a:solidFill>
                <a:sym typeface="Wingdings" panose="05000000000000000000" pitchFamily="2" charset="2"/>
              </a:rPr>
              <a:t>1</a:t>
            </a:r>
            <a:r>
              <a:rPr lang="es-ES" sz="1200" dirty="0">
                <a:solidFill>
                  <a:schemeClr val="accent1"/>
                </a:solidFill>
              </a:rPr>
              <a:t>.</a:t>
            </a:r>
          </a:p>
        </p:txBody>
      </p:sp>
      <p:sp>
        <p:nvSpPr>
          <p:cNvPr id="11" name="CuadroTexto 10">
            <a:extLst>
              <a:ext uri="{FF2B5EF4-FFF2-40B4-BE49-F238E27FC236}">
                <a16:creationId xmlns:a16="http://schemas.microsoft.com/office/drawing/2014/main" id="{E40661E2-0B37-554D-1213-2156B61831FF}"/>
              </a:ext>
            </a:extLst>
          </p:cNvPr>
          <p:cNvSpPr txBox="1"/>
          <p:nvPr/>
        </p:nvSpPr>
        <p:spPr>
          <a:xfrm>
            <a:off x="1244811" y="3556066"/>
            <a:ext cx="9958505" cy="276999"/>
          </a:xfrm>
          <a:prstGeom prst="rect">
            <a:avLst/>
          </a:prstGeom>
          <a:solidFill>
            <a:schemeClr val="accent2"/>
          </a:solidFill>
        </p:spPr>
        <p:txBody>
          <a:bodyPr wrap="square">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es-ES" sz="1200" dirty="0">
                <a:solidFill>
                  <a:schemeClr val="accent1"/>
                </a:solidFill>
              </a:rPr>
              <a:t>Se indican pruebas modernas no invasivas e invasivas para diagnosticar enfermedades relacionadas con la angina crónica estable</a:t>
            </a:r>
            <a:r>
              <a:rPr lang="es-ES" sz="1200" baseline="30000" dirty="0">
                <a:solidFill>
                  <a:schemeClr val="accent1"/>
                </a:solidFill>
                <a:sym typeface="Wingdings" panose="05000000000000000000" pitchFamily="2" charset="2"/>
              </a:rPr>
              <a:t>1</a:t>
            </a:r>
            <a:r>
              <a:rPr lang="es-ES" sz="1200" dirty="0">
                <a:solidFill>
                  <a:schemeClr val="accent1"/>
                </a:solidFill>
              </a:rPr>
              <a:t> </a:t>
            </a:r>
          </a:p>
        </p:txBody>
      </p:sp>
      <p:sp>
        <p:nvSpPr>
          <p:cNvPr id="13" name="CuadroTexto 12">
            <a:extLst>
              <a:ext uri="{FF2B5EF4-FFF2-40B4-BE49-F238E27FC236}">
                <a16:creationId xmlns:a16="http://schemas.microsoft.com/office/drawing/2014/main" id="{9E0615BC-9B1A-D9E0-DBE3-2E5FC8C48B15}"/>
              </a:ext>
            </a:extLst>
          </p:cNvPr>
          <p:cNvSpPr txBox="1"/>
          <p:nvPr/>
        </p:nvSpPr>
        <p:spPr>
          <a:xfrm>
            <a:off x="1244811" y="4028747"/>
            <a:ext cx="9958505" cy="276999"/>
          </a:xfrm>
          <a:prstGeom prst="rect">
            <a:avLst/>
          </a:prstGeom>
          <a:solidFill>
            <a:schemeClr val="accent2"/>
          </a:solidFill>
        </p:spPr>
        <p:txBody>
          <a:bodyPr wrap="square">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es-ES" sz="1200" dirty="0">
                <a:solidFill>
                  <a:schemeClr val="accent1"/>
                </a:solidFill>
              </a:rPr>
              <a:t>Beneficios emergentes de los estilos de vida saludables y de las </a:t>
            </a:r>
            <a:r>
              <a:rPr lang="es-ES" sz="1200" b="1" dirty="0">
                <a:solidFill>
                  <a:schemeClr val="accent1"/>
                </a:solidFill>
              </a:rPr>
              <a:t>intervenciones médicas e invasivas</a:t>
            </a:r>
            <a:r>
              <a:rPr lang="es-ES" sz="1200" baseline="30000" dirty="0">
                <a:solidFill>
                  <a:schemeClr val="accent1"/>
                </a:solidFill>
                <a:sym typeface="Wingdings" panose="05000000000000000000" pitchFamily="2" charset="2"/>
              </a:rPr>
              <a:t>1</a:t>
            </a:r>
            <a:r>
              <a:rPr lang="es-ES" sz="1200" dirty="0">
                <a:solidFill>
                  <a:schemeClr val="accent1"/>
                </a:solidFill>
              </a:rPr>
              <a:t>.</a:t>
            </a:r>
          </a:p>
        </p:txBody>
      </p:sp>
      <p:sp>
        <p:nvSpPr>
          <p:cNvPr id="14" name="CuadroTexto 13">
            <a:extLst>
              <a:ext uri="{FF2B5EF4-FFF2-40B4-BE49-F238E27FC236}">
                <a16:creationId xmlns:a16="http://schemas.microsoft.com/office/drawing/2014/main" id="{75E15C9D-919A-72C7-9CB4-D445B288A352}"/>
              </a:ext>
            </a:extLst>
          </p:cNvPr>
          <p:cNvSpPr txBox="1"/>
          <p:nvPr/>
        </p:nvSpPr>
        <p:spPr>
          <a:xfrm>
            <a:off x="1244811" y="4501428"/>
            <a:ext cx="9958505" cy="646331"/>
          </a:xfrm>
          <a:prstGeom prst="rect">
            <a:avLst/>
          </a:prstGeom>
          <a:solidFill>
            <a:schemeClr val="accent2"/>
          </a:solidFill>
        </p:spPr>
        <p:txBody>
          <a:bodyPr wrap="square">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es-ES" sz="1200" dirty="0">
                <a:solidFill>
                  <a:schemeClr val="accent1"/>
                </a:solidFill>
                <a:sym typeface="Wingdings" panose="05000000000000000000" pitchFamily="2" charset="2"/>
              </a:rPr>
              <a:t>Una terapia médica que cumpla las directrices de la guía es un pilar fundamental del manejo de los pacientes con SCC</a:t>
            </a:r>
            <a:r>
              <a:rPr lang="es-ES" sz="1200" baseline="30000" dirty="0">
                <a:solidFill>
                  <a:schemeClr val="accent1"/>
                </a:solidFill>
                <a:sym typeface="Wingdings" panose="05000000000000000000" pitchFamily="2" charset="2"/>
              </a:rPr>
              <a:t>1</a:t>
            </a:r>
            <a:r>
              <a:rPr lang="es-ES" sz="1200" dirty="0">
                <a:solidFill>
                  <a:schemeClr val="accent1"/>
                </a:solidFill>
                <a:sym typeface="Wingdings" panose="05000000000000000000" pitchFamily="2" charset="2"/>
              </a:rPr>
              <a:t>, </a:t>
            </a:r>
          </a:p>
          <a:p>
            <a:pPr algn="just"/>
            <a:r>
              <a:rPr lang="es-ES" sz="1200" dirty="0">
                <a:solidFill>
                  <a:schemeClr val="accent1"/>
                </a:solidFill>
                <a:sym typeface="Wingdings" panose="05000000000000000000" pitchFamily="2" charset="2"/>
              </a:rPr>
              <a:t>	- para el control de los síntomas</a:t>
            </a:r>
          </a:p>
          <a:p>
            <a:pPr algn="just"/>
            <a:r>
              <a:rPr lang="es-ES" sz="1200" dirty="0">
                <a:solidFill>
                  <a:schemeClr val="accent1"/>
                </a:solidFill>
                <a:sym typeface="Wingdings" panose="05000000000000000000" pitchFamily="2" charset="2"/>
              </a:rPr>
              <a:t>	- para la mejora del pronóstico.</a:t>
            </a:r>
            <a:endParaRPr lang="es-ES" sz="1200" dirty="0">
              <a:solidFill>
                <a:schemeClr val="accent1"/>
              </a:solidFill>
            </a:endParaRPr>
          </a:p>
        </p:txBody>
      </p:sp>
      <p:sp>
        <p:nvSpPr>
          <p:cNvPr id="16" name="CuadroTexto 15">
            <a:extLst>
              <a:ext uri="{FF2B5EF4-FFF2-40B4-BE49-F238E27FC236}">
                <a16:creationId xmlns:a16="http://schemas.microsoft.com/office/drawing/2014/main" id="{06863696-E98A-7396-AC14-8578F527C9FA}"/>
              </a:ext>
            </a:extLst>
          </p:cNvPr>
          <p:cNvSpPr txBox="1"/>
          <p:nvPr/>
        </p:nvSpPr>
        <p:spPr>
          <a:xfrm>
            <a:off x="1244811" y="5331023"/>
            <a:ext cx="9958505" cy="276999"/>
          </a:xfrm>
          <a:prstGeom prst="rect">
            <a:avLst/>
          </a:prstGeom>
          <a:solidFill>
            <a:schemeClr val="accent2"/>
          </a:solidFill>
        </p:spPr>
        <p:txBody>
          <a:bodyPr wrap="square">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es-ES" sz="1200" dirty="0">
                <a:solidFill>
                  <a:schemeClr val="accent1"/>
                </a:solidFill>
                <a:sym typeface="Wingdings" panose="05000000000000000000" pitchFamily="2" charset="2"/>
              </a:rPr>
              <a:t>La selección de los tratamientos médicos </a:t>
            </a:r>
            <a:r>
              <a:rPr lang="es-ES" sz="1200" b="1" dirty="0">
                <a:solidFill>
                  <a:schemeClr val="accent1"/>
                </a:solidFill>
                <a:sym typeface="Wingdings" panose="05000000000000000000" pitchFamily="2" charset="2"/>
              </a:rPr>
              <a:t>deben estar individualizados en función </a:t>
            </a:r>
            <a:r>
              <a:rPr lang="es-ES" sz="1200" dirty="0">
                <a:solidFill>
                  <a:schemeClr val="accent1"/>
                </a:solidFill>
                <a:sym typeface="Wingdings" panose="05000000000000000000" pitchFamily="2" charset="2"/>
              </a:rPr>
              <a:t>de las características del paciente</a:t>
            </a:r>
            <a:r>
              <a:rPr lang="es-ES" sz="1200" baseline="30000" dirty="0">
                <a:solidFill>
                  <a:schemeClr val="accent1"/>
                </a:solidFill>
                <a:sym typeface="Wingdings" panose="05000000000000000000" pitchFamily="2" charset="2"/>
              </a:rPr>
              <a:t>1</a:t>
            </a:r>
            <a:r>
              <a:rPr lang="es-ES" sz="1200" dirty="0">
                <a:solidFill>
                  <a:schemeClr val="accent1"/>
                </a:solidFill>
                <a:sym typeface="Wingdings" panose="05000000000000000000" pitchFamily="2" charset="2"/>
              </a:rPr>
              <a:t>.</a:t>
            </a:r>
            <a:endParaRPr lang="es-ES" sz="1200" dirty="0">
              <a:solidFill>
                <a:schemeClr val="accent1"/>
              </a:solidFill>
            </a:endParaRPr>
          </a:p>
        </p:txBody>
      </p:sp>
      <p:sp>
        <p:nvSpPr>
          <p:cNvPr id="17" name="CuadroTexto 16">
            <a:extLst>
              <a:ext uri="{FF2B5EF4-FFF2-40B4-BE49-F238E27FC236}">
                <a16:creationId xmlns:a16="http://schemas.microsoft.com/office/drawing/2014/main" id="{4E56AEFB-66D9-BC94-4373-99F571544FD5}"/>
              </a:ext>
            </a:extLst>
          </p:cNvPr>
          <p:cNvSpPr txBox="1"/>
          <p:nvPr/>
        </p:nvSpPr>
        <p:spPr>
          <a:xfrm>
            <a:off x="1244810" y="5791286"/>
            <a:ext cx="9958505" cy="276999"/>
          </a:xfrm>
          <a:prstGeom prst="rect">
            <a:avLst/>
          </a:prstGeom>
          <a:solidFill>
            <a:schemeClr val="accent2"/>
          </a:solidFill>
        </p:spPr>
        <p:txBody>
          <a:bodyPr wrap="square">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es-ES" sz="1200" dirty="0">
                <a:solidFill>
                  <a:schemeClr val="accent1"/>
                </a:solidFill>
                <a:sym typeface="Wingdings" panose="05000000000000000000" pitchFamily="2" charset="2"/>
              </a:rPr>
              <a:t>Se deben focalizar los esfuerzos en aumentar la </a:t>
            </a:r>
            <a:r>
              <a:rPr lang="es-ES" sz="1200" b="1" dirty="0">
                <a:solidFill>
                  <a:schemeClr val="accent1"/>
                </a:solidFill>
                <a:sym typeface="Wingdings" panose="05000000000000000000" pitchFamily="2" charset="2"/>
              </a:rPr>
              <a:t>adherencia a largo plazo de la terapia</a:t>
            </a:r>
            <a:r>
              <a:rPr lang="es-ES" sz="1200" baseline="30000" dirty="0">
                <a:solidFill>
                  <a:schemeClr val="accent1"/>
                </a:solidFill>
                <a:sym typeface="Wingdings" panose="05000000000000000000" pitchFamily="2" charset="2"/>
              </a:rPr>
              <a:t>1</a:t>
            </a:r>
            <a:r>
              <a:rPr lang="es-ES" sz="1200" b="1" dirty="0">
                <a:solidFill>
                  <a:schemeClr val="accent1"/>
                </a:solidFill>
                <a:sym typeface="Wingdings" panose="05000000000000000000" pitchFamily="2" charset="2"/>
              </a:rPr>
              <a:t>.</a:t>
            </a:r>
            <a:endParaRPr lang="es-ES" sz="1200" dirty="0">
              <a:solidFill>
                <a:schemeClr val="accent1"/>
              </a:solidFill>
            </a:endParaRPr>
          </a:p>
        </p:txBody>
      </p:sp>
      <p:pic>
        <p:nvPicPr>
          <p:cNvPr id="18" name="Imagen 17">
            <a:extLst>
              <a:ext uri="{FF2B5EF4-FFF2-40B4-BE49-F238E27FC236}">
                <a16:creationId xmlns:a16="http://schemas.microsoft.com/office/drawing/2014/main" id="{3DEB0C72-7634-F62B-9F88-7DC044BF300E}"/>
              </a:ext>
            </a:extLst>
          </p:cNvPr>
          <p:cNvPicPr>
            <a:picLocks noChangeAspect="1"/>
          </p:cNvPicPr>
          <p:nvPr/>
        </p:nvPicPr>
        <p:blipFill>
          <a:blip r:embed="rId4"/>
          <a:srcRect b="70899"/>
          <a:stretch/>
        </p:blipFill>
        <p:spPr>
          <a:xfrm>
            <a:off x="3963188" y="740434"/>
            <a:ext cx="4288406" cy="973616"/>
          </a:xfrm>
          <a:prstGeom prst="rect">
            <a:avLst/>
          </a:prstGeom>
        </p:spPr>
      </p:pic>
      <p:sp>
        <p:nvSpPr>
          <p:cNvPr id="8" name="CuadroTexto 7">
            <a:extLst>
              <a:ext uri="{FF2B5EF4-FFF2-40B4-BE49-F238E27FC236}">
                <a16:creationId xmlns:a16="http://schemas.microsoft.com/office/drawing/2014/main" id="{46CC6F93-D815-7958-EEFF-4BEFB5D374E7}"/>
              </a:ext>
            </a:extLst>
          </p:cNvPr>
          <p:cNvSpPr txBox="1"/>
          <p:nvPr/>
        </p:nvSpPr>
        <p:spPr>
          <a:xfrm>
            <a:off x="2978013" y="6458146"/>
            <a:ext cx="7323025" cy="200055"/>
          </a:xfrm>
          <a:prstGeom prst="rect">
            <a:avLst/>
          </a:prstGeom>
          <a:noFill/>
        </p:spPr>
        <p:txBody>
          <a:bodyPr wrap="square" rtlCol="0">
            <a:spAutoFit/>
          </a:bodyPr>
          <a:lstStyle>
            <a:defPPr>
              <a:defRPr lang="es-ES"/>
            </a:defPPr>
            <a:lvl1pPr>
              <a:defRPr sz="700" b="0" i="1">
                <a:solidFill>
                  <a:schemeClr val="accent1"/>
                </a:solidFill>
                <a:effectLst/>
              </a:defRPr>
            </a:lvl1pPr>
          </a:lstStyle>
          <a:p>
            <a:r>
              <a:rPr lang="en-US" dirty="0"/>
              <a:t>1. </a:t>
            </a:r>
            <a:r>
              <a:rPr lang="en-US" dirty="0" err="1"/>
              <a:t>Vrints</a:t>
            </a:r>
            <a:r>
              <a:rPr lang="en-US" dirty="0"/>
              <a:t> C, et al. 2024 ESC Guidelines for the management of chronic coronary syndromes. </a:t>
            </a:r>
            <a:r>
              <a:rPr lang="en-US" dirty="0" err="1"/>
              <a:t>Eur</a:t>
            </a:r>
            <a:r>
              <a:rPr lang="en-US" dirty="0"/>
              <a:t> Heart J. 2024 Sep 29;45(36):3415-3537. </a:t>
            </a:r>
            <a:r>
              <a:rPr lang="en-US" dirty="0" err="1"/>
              <a:t>doi</a:t>
            </a:r>
            <a:r>
              <a:rPr lang="en-US" dirty="0"/>
              <a:t>: 10.1093/</a:t>
            </a:r>
            <a:r>
              <a:rPr lang="en-US" dirty="0" err="1"/>
              <a:t>eurheartj</a:t>
            </a:r>
            <a:r>
              <a:rPr lang="en-US" dirty="0"/>
              <a:t>/ehae177.</a:t>
            </a:r>
          </a:p>
        </p:txBody>
      </p:sp>
      <p:sp>
        <p:nvSpPr>
          <p:cNvPr id="15" name="CuadroTexto 14">
            <a:extLst>
              <a:ext uri="{FF2B5EF4-FFF2-40B4-BE49-F238E27FC236}">
                <a16:creationId xmlns:a16="http://schemas.microsoft.com/office/drawing/2014/main" id="{AD1DB96A-BEA5-A2C5-C2D1-B4744466AF68}"/>
              </a:ext>
            </a:extLst>
          </p:cNvPr>
          <p:cNvSpPr txBox="1"/>
          <p:nvPr/>
        </p:nvSpPr>
        <p:spPr>
          <a:xfrm>
            <a:off x="3530090" y="6297018"/>
            <a:ext cx="6218871" cy="246221"/>
          </a:xfrm>
          <a:prstGeom prst="rect">
            <a:avLst/>
          </a:prstGeom>
          <a:noFill/>
        </p:spPr>
        <p:txBody>
          <a:bodyPr wrap="square">
            <a:spAutoFit/>
          </a:bodyPr>
          <a:lstStyle/>
          <a:p>
            <a:pPr algn="ctr"/>
            <a:r>
              <a:rPr lang="es-ES" sz="1000" dirty="0">
                <a:solidFill>
                  <a:schemeClr val="accent1"/>
                </a:solidFill>
              </a:rPr>
              <a:t>Guía ESC 2024 para el manejo de los síndromes coronarios crónicos </a:t>
            </a:r>
          </a:p>
        </p:txBody>
      </p:sp>
      <p:sp>
        <p:nvSpPr>
          <p:cNvPr id="5" name="CuadroTexto 4">
            <a:extLst>
              <a:ext uri="{FF2B5EF4-FFF2-40B4-BE49-F238E27FC236}">
                <a16:creationId xmlns:a16="http://schemas.microsoft.com/office/drawing/2014/main" id="{04C50048-4670-FC08-3B9E-96904CCB7D21}"/>
              </a:ext>
            </a:extLst>
          </p:cNvPr>
          <p:cNvSpPr txBox="1"/>
          <p:nvPr/>
        </p:nvSpPr>
        <p:spPr>
          <a:xfrm rot="16200000">
            <a:off x="10633273" y="3376069"/>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6445698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BC17588-4449-38DE-585D-2A78F33385AD}"/>
              </a:ext>
            </a:extLst>
          </p:cNvPr>
          <p:cNvSpPr>
            <a:spLocks noGrp="1"/>
          </p:cNvSpPr>
          <p:nvPr>
            <p:ph type="title"/>
          </p:nvPr>
        </p:nvSpPr>
        <p:spPr/>
        <p:txBody>
          <a:bodyPr/>
          <a:lstStyle/>
          <a:p>
            <a:r>
              <a:rPr lang="es-ES_tradnl" dirty="0"/>
              <a:t>Conflicto de interés:</a:t>
            </a:r>
            <a:endParaRPr lang="es-ES" dirty="0"/>
          </a:p>
        </p:txBody>
      </p:sp>
      <p:sp>
        <p:nvSpPr>
          <p:cNvPr id="3" name="CuadroTexto 2">
            <a:extLst>
              <a:ext uri="{FF2B5EF4-FFF2-40B4-BE49-F238E27FC236}">
                <a16:creationId xmlns:a16="http://schemas.microsoft.com/office/drawing/2014/main" id="{48A9B8A3-80EC-0393-EF8E-0C4B4C5D6505}"/>
              </a:ext>
            </a:extLst>
          </p:cNvPr>
          <p:cNvSpPr txBox="1"/>
          <p:nvPr/>
        </p:nvSpPr>
        <p:spPr>
          <a:xfrm>
            <a:off x="4361688" y="6461690"/>
            <a:ext cx="2471166" cy="30811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34122052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D1BFF9BF-4486-7BA0-9917-4F5000537946}"/>
              </a:ext>
            </a:extLst>
          </p:cNvPr>
          <p:cNvSpPr>
            <a:spLocks noGrp="1"/>
          </p:cNvSpPr>
          <p:nvPr>
            <p:ph type="body" sz="quarter" idx="22"/>
          </p:nvPr>
        </p:nvSpPr>
        <p:spPr/>
        <p:txBody>
          <a:bodyPr/>
          <a:lstStyle/>
          <a:p>
            <a:endParaRPr lang="es-ES" dirty="0"/>
          </a:p>
        </p:txBody>
      </p:sp>
      <p:sp>
        <p:nvSpPr>
          <p:cNvPr id="3" name="Marcador de texto 2">
            <a:extLst>
              <a:ext uri="{FF2B5EF4-FFF2-40B4-BE49-F238E27FC236}">
                <a16:creationId xmlns:a16="http://schemas.microsoft.com/office/drawing/2014/main" id="{08BFA3FB-4D29-0467-E5B2-560C0097B599}"/>
              </a:ext>
            </a:extLst>
          </p:cNvPr>
          <p:cNvSpPr>
            <a:spLocks noGrp="1"/>
          </p:cNvSpPr>
          <p:nvPr>
            <p:ph type="body" sz="quarter" idx="19"/>
          </p:nvPr>
        </p:nvSpPr>
        <p:spPr/>
        <p:txBody>
          <a:bodyPr/>
          <a:lstStyle/>
          <a:p>
            <a:endParaRPr lang="es-ES"/>
          </a:p>
        </p:txBody>
      </p:sp>
      <p:sp>
        <p:nvSpPr>
          <p:cNvPr id="6" name="Marcador de número de diapositiva 5">
            <a:extLst>
              <a:ext uri="{FF2B5EF4-FFF2-40B4-BE49-F238E27FC236}">
                <a16:creationId xmlns:a16="http://schemas.microsoft.com/office/drawing/2014/main" id="{026CE2B7-A668-73D9-8099-F09EEB1723A1}"/>
              </a:ext>
            </a:extLst>
          </p:cNvPr>
          <p:cNvSpPr>
            <a:spLocks noGrp="1"/>
          </p:cNvSpPr>
          <p:nvPr>
            <p:ph type="sldNum" sz="quarter" idx="4"/>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a:ln>
                  <a:noFill/>
                </a:ln>
                <a:solidFill>
                  <a:srgbClr val="00F0BE"/>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0</a:t>
            </a:fld>
            <a:endParaRPr kumimoji="0" lang="en-US" sz="933" b="0" i="0" u="none" strike="noStrike" kern="1200" cap="none" spc="0" normalizeH="0" baseline="0" noProof="0">
              <a:ln>
                <a:noFill/>
              </a:ln>
              <a:solidFill>
                <a:srgbClr val="00F0BE"/>
              </a:solidFill>
              <a:effectLst/>
              <a:uLnTx/>
              <a:uFillTx/>
              <a:latin typeface="Arial"/>
              <a:ea typeface="+mn-ea"/>
              <a:cs typeface="+mn-cs"/>
            </a:endParaRPr>
          </a:p>
        </p:txBody>
      </p:sp>
      <p:pic>
        <p:nvPicPr>
          <p:cNvPr id="5" name="Imagen 4">
            <a:extLst>
              <a:ext uri="{FF2B5EF4-FFF2-40B4-BE49-F238E27FC236}">
                <a16:creationId xmlns:a16="http://schemas.microsoft.com/office/drawing/2014/main" id="{1DD601C3-C143-7BAF-44EA-879BB5A34CF6}"/>
              </a:ext>
            </a:extLst>
          </p:cNvPr>
          <p:cNvPicPr>
            <a:picLocks noChangeAspect="1"/>
          </p:cNvPicPr>
          <p:nvPr/>
        </p:nvPicPr>
        <p:blipFill>
          <a:blip r:embed="rId3"/>
          <a:stretch>
            <a:fillRect/>
          </a:stretch>
        </p:blipFill>
        <p:spPr>
          <a:xfrm>
            <a:off x="6396842" y="1169748"/>
            <a:ext cx="5795159" cy="4518503"/>
          </a:xfrm>
          <a:prstGeom prst="rect">
            <a:avLst/>
          </a:prstGeom>
        </p:spPr>
      </p:pic>
      <p:sp>
        <p:nvSpPr>
          <p:cNvPr id="7" name="Título 3">
            <a:extLst>
              <a:ext uri="{FF2B5EF4-FFF2-40B4-BE49-F238E27FC236}">
                <a16:creationId xmlns:a16="http://schemas.microsoft.com/office/drawing/2014/main" id="{36AB40C8-2FC3-10E1-1FD3-2B8AD821C5BA}"/>
              </a:ext>
            </a:extLst>
          </p:cNvPr>
          <p:cNvSpPr txBox="1">
            <a:spLocks/>
          </p:cNvSpPr>
          <p:nvPr/>
        </p:nvSpPr>
        <p:spPr>
          <a:xfrm>
            <a:off x="467510" y="2250173"/>
            <a:ext cx="5327649" cy="1469134"/>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pPr algn="ctr"/>
            <a:r>
              <a:rPr lang="es-ES_tradnl" sz="4400" dirty="0"/>
              <a:t>Guías para el manejo de la presión arterial elevada e hipertensión</a:t>
            </a:r>
            <a:endParaRPr lang="es-ES" sz="4400" dirty="0"/>
          </a:p>
        </p:txBody>
      </p:sp>
      <p:sp>
        <p:nvSpPr>
          <p:cNvPr id="4" name="CuadroTexto 3">
            <a:extLst>
              <a:ext uri="{FF2B5EF4-FFF2-40B4-BE49-F238E27FC236}">
                <a16:creationId xmlns:a16="http://schemas.microsoft.com/office/drawing/2014/main" id="{B1BA9F48-C45D-DB3E-13FD-AA3DAC140C73}"/>
              </a:ext>
            </a:extLst>
          </p:cNvPr>
          <p:cNvSpPr txBox="1"/>
          <p:nvPr/>
        </p:nvSpPr>
        <p:spPr>
          <a:xfrm>
            <a:off x="2001417" y="6356351"/>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6301402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24E5A1-A4CE-8B0E-C13F-B0A5E93AD1E1}"/>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5F9E168D-62A5-A4B7-E96B-E5C66ECAE071}"/>
              </a:ext>
            </a:extLst>
          </p:cNvPr>
          <p:cNvSpPr>
            <a:spLocks noGrp="1"/>
          </p:cNvSpPr>
          <p:nvPr>
            <p:ph type="body" sz="quarter" idx="24"/>
          </p:nvPr>
        </p:nvSpPr>
        <p:spPr/>
        <p:txBody>
          <a:bodyPr/>
          <a:lstStyle/>
          <a:p>
            <a:endParaRPr lang="es-ES" dirty="0"/>
          </a:p>
        </p:txBody>
      </p:sp>
      <p:sp>
        <p:nvSpPr>
          <p:cNvPr id="6" name="Marcador de número de diapositiva 5">
            <a:extLst>
              <a:ext uri="{FF2B5EF4-FFF2-40B4-BE49-F238E27FC236}">
                <a16:creationId xmlns:a16="http://schemas.microsoft.com/office/drawing/2014/main" id="{37BCE093-37F1-DCA9-10B7-2AAC93DE4AEA}"/>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sp>
        <p:nvSpPr>
          <p:cNvPr id="12" name="6 CuadroTexto">
            <a:extLst>
              <a:ext uri="{FF2B5EF4-FFF2-40B4-BE49-F238E27FC236}">
                <a16:creationId xmlns:a16="http://schemas.microsoft.com/office/drawing/2014/main" id="{5B1E200E-741C-1040-7971-125B0170F7AD}"/>
              </a:ext>
            </a:extLst>
          </p:cNvPr>
          <p:cNvSpPr txBox="1"/>
          <p:nvPr/>
        </p:nvSpPr>
        <p:spPr>
          <a:xfrm>
            <a:off x="7156086" y="3562763"/>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2" name="Imagen 1">
            <a:extLst>
              <a:ext uri="{FF2B5EF4-FFF2-40B4-BE49-F238E27FC236}">
                <a16:creationId xmlns:a16="http://schemas.microsoft.com/office/drawing/2014/main" id="{D2F0D256-886F-AB6E-096A-C6FBB8E9E24F}"/>
              </a:ext>
            </a:extLst>
          </p:cNvPr>
          <p:cNvPicPr>
            <a:picLocks noChangeAspect="1"/>
          </p:cNvPicPr>
          <p:nvPr/>
        </p:nvPicPr>
        <p:blipFill>
          <a:blip r:embed="rId3"/>
          <a:stretch>
            <a:fillRect/>
          </a:stretch>
        </p:blipFill>
        <p:spPr>
          <a:xfrm>
            <a:off x="10623775" y="231972"/>
            <a:ext cx="1329043" cy="457240"/>
          </a:xfrm>
          <a:prstGeom prst="rect">
            <a:avLst/>
          </a:prstGeom>
        </p:spPr>
      </p:pic>
      <p:sp>
        <p:nvSpPr>
          <p:cNvPr id="9" name="Título 3">
            <a:extLst>
              <a:ext uri="{FF2B5EF4-FFF2-40B4-BE49-F238E27FC236}">
                <a16:creationId xmlns:a16="http://schemas.microsoft.com/office/drawing/2014/main" id="{45225B6A-AEFB-5994-B23C-C4C3CB526217}"/>
              </a:ext>
            </a:extLst>
          </p:cNvPr>
          <p:cNvSpPr txBox="1">
            <a:spLocks/>
          </p:cNvSpPr>
          <p:nvPr/>
        </p:nvSpPr>
        <p:spPr>
          <a:xfrm>
            <a:off x="1137227" y="336607"/>
            <a:ext cx="6082490" cy="947535"/>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_tradnl" sz="2800" dirty="0"/>
              <a:t>Definición de la </a:t>
            </a:r>
            <a:r>
              <a:rPr lang="es-ES" sz="2800" dirty="0"/>
              <a:t>presión arterial elevada y la hipertensión</a:t>
            </a:r>
          </a:p>
        </p:txBody>
      </p:sp>
      <p:sp>
        <p:nvSpPr>
          <p:cNvPr id="19" name="CuadroTexto 18">
            <a:extLst>
              <a:ext uri="{FF2B5EF4-FFF2-40B4-BE49-F238E27FC236}">
                <a16:creationId xmlns:a16="http://schemas.microsoft.com/office/drawing/2014/main" id="{F77B8890-50C3-AC11-B825-036FED95B075}"/>
              </a:ext>
            </a:extLst>
          </p:cNvPr>
          <p:cNvSpPr txBox="1"/>
          <p:nvPr/>
        </p:nvSpPr>
        <p:spPr>
          <a:xfrm>
            <a:off x="1116041" y="1495195"/>
            <a:ext cx="4158575" cy="276999"/>
          </a:xfrm>
          <a:prstGeom prst="rect">
            <a:avLst/>
          </a:prstGeom>
          <a:noFill/>
        </p:spPr>
        <p:txBody>
          <a:bodyPr wrap="square" rtlCol="0">
            <a:spAutoFit/>
          </a:bodyPr>
          <a:lstStyle/>
          <a:p>
            <a:pPr algn="just"/>
            <a:r>
              <a:rPr lang="es-ES" sz="1200" b="1" dirty="0">
                <a:solidFill>
                  <a:schemeClr val="accent1"/>
                </a:solidFill>
              </a:rPr>
              <a:t>Nueva clasificación de hipertensión arterial:  </a:t>
            </a:r>
          </a:p>
        </p:txBody>
      </p:sp>
      <p:pic>
        <p:nvPicPr>
          <p:cNvPr id="7" name="Imagen 6">
            <a:extLst>
              <a:ext uri="{FF2B5EF4-FFF2-40B4-BE49-F238E27FC236}">
                <a16:creationId xmlns:a16="http://schemas.microsoft.com/office/drawing/2014/main" id="{5E618AD8-A344-822B-38A3-EB9738DFC4FB}"/>
              </a:ext>
            </a:extLst>
          </p:cNvPr>
          <p:cNvPicPr>
            <a:picLocks noChangeAspect="1"/>
          </p:cNvPicPr>
          <p:nvPr/>
        </p:nvPicPr>
        <p:blipFill>
          <a:blip r:embed="rId4"/>
          <a:stretch>
            <a:fillRect/>
          </a:stretch>
        </p:blipFill>
        <p:spPr>
          <a:xfrm>
            <a:off x="1304317" y="2862475"/>
            <a:ext cx="4615890" cy="2430336"/>
          </a:xfrm>
          <a:prstGeom prst="rect">
            <a:avLst/>
          </a:prstGeom>
        </p:spPr>
      </p:pic>
      <p:sp>
        <p:nvSpPr>
          <p:cNvPr id="8" name="Rectángulo 7">
            <a:extLst>
              <a:ext uri="{FF2B5EF4-FFF2-40B4-BE49-F238E27FC236}">
                <a16:creationId xmlns:a16="http://schemas.microsoft.com/office/drawing/2014/main" id="{0680B60F-D4DB-7E0B-444E-65F17FAF12AA}"/>
              </a:ext>
            </a:extLst>
          </p:cNvPr>
          <p:cNvSpPr/>
          <p:nvPr/>
        </p:nvSpPr>
        <p:spPr>
          <a:xfrm>
            <a:off x="2798442" y="2171736"/>
            <a:ext cx="1933303" cy="45345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s-ES" dirty="0"/>
              <a:t>Guías 2018</a:t>
            </a:r>
            <a:r>
              <a:rPr lang="es-ES" baseline="30000" dirty="0"/>
              <a:t>1</a:t>
            </a:r>
          </a:p>
        </p:txBody>
      </p:sp>
      <p:sp>
        <p:nvSpPr>
          <p:cNvPr id="10" name="Rectángulo 9">
            <a:extLst>
              <a:ext uri="{FF2B5EF4-FFF2-40B4-BE49-F238E27FC236}">
                <a16:creationId xmlns:a16="http://schemas.microsoft.com/office/drawing/2014/main" id="{179F7B6B-F36E-7BF0-0D1C-7525B94AF4FE}"/>
              </a:ext>
            </a:extLst>
          </p:cNvPr>
          <p:cNvSpPr/>
          <p:nvPr/>
        </p:nvSpPr>
        <p:spPr>
          <a:xfrm>
            <a:off x="7955094" y="175794"/>
            <a:ext cx="1933303" cy="45345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s-ES" dirty="0"/>
              <a:t>Guías 2024</a:t>
            </a:r>
            <a:r>
              <a:rPr lang="es-ES" baseline="30000" dirty="0"/>
              <a:t>2</a:t>
            </a:r>
          </a:p>
        </p:txBody>
      </p:sp>
      <p:pic>
        <p:nvPicPr>
          <p:cNvPr id="13" name="Imagen 12">
            <a:extLst>
              <a:ext uri="{FF2B5EF4-FFF2-40B4-BE49-F238E27FC236}">
                <a16:creationId xmlns:a16="http://schemas.microsoft.com/office/drawing/2014/main" id="{289C1B70-10C4-3F57-9CA0-0D3FFE1B1505}"/>
              </a:ext>
            </a:extLst>
          </p:cNvPr>
          <p:cNvPicPr>
            <a:picLocks noChangeAspect="1"/>
          </p:cNvPicPr>
          <p:nvPr/>
        </p:nvPicPr>
        <p:blipFill>
          <a:blip r:embed="rId5"/>
          <a:stretch>
            <a:fillRect/>
          </a:stretch>
        </p:blipFill>
        <p:spPr>
          <a:xfrm>
            <a:off x="6282980" y="746836"/>
            <a:ext cx="5327649" cy="5615089"/>
          </a:xfrm>
          <a:prstGeom prst="rect">
            <a:avLst/>
          </a:prstGeom>
        </p:spPr>
      </p:pic>
      <p:sp>
        <p:nvSpPr>
          <p:cNvPr id="11" name="Elipse 10">
            <a:extLst>
              <a:ext uri="{FF2B5EF4-FFF2-40B4-BE49-F238E27FC236}">
                <a16:creationId xmlns:a16="http://schemas.microsoft.com/office/drawing/2014/main" id="{E6A51E45-C012-3182-F39A-028BF19DF0A7}"/>
              </a:ext>
            </a:extLst>
          </p:cNvPr>
          <p:cNvSpPr/>
          <p:nvPr/>
        </p:nvSpPr>
        <p:spPr>
          <a:xfrm>
            <a:off x="8423309" y="1768474"/>
            <a:ext cx="1020309" cy="653912"/>
          </a:xfrm>
          <a:prstGeom prst="ellipse">
            <a:avLst/>
          </a:prstGeom>
          <a:noFill/>
          <a:ln w="2857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026" name="Picture 2" descr="New - Free signs icons">
            <a:extLst>
              <a:ext uri="{FF2B5EF4-FFF2-40B4-BE49-F238E27FC236}">
                <a16:creationId xmlns:a16="http://schemas.microsoft.com/office/drawing/2014/main" id="{CFB369F2-D95C-A1DD-A09F-A8BBEA339D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52479" y="1517824"/>
            <a:ext cx="653912" cy="653912"/>
          </a:xfrm>
          <a:prstGeom prst="rect">
            <a:avLst/>
          </a:prstGeom>
          <a:noFill/>
          <a:extLst>
            <a:ext uri="{909E8E84-426E-40DD-AFC4-6F175D3DCCD1}">
              <a14:hiddenFill xmlns:a14="http://schemas.microsoft.com/office/drawing/2010/main">
                <a:solidFill>
                  <a:srgbClr val="FFFFFF"/>
                </a:solidFill>
              </a14:hiddenFill>
            </a:ext>
          </a:extLst>
        </p:spPr>
      </p:pic>
      <p:sp>
        <p:nvSpPr>
          <p:cNvPr id="15" name="CuadroTexto 14">
            <a:extLst>
              <a:ext uri="{FF2B5EF4-FFF2-40B4-BE49-F238E27FC236}">
                <a16:creationId xmlns:a16="http://schemas.microsoft.com/office/drawing/2014/main" id="{3062A244-9C03-0FCE-53AE-D4167F09EE86}"/>
              </a:ext>
            </a:extLst>
          </p:cNvPr>
          <p:cNvSpPr txBox="1"/>
          <p:nvPr/>
        </p:nvSpPr>
        <p:spPr>
          <a:xfrm>
            <a:off x="1556886" y="6274888"/>
            <a:ext cx="4439891" cy="338554"/>
          </a:xfrm>
          <a:prstGeom prst="rect">
            <a:avLst/>
          </a:prstGeom>
          <a:noFill/>
        </p:spPr>
        <p:txBody>
          <a:bodyPr wrap="square" rtlCol="0">
            <a:spAutoFit/>
          </a:bodyPr>
          <a:lstStyle/>
          <a:p>
            <a:r>
              <a:rPr lang="es-ES" sz="800" dirty="0">
                <a:solidFill>
                  <a:schemeClr val="accent1"/>
                </a:solidFill>
              </a:rPr>
              <a:t>ABPM: </a:t>
            </a:r>
            <a:r>
              <a:rPr lang="es-ES" sz="800" dirty="0" err="1">
                <a:solidFill>
                  <a:schemeClr val="accent1"/>
                </a:solidFill>
              </a:rPr>
              <a:t>ambulatory</a:t>
            </a:r>
            <a:r>
              <a:rPr lang="es-ES" sz="800" dirty="0">
                <a:solidFill>
                  <a:schemeClr val="accent1"/>
                </a:solidFill>
              </a:rPr>
              <a:t> </a:t>
            </a:r>
            <a:r>
              <a:rPr lang="es-ES" sz="800" dirty="0" err="1">
                <a:solidFill>
                  <a:schemeClr val="accent1"/>
                </a:solidFill>
              </a:rPr>
              <a:t>blood</a:t>
            </a:r>
            <a:r>
              <a:rPr lang="es-ES" sz="800" dirty="0">
                <a:solidFill>
                  <a:schemeClr val="accent1"/>
                </a:solidFill>
              </a:rPr>
              <a:t> </a:t>
            </a:r>
            <a:r>
              <a:rPr lang="es-ES" sz="800" dirty="0" err="1">
                <a:solidFill>
                  <a:schemeClr val="accent1"/>
                </a:solidFill>
              </a:rPr>
              <a:t>pressure</a:t>
            </a:r>
            <a:r>
              <a:rPr lang="es-ES" sz="800" dirty="0">
                <a:solidFill>
                  <a:schemeClr val="accent1"/>
                </a:solidFill>
              </a:rPr>
              <a:t> </a:t>
            </a:r>
            <a:r>
              <a:rPr lang="es-ES" sz="800" dirty="0" err="1">
                <a:solidFill>
                  <a:schemeClr val="accent1"/>
                </a:solidFill>
              </a:rPr>
              <a:t>monitoring</a:t>
            </a:r>
            <a:r>
              <a:rPr lang="es-ES" sz="800" dirty="0">
                <a:solidFill>
                  <a:schemeClr val="accent1"/>
                </a:solidFill>
              </a:rPr>
              <a:t>; BP: </a:t>
            </a:r>
            <a:r>
              <a:rPr lang="es-ES" sz="800" dirty="0" err="1">
                <a:solidFill>
                  <a:schemeClr val="accent1"/>
                </a:solidFill>
              </a:rPr>
              <a:t>blood</a:t>
            </a:r>
            <a:r>
              <a:rPr lang="es-ES" sz="800" dirty="0">
                <a:solidFill>
                  <a:schemeClr val="accent1"/>
                </a:solidFill>
              </a:rPr>
              <a:t> </a:t>
            </a:r>
            <a:r>
              <a:rPr lang="es-ES" sz="800" dirty="0" err="1">
                <a:solidFill>
                  <a:schemeClr val="accent1"/>
                </a:solidFill>
              </a:rPr>
              <a:t>pressure</a:t>
            </a:r>
            <a:r>
              <a:rPr lang="es-ES" sz="800" dirty="0">
                <a:solidFill>
                  <a:schemeClr val="accent1"/>
                </a:solidFill>
              </a:rPr>
              <a:t>; DBP: </a:t>
            </a:r>
            <a:r>
              <a:rPr lang="es-ES" sz="800" dirty="0" err="1">
                <a:solidFill>
                  <a:schemeClr val="accent1"/>
                </a:solidFill>
              </a:rPr>
              <a:t>diastolic</a:t>
            </a:r>
            <a:r>
              <a:rPr lang="es-ES" sz="800" dirty="0">
                <a:solidFill>
                  <a:schemeClr val="accent1"/>
                </a:solidFill>
              </a:rPr>
              <a:t> </a:t>
            </a:r>
            <a:r>
              <a:rPr lang="es-ES" sz="800" dirty="0" err="1">
                <a:solidFill>
                  <a:schemeClr val="accent1"/>
                </a:solidFill>
              </a:rPr>
              <a:t>blood</a:t>
            </a:r>
            <a:r>
              <a:rPr lang="es-ES" sz="800" dirty="0">
                <a:solidFill>
                  <a:schemeClr val="accent1"/>
                </a:solidFill>
              </a:rPr>
              <a:t> </a:t>
            </a:r>
            <a:r>
              <a:rPr lang="es-ES" sz="800" dirty="0" err="1">
                <a:solidFill>
                  <a:schemeClr val="accent1"/>
                </a:solidFill>
              </a:rPr>
              <a:t>pressure</a:t>
            </a:r>
            <a:r>
              <a:rPr lang="es-ES" sz="800" dirty="0">
                <a:solidFill>
                  <a:schemeClr val="accent1"/>
                </a:solidFill>
              </a:rPr>
              <a:t>; HBPM: home </a:t>
            </a:r>
            <a:r>
              <a:rPr lang="es-ES" sz="800" dirty="0" err="1">
                <a:solidFill>
                  <a:schemeClr val="accent1"/>
                </a:solidFill>
              </a:rPr>
              <a:t>blood</a:t>
            </a:r>
            <a:r>
              <a:rPr lang="es-ES" sz="800" dirty="0">
                <a:solidFill>
                  <a:schemeClr val="accent1"/>
                </a:solidFill>
              </a:rPr>
              <a:t> </a:t>
            </a:r>
            <a:r>
              <a:rPr lang="es-ES" sz="800" dirty="0" err="1">
                <a:solidFill>
                  <a:schemeClr val="accent1"/>
                </a:solidFill>
              </a:rPr>
              <a:t>pressure</a:t>
            </a:r>
            <a:r>
              <a:rPr lang="es-ES" sz="800" dirty="0">
                <a:solidFill>
                  <a:schemeClr val="accent1"/>
                </a:solidFill>
              </a:rPr>
              <a:t> </a:t>
            </a:r>
            <a:r>
              <a:rPr lang="es-ES" sz="800" dirty="0" err="1">
                <a:solidFill>
                  <a:schemeClr val="accent1"/>
                </a:solidFill>
              </a:rPr>
              <a:t>monitoring</a:t>
            </a:r>
            <a:r>
              <a:rPr lang="es-ES" sz="800" dirty="0">
                <a:solidFill>
                  <a:schemeClr val="accent1"/>
                </a:solidFill>
              </a:rPr>
              <a:t>; SBP: </a:t>
            </a:r>
            <a:r>
              <a:rPr lang="es-ES" sz="800" dirty="0" err="1">
                <a:solidFill>
                  <a:schemeClr val="accent1"/>
                </a:solidFill>
              </a:rPr>
              <a:t>systolic</a:t>
            </a:r>
            <a:r>
              <a:rPr lang="es-ES" sz="800" dirty="0">
                <a:solidFill>
                  <a:schemeClr val="accent1"/>
                </a:solidFill>
              </a:rPr>
              <a:t> </a:t>
            </a:r>
            <a:r>
              <a:rPr lang="es-ES" sz="800" dirty="0" err="1">
                <a:solidFill>
                  <a:schemeClr val="accent1"/>
                </a:solidFill>
              </a:rPr>
              <a:t>blood</a:t>
            </a:r>
            <a:r>
              <a:rPr lang="es-ES" sz="800" dirty="0">
                <a:solidFill>
                  <a:schemeClr val="accent1"/>
                </a:solidFill>
              </a:rPr>
              <a:t> </a:t>
            </a:r>
            <a:r>
              <a:rPr lang="es-ES" sz="800" dirty="0" err="1">
                <a:solidFill>
                  <a:schemeClr val="accent1"/>
                </a:solidFill>
              </a:rPr>
              <a:t>pressure</a:t>
            </a:r>
            <a:r>
              <a:rPr lang="es-ES" sz="800" dirty="0">
                <a:solidFill>
                  <a:schemeClr val="accent1"/>
                </a:solidFill>
              </a:rPr>
              <a:t>.</a:t>
            </a:r>
          </a:p>
        </p:txBody>
      </p:sp>
      <p:sp>
        <p:nvSpPr>
          <p:cNvPr id="18" name="CuadroTexto 17">
            <a:extLst>
              <a:ext uri="{FF2B5EF4-FFF2-40B4-BE49-F238E27FC236}">
                <a16:creationId xmlns:a16="http://schemas.microsoft.com/office/drawing/2014/main" id="{14830597-C5CF-5B18-0252-335FED34BACC}"/>
              </a:ext>
            </a:extLst>
          </p:cNvPr>
          <p:cNvSpPr txBox="1"/>
          <p:nvPr/>
        </p:nvSpPr>
        <p:spPr>
          <a:xfrm>
            <a:off x="6608885" y="6329287"/>
            <a:ext cx="4439891" cy="178149"/>
          </a:xfrm>
          <a:prstGeom prst="rect">
            <a:avLst/>
          </a:prstGeom>
        </p:spPr>
        <p:txBody>
          <a:bodyPr/>
          <a:lstStyle>
            <a:defPPr>
              <a:defRPr lang="es-ES"/>
            </a:defPPr>
            <a:lvl1pPr indent="0" algn="ctr" defTabSz="914377">
              <a:lnSpc>
                <a:spcPct val="90000"/>
              </a:lnSpc>
              <a:spcBef>
                <a:spcPts val="1000"/>
              </a:spcBef>
              <a:buFont typeface="Arial" panose="020B0604020202020204" pitchFamily="34" charset="0"/>
              <a:buNone/>
              <a:defRPr sz="1200">
                <a:solidFill>
                  <a:schemeClr val="accent1"/>
                </a:solidFill>
              </a:defRPr>
            </a:lvl1pPr>
            <a:lvl2pPr marL="685783" indent="-228594" defTabSz="914377">
              <a:lnSpc>
                <a:spcPct val="90000"/>
              </a:lnSpc>
              <a:spcBef>
                <a:spcPts val="500"/>
              </a:spcBef>
              <a:buFont typeface="Arial" panose="020B0604020202020204" pitchFamily="34" charset="0"/>
              <a:buChar char="•"/>
              <a:defRPr sz="2400"/>
            </a:lvl2pPr>
            <a:lvl3pPr marL="1142971" indent="-228594" defTabSz="914377">
              <a:lnSpc>
                <a:spcPct val="90000"/>
              </a:lnSpc>
              <a:spcBef>
                <a:spcPts val="500"/>
              </a:spcBef>
              <a:buFont typeface="Arial" panose="020B0604020202020204" pitchFamily="34" charset="0"/>
              <a:buChar char="•"/>
              <a:defRPr sz="2000"/>
            </a:lvl3pPr>
            <a:lvl4pPr marL="1600160" indent="-228594" defTabSz="914377">
              <a:lnSpc>
                <a:spcPct val="90000"/>
              </a:lnSpc>
              <a:spcBef>
                <a:spcPts val="500"/>
              </a:spcBef>
              <a:buFont typeface="Arial" panose="020B0604020202020204" pitchFamily="34" charset="0"/>
              <a:buChar char="•"/>
            </a:lvl4pPr>
            <a:lvl5pPr marL="2057349" indent="-228594" defTabSz="914377">
              <a:lnSpc>
                <a:spcPct val="90000"/>
              </a:lnSpc>
              <a:spcBef>
                <a:spcPts val="500"/>
              </a:spcBef>
              <a:buFont typeface="Arial" panose="020B0604020202020204" pitchFamily="34" charset="0"/>
              <a:buChar cha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r>
              <a:rPr lang="es-ES" sz="1000" dirty="0"/>
              <a:t>Guía ESC 2024 Presión arterial elevada e Hipertensión arterial</a:t>
            </a:r>
          </a:p>
        </p:txBody>
      </p:sp>
      <p:sp>
        <p:nvSpPr>
          <p:cNvPr id="22" name="CuadroTexto 21">
            <a:extLst>
              <a:ext uri="{FF2B5EF4-FFF2-40B4-BE49-F238E27FC236}">
                <a16:creationId xmlns:a16="http://schemas.microsoft.com/office/drawing/2014/main" id="{7C1226D0-3629-A8D1-D4A9-91B980EEBF91}"/>
              </a:ext>
            </a:extLst>
          </p:cNvPr>
          <p:cNvSpPr txBox="1"/>
          <p:nvPr/>
        </p:nvSpPr>
        <p:spPr>
          <a:xfrm>
            <a:off x="6592324" y="6487341"/>
            <a:ext cx="4439891" cy="307777"/>
          </a:xfrm>
          <a:prstGeom prst="rect">
            <a:avLst/>
          </a:prstGeom>
          <a:noFill/>
        </p:spPr>
        <p:txBody>
          <a:bodyPr wrap="square" rtlCol="0">
            <a:spAutoFit/>
          </a:bodyPr>
          <a:lstStyle>
            <a:defPPr>
              <a:defRPr lang="es-ES"/>
            </a:defPPr>
            <a:lvl1pPr>
              <a:defRPr sz="700" b="0" i="1">
                <a:solidFill>
                  <a:schemeClr val="accent1"/>
                </a:solidFill>
                <a:effectLst/>
              </a:defRPr>
            </a:lvl1pPr>
          </a:lstStyle>
          <a:p>
            <a:pPr algn="ctr"/>
            <a:r>
              <a:rPr lang="en-US" dirty="0"/>
              <a:t>2. McEvoy JW, et al. 2024 ESC Guidelines for the management of elevated blood pressure and hypertension. </a:t>
            </a:r>
            <a:r>
              <a:rPr lang="en-US" dirty="0" err="1"/>
              <a:t>Eur</a:t>
            </a:r>
            <a:r>
              <a:rPr lang="en-US" dirty="0"/>
              <a:t> Heart J. 2024 Oct 7;45(38):3912-4018. </a:t>
            </a:r>
            <a:r>
              <a:rPr lang="en-US" dirty="0" err="1"/>
              <a:t>doi</a:t>
            </a:r>
            <a:r>
              <a:rPr lang="en-US" dirty="0"/>
              <a:t>: 10.1093/</a:t>
            </a:r>
            <a:r>
              <a:rPr lang="en-US" dirty="0" err="1"/>
              <a:t>eurheartj</a:t>
            </a:r>
            <a:r>
              <a:rPr lang="en-US" dirty="0"/>
              <a:t>/ehae178.</a:t>
            </a:r>
          </a:p>
        </p:txBody>
      </p:sp>
      <p:sp>
        <p:nvSpPr>
          <p:cNvPr id="5" name="CuadroTexto 4">
            <a:extLst>
              <a:ext uri="{FF2B5EF4-FFF2-40B4-BE49-F238E27FC236}">
                <a16:creationId xmlns:a16="http://schemas.microsoft.com/office/drawing/2014/main" id="{2E187447-C3D5-661F-49BB-A1786AB82230}"/>
              </a:ext>
            </a:extLst>
          </p:cNvPr>
          <p:cNvSpPr txBox="1"/>
          <p:nvPr/>
        </p:nvSpPr>
        <p:spPr>
          <a:xfrm>
            <a:off x="1102237" y="5363244"/>
            <a:ext cx="4817970" cy="307777"/>
          </a:xfrm>
          <a:prstGeom prst="rect">
            <a:avLst/>
          </a:prstGeom>
          <a:noFill/>
        </p:spPr>
        <p:txBody>
          <a:bodyPr wrap="square" rtlCol="0">
            <a:spAutoFit/>
          </a:bodyPr>
          <a:lstStyle>
            <a:defPPr>
              <a:defRPr lang="es-ES"/>
            </a:defPPr>
            <a:lvl1pPr algn="ctr">
              <a:defRPr sz="700" b="0" i="1">
                <a:solidFill>
                  <a:schemeClr val="accent1"/>
                </a:solidFill>
                <a:effectLst/>
              </a:defRPr>
            </a:lvl1pPr>
          </a:lstStyle>
          <a:p>
            <a:r>
              <a:rPr lang="en-US" dirty="0"/>
              <a:t>1. Williams B, et al. 2018 ESC/ESH Guidelines for the management of arterial hypertension. </a:t>
            </a:r>
            <a:r>
              <a:rPr lang="en-US" dirty="0" err="1"/>
              <a:t>Eur</a:t>
            </a:r>
            <a:r>
              <a:rPr lang="en-US" dirty="0"/>
              <a:t> Heart J. 2018 Sep 1;39(33):3021-3104. </a:t>
            </a:r>
            <a:r>
              <a:rPr lang="en-US" dirty="0" err="1"/>
              <a:t>doi</a:t>
            </a:r>
            <a:r>
              <a:rPr lang="en-US" dirty="0"/>
              <a:t>: 10.1093/</a:t>
            </a:r>
            <a:r>
              <a:rPr lang="en-US" dirty="0" err="1"/>
              <a:t>eurheartj</a:t>
            </a:r>
            <a:r>
              <a:rPr lang="en-US" dirty="0"/>
              <a:t>/ehy339.</a:t>
            </a:r>
            <a:endParaRPr lang="es-ES" dirty="0"/>
          </a:p>
        </p:txBody>
      </p:sp>
      <p:sp>
        <p:nvSpPr>
          <p:cNvPr id="3" name="CuadroTexto 2">
            <a:extLst>
              <a:ext uri="{FF2B5EF4-FFF2-40B4-BE49-F238E27FC236}">
                <a16:creationId xmlns:a16="http://schemas.microsoft.com/office/drawing/2014/main" id="{A50DBADA-B6BF-1645-14FE-703CF4B18583}"/>
              </a:ext>
            </a:extLst>
          </p:cNvPr>
          <p:cNvSpPr txBox="1"/>
          <p:nvPr/>
        </p:nvSpPr>
        <p:spPr>
          <a:xfrm rot="16200000">
            <a:off x="10633273" y="3376069"/>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31954703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405D4E-ACA7-D101-BA6E-4FDC325E35DB}"/>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C998D710-5ECF-B132-09EB-1A7D8DA7805D}"/>
              </a:ext>
            </a:extLst>
          </p:cNvPr>
          <p:cNvSpPr>
            <a:spLocks noGrp="1"/>
          </p:cNvSpPr>
          <p:nvPr>
            <p:ph type="body" sz="quarter" idx="24"/>
          </p:nvPr>
        </p:nvSpPr>
        <p:spPr/>
        <p:txBody>
          <a:bodyPr/>
          <a:lstStyle/>
          <a:p>
            <a:endParaRPr lang="es-ES" dirty="0"/>
          </a:p>
        </p:txBody>
      </p:sp>
      <p:sp>
        <p:nvSpPr>
          <p:cNvPr id="6" name="Marcador de número de diapositiva 5">
            <a:extLst>
              <a:ext uri="{FF2B5EF4-FFF2-40B4-BE49-F238E27FC236}">
                <a16:creationId xmlns:a16="http://schemas.microsoft.com/office/drawing/2014/main" id="{C9F8A1EF-B445-1007-E9FC-72087CBD2E86}"/>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sp>
        <p:nvSpPr>
          <p:cNvPr id="12" name="6 CuadroTexto">
            <a:extLst>
              <a:ext uri="{FF2B5EF4-FFF2-40B4-BE49-F238E27FC236}">
                <a16:creationId xmlns:a16="http://schemas.microsoft.com/office/drawing/2014/main" id="{5F637B2D-8765-188E-3D9C-592C3437C4BC}"/>
              </a:ext>
            </a:extLst>
          </p:cNvPr>
          <p:cNvSpPr txBox="1"/>
          <p:nvPr/>
        </p:nvSpPr>
        <p:spPr>
          <a:xfrm>
            <a:off x="6558887" y="2491025"/>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Título 3">
            <a:extLst>
              <a:ext uri="{FF2B5EF4-FFF2-40B4-BE49-F238E27FC236}">
                <a16:creationId xmlns:a16="http://schemas.microsoft.com/office/drawing/2014/main" id="{BD644407-F97C-8650-721B-4DB11EA87424}"/>
              </a:ext>
            </a:extLst>
          </p:cNvPr>
          <p:cNvSpPr txBox="1">
            <a:spLocks/>
          </p:cNvSpPr>
          <p:nvPr/>
        </p:nvSpPr>
        <p:spPr>
          <a:xfrm>
            <a:off x="6095999" y="4733370"/>
            <a:ext cx="2079181" cy="595032"/>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_tradnl" sz="2800" dirty="0"/>
              <a:t>Prevención</a:t>
            </a:r>
            <a:endParaRPr lang="es-ES" sz="2800" dirty="0"/>
          </a:p>
        </p:txBody>
      </p:sp>
      <p:pic>
        <p:nvPicPr>
          <p:cNvPr id="8" name="Imagen 7">
            <a:extLst>
              <a:ext uri="{FF2B5EF4-FFF2-40B4-BE49-F238E27FC236}">
                <a16:creationId xmlns:a16="http://schemas.microsoft.com/office/drawing/2014/main" id="{E06B9B58-8AF8-9439-9C06-87800C2565DB}"/>
              </a:ext>
            </a:extLst>
          </p:cNvPr>
          <p:cNvPicPr>
            <a:picLocks noChangeAspect="1"/>
          </p:cNvPicPr>
          <p:nvPr/>
        </p:nvPicPr>
        <p:blipFill>
          <a:blip r:embed="rId3"/>
          <a:stretch>
            <a:fillRect/>
          </a:stretch>
        </p:blipFill>
        <p:spPr>
          <a:xfrm>
            <a:off x="1042947" y="829093"/>
            <a:ext cx="4539492" cy="4533964"/>
          </a:xfrm>
          <a:prstGeom prst="rect">
            <a:avLst/>
          </a:prstGeom>
        </p:spPr>
      </p:pic>
      <p:pic>
        <p:nvPicPr>
          <p:cNvPr id="14" name="Imagen 13">
            <a:extLst>
              <a:ext uri="{FF2B5EF4-FFF2-40B4-BE49-F238E27FC236}">
                <a16:creationId xmlns:a16="http://schemas.microsoft.com/office/drawing/2014/main" id="{69C8EBB3-3DC0-4450-73AC-43BC204C5A2A}"/>
              </a:ext>
            </a:extLst>
          </p:cNvPr>
          <p:cNvPicPr>
            <a:picLocks noChangeAspect="1"/>
          </p:cNvPicPr>
          <p:nvPr/>
        </p:nvPicPr>
        <p:blipFill>
          <a:blip r:embed="rId4"/>
          <a:stretch>
            <a:fillRect/>
          </a:stretch>
        </p:blipFill>
        <p:spPr>
          <a:xfrm>
            <a:off x="5979210" y="798124"/>
            <a:ext cx="5236681" cy="3787775"/>
          </a:xfrm>
          <a:prstGeom prst="rect">
            <a:avLst/>
          </a:prstGeom>
        </p:spPr>
      </p:pic>
      <p:sp>
        <p:nvSpPr>
          <p:cNvPr id="15" name="CuadroTexto 14">
            <a:extLst>
              <a:ext uri="{FF2B5EF4-FFF2-40B4-BE49-F238E27FC236}">
                <a16:creationId xmlns:a16="http://schemas.microsoft.com/office/drawing/2014/main" id="{F2C3D61A-250D-B963-1409-DACAAC1F8C1E}"/>
              </a:ext>
            </a:extLst>
          </p:cNvPr>
          <p:cNvSpPr txBox="1"/>
          <p:nvPr/>
        </p:nvSpPr>
        <p:spPr>
          <a:xfrm>
            <a:off x="6026204" y="5130457"/>
            <a:ext cx="5375803" cy="1015663"/>
          </a:xfrm>
          <a:prstGeom prst="rect">
            <a:avLst/>
          </a:prstGeom>
          <a:noFill/>
          <a:ln w="19050">
            <a:solidFill>
              <a:schemeClr val="accent4"/>
            </a:solidFill>
          </a:ln>
        </p:spPr>
        <p:txBody>
          <a:bodyPr wrap="square" rtlCol="0">
            <a:spAutoFit/>
          </a:bodyPr>
          <a:lstStyle/>
          <a:p>
            <a:pPr marL="228600" indent="-228600" algn="just">
              <a:buAutoNum type="arabicParenR"/>
            </a:pPr>
            <a:r>
              <a:rPr lang="es-ES" sz="1150" dirty="0">
                <a:solidFill>
                  <a:schemeClr val="accent1"/>
                </a:solidFill>
              </a:rPr>
              <a:t>Mejorar la calidad de vida.</a:t>
            </a:r>
          </a:p>
          <a:p>
            <a:pPr marL="228600" indent="-228600" algn="just">
              <a:buAutoNum type="arabicParenR"/>
            </a:pPr>
            <a:r>
              <a:rPr lang="es-ES" sz="1150" dirty="0">
                <a:solidFill>
                  <a:schemeClr val="accent1"/>
                </a:solidFill>
              </a:rPr>
              <a:t>Reducir el daño de órgano diana.</a:t>
            </a:r>
          </a:p>
          <a:p>
            <a:pPr marL="228600" indent="-228600" algn="just">
              <a:buAutoNum type="arabicParenR"/>
            </a:pPr>
            <a:r>
              <a:rPr lang="es-ES" sz="1150" dirty="0">
                <a:solidFill>
                  <a:schemeClr val="accent1"/>
                </a:solidFill>
              </a:rPr>
              <a:t>Prevención de enfermedad cardiovascular (ECV), accidente cerebrovascular (ACV), enfermedad renal crónica (ERC) y demencia vascular.</a:t>
            </a:r>
          </a:p>
          <a:p>
            <a:pPr marL="228600" indent="-228600" algn="just">
              <a:buAutoNum type="arabicParenR"/>
            </a:pPr>
            <a:r>
              <a:rPr lang="es-ES" sz="1150" dirty="0">
                <a:solidFill>
                  <a:schemeClr val="accent1"/>
                </a:solidFill>
              </a:rPr>
              <a:t>Prevenir la muerte prematura.</a:t>
            </a:r>
          </a:p>
        </p:txBody>
      </p:sp>
      <p:sp>
        <p:nvSpPr>
          <p:cNvPr id="3" name="CuadroTexto 2">
            <a:extLst>
              <a:ext uri="{FF2B5EF4-FFF2-40B4-BE49-F238E27FC236}">
                <a16:creationId xmlns:a16="http://schemas.microsoft.com/office/drawing/2014/main" id="{3DBF5341-7A1E-77DC-94A6-E1A65F7C1048}"/>
              </a:ext>
            </a:extLst>
          </p:cNvPr>
          <p:cNvSpPr txBox="1"/>
          <p:nvPr/>
        </p:nvSpPr>
        <p:spPr>
          <a:xfrm>
            <a:off x="1127065" y="447897"/>
            <a:ext cx="3816263" cy="276999"/>
          </a:xfrm>
          <a:prstGeom prst="rect">
            <a:avLst/>
          </a:prstGeom>
          <a:solidFill>
            <a:schemeClr val="accent2"/>
          </a:solidFill>
          <a:ln w="19050">
            <a:solidFill>
              <a:schemeClr val="accent4"/>
            </a:solidFill>
          </a:ln>
        </p:spPr>
        <p:txBody>
          <a:bodyPr wrap="square" rtlCol="0">
            <a:spAutoFit/>
          </a:bodyPr>
          <a:lstStyle/>
          <a:p>
            <a:pPr algn="ctr"/>
            <a:r>
              <a:rPr lang="es-ES" sz="1200" dirty="0">
                <a:solidFill>
                  <a:schemeClr val="accent1"/>
                </a:solidFill>
              </a:rPr>
              <a:t>Fisiopatología de la PA elevada y la hipertensión</a:t>
            </a:r>
            <a:r>
              <a:rPr lang="es-ES" sz="1200" baseline="30000" dirty="0">
                <a:solidFill>
                  <a:schemeClr val="accent1"/>
                </a:solidFill>
              </a:rPr>
              <a:t>1</a:t>
            </a:r>
            <a:r>
              <a:rPr lang="es-ES" sz="1200" dirty="0">
                <a:solidFill>
                  <a:schemeClr val="accent1"/>
                </a:solidFill>
              </a:rPr>
              <a:t> </a:t>
            </a:r>
          </a:p>
        </p:txBody>
      </p:sp>
      <p:sp>
        <p:nvSpPr>
          <p:cNvPr id="7" name="CuadroTexto 6">
            <a:extLst>
              <a:ext uri="{FF2B5EF4-FFF2-40B4-BE49-F238E27FC236}">
                <a16:creationId xmlns:a16="http://schemas.microsoft.com/office/drawing/2014/main" id="{BA5CC081-668B-722D-E14D-EFBCB93942B0}"/>
              </a:ext>
            </a:extLst>
          </p:cNvPr>
          <p:cNvSpPr txBox="1"/>
          <p:nvPr/>
        </p:nvSpPr>
        <p:spPr>
          <a:xfrm>
            <a:off x="6025682" y="434128"/>
            <a:ext cx="4368620" cy="276999"/>
          </a:xfrm>
          <a:prstGeom prst="rect">
            <a:avLst/>
          </a:prstGeom>
          <a:solidFill>
            <a:schemeClr val="accent2"/>
          </a:solidFill>
          <a:ln w="19050">
            <a:solidFill>
              <a:schemeClr val="accent4"/>
            </a:solidFill>
          </a:ln>
        </p:spPr>
        <p:txBody>
          <a:bodyPr wrap="square" rtlCol="0">
            <a:spAutoFit/>
          </a:bodyPr>
          <a:lstStyle/>
          <a:p>
            <a:pPr algn="ctr"/>
            <a:r>
              <a:rPr lang="es-ES" sz="1200" dirty="0">
                <a:solidFill>
                  <a:schemeClr val="accent1"/>
                </a:solidFill>
              </a:rPr>
              <a:t>Consecuencias clínicas: LOD, lesión de órganos diana</a:t>
            </a:r>
            <a:r>
              <a:rPr lang="es-ES" sz="1200" baseline="30000" dirty="0">
                <a:solidFill>
                  <a:schemeClr val="accent1"/>
                </a:solidFill>
              </a:rPr>
              <a:t>1</a:t>
            </a:r>
            <a:endParaRPr lang="es-ES" sz="1200" dirty="0">
              <a:solidFill>
                <a:schemeClr val="accent1"/>
              </a:solidFill>
            </a:endParaRPr>
          </a:p>
        </p:txBody>
      </p:sp>
      <p:sp>
        <p:nvSpPr>
          <p:cNvPr id="13" name="Rectángulo 12">
            <a:extLst>
              <a:ext uri="{FF2B5EF4-FFF2-40B4-BE49-F238E27FC236}">
                <a16:creationId xmlns:a16="http://schemas.microsoft.com/office/drawing/2014/main" id="{F75765E2-13C3-2AA0-D448-497D776EC905}"/>
              </a:ext>
            </a:extLst>
          </p:cNvPr>
          <p:cNvSpPr/>
          <p:nvPr/>
        </p:nvSpPr>
        <p:spPr>
          <a:xfrm>
            <a:off x="7904859" y="4813716"/>
            <a:ext cx="1329043" cy="2696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1050" dirty="0">
                <a:solidFill>
                  <a:schemeClr val="accent1"/>
                </a:solidFill>
              </a:rPr>
              <a:t>con el objetivo de</a:t>
            </a:r>
            <a:r>
              <a:rPr lang="es-ES" sz="1050" baseline="30000" dirty="0">
                <a:solidFill>
                  <a:schemeClr val="accent1"/>
                </a:solidFill>
              </a:rPr>
              <a:t>1</a:t>
            </a:r>
            <a:r>
              <a:rPr lang="es-ES" sz="1050" dirty="0">
                <a:solidFill>
                  <a:schemeClr val="accent1"/>
                </a:solidFill>
              </a:rPr>
              <a:t>:</a:t>
            </a:r>
          </a:p>
        </p:txBody>
      </p:sp>
      <p:sp>
        <p:nvSpPr>
          <p:cNvPr id="10" name="CuadroTexto 9">
            <a:extLst>
              <a:ext uri="{FF2B5EF4-FFF2-40B4-BE49-F238E27FC236}">
                <a16:creationId xmlns:a16="http://schemas.microsoft.com/office/drawing/2014/main" id="{A4A76BDA-E2F7-E604-B16B-98B28F28A218}"/>
              </a:ext>
            </a:extLst>
          </p:cNvPr>
          <p:cNvSpPr txBox="1"/>
          <p:nvPr/>
        </p:nvSpPr>
        <p:spPr>
          <a:xfrm>
            <a:off x="1042947" y="5697298"/>
            <a:ext cx="4651071" cy="415498"/>
          </a:xfrm>
          <a:prstGeom prst="rect">
            <a:avLst/>
          </a:prstGeom>
          <a:noFill/>
        </p:spPr>
        <p:txBody>
          <a:bodyPr wrap="square" rtlCol="0">
            <a:spAutoFit/>
          </a:bodyPr>
          <a:lstStyle/>
          <a:p>
            <a:r>
              <a:rPr lang="es-ES" sz="700" dirty="0">
                <a:solidFill>
                  <a:schemeClr val="accent1"/>
                </a:solidFill>
              </a:rPr>
              <a:t>AF: atrial </a:t>
            </a:r>
            <a:r>
              <a:rPr lang="es-ES" sz="700" dirty="0" err="1">
                <a:solidFill>
                  <a:schemeClr val="accent1"/>
                </a:solidFill>
              </a:rPr>
              <a:t>fibrillation</a:t>
            </a:r>
            <a:r>
              <a:rPr lang="es-ES" sz="700" dirty="0">
                <a:solidFill>
                  <a:schemeClr val="accent1"/>
                </a:solidFill>
              </a:rPr>
              <a:t>; BP: </a:t>
            </a:r>
            <a:r>
              <a:rPr lang="es-ES" sz="700" dirty="0" err="1">
                <a:solidFill>
                  <a:schemeClr val="accent1"/>
                </a:solidFill>
              </a:rPr>
              <a:t>blood</a:t>
            </a:r>
            <a:r>
              <a:rPr lang="es-ES" sz="700" dirty="0">
                <a:solidFill>
                  <a:schemeClr val="accent1"/>
                </a:solidFill>
              </a:rPr>
              <a:t> </a:t>
            </a:r>
            <a:r>
              <a:rPr lang="es-ES" sz="700" dirty="0" err="1">
                <a:solidFill>
                  <a:schemeClr val="accent1"/>
                </a:solidFill>
              </a:rPr>
              <a:t>pressure</a:t>
            </a:r>
            <a:r>
              <a:rPr lang="es-ES" sz="700" dirty="0">
                <a:solidFill>
                  <a:schemeClr val="accent1"/>
                </a:solidFill>
              </a:rPr>
              <a:t>; CAD: </a:t>
            </a:r>
            <a:r>
              <a:rPr lang="es-ES" sz="700" dirty="0" err="1">
                <a:solidFill>
                  <a:schemeClr val="accent1"/>
                </a:solidFill>
              </a:rPr>
              <a:t>coronary</a:t>
            </a:r>
            <a:r>
              <a:rPr lang="es-ES" sz="700" dirty="0">
                <a:solidFill>
                  <a:schemeClr val="accent1"/>
                </a:solidFill>
              </a:rPr>
              <a:t> </a:t>
            </a:r>
            <a:r>
              <a:rPr lang="es-ES" sz="700" dirty="0" err="1">
                <a:solidFill>
                  <a:schemeClr val="accent1"/>
                </a:solidFill>
              </a:rPr>
              <a:t>artery</a:t>
            </a:r>
            <a:r>
              <a:rPr lang="es-ES" sz="700" dirty="0">
                <a:solidFill>
                  <a:schemeClr val="accent1"/>
                </a:solidFill>
              </a:rPr>
              <a:t> </a:t>
            </a:r>
            <a:r>
              <a:rPr lang="es-ES" sz="700" dirty="0" err="1">
                <a:solidFill>
                  <a:schemeClr val="accent1"/>
                </a:solidFill>
              </a:rPr>
              <a:t>disease</a:t>
            </a:r>
            <a:r>
              <a:rPr lang="es-ES" sz="700" dirty="0">
                <a:solidFill>
                  <a:schemeClr val="accent1"/>
                </a:solidFill>
              </a:rPr>
              <a:t>; GFR: glomerular </a:t>
            </a:r>
            <a:r>
              <a:rPr lang="es-ES" sz="700" dirty="0" err="1">
                <a:solidFill>
                  <a:schemeClr val="accent1"/>
                </a:solidFill>
              </a:rPr>
              <a:t>filtration</a:t>
            </a:r>
            <a:r>
              <a:rPr lang="es-ES" sz="700" dirty="0">
                <a:solidFill>
                  <a:schemeClr val="accent1"/>
                </a:solidFill>
              </a:rPr>
              <a:t> </a:t>
            </a:r>
            <a:r>
              <a:rPr lang="es-ES" sz="700" dirty="0" err="1">
                <a:solidFill>
                  <a:schemeClr val="accent1"/>
                </a:solidFill>
              </a:rPr>
              <a:t>rate</a:t>
            </a:r>
            <a:r>
              <a:rPr lang="es-ES" sz="700" dirty="0">
                <a:solidFill>
                  <a:schemeClr val="accent1"/>
                </a:solidFill>
              </a:rPr>
              <a:t>; LA: </a:t>
            </a:r>
            <a:r>
              <a:rPr lang="es-ES" sz="700" dirty="0" err="1">
                <a:solidFill>
                  <a:schemeClr val="accent1"/>
                </a:solidFill>
              </a:rPr>
              <a:t>left</a:t>
            </a:r>
            <a:r>
              <a:rPr lang="es-ES" sz="700" dirty="0">
                <a:solidFill>
                  <a:schemeClr val="accent1"/>
                </a:solidFill>
              </a:rPr>
              <a:t> atrial; LV: </a:t>
            </a:r>
            <a:r>
              <a:rPr lang="es-ES" sz="700" dirty="0" err="1">
                <a:solidFill>
                  <a:schemeClr val="accent1"/>
                </a:solidFill>
              </a:rPr>
              <a:t>left</a:t>
            </a:r>
            <a:r>
              <a:rPr lang="es-ES" sz="700" dirty="0">
                <a:solidFill>
                  <a:schemeClr val="accent1"/>
                </a:solidFill>
              </a:rPr>
              <a:t> ventricular; LVH: </a:t>
            </a:r>
            <a:r>
              <a:rPr lang="es-ES" sz="700" dirty="0" err="1">
                <a:solidFill>
                  <a:schemeClr val="accent1"/>
                </a:solidFill>
              </a:rPr>
              <a:t>left</a:t>
            </a:r>
            <a:r>
              <a:rPr lang="es-ES" sz="700" dirty="0">
                <a:solidFill>
                  <a:schemeClr val="accent1"/>
                </a:solidFill>
              </a:rPr>
              <a:t> ventricular </a:t>
            </a:r>
            <a:r>
              <a:rPr lang="es-ES" sz="700" dirty="0" err="1">
                <a:solidFill>
                  <a:schemeClr val="accent1"/>
                </a:solidFill>
              </a:rPr>
              <a:t>hypertrophy</a:t>
            </a:r>
            <a:r>
              <a:rPr lang="es-ES" sz="700" dirty="0">
                <a:solidFill>
                  <a:schemeClr val="accent1"/>
                </a:solidFill>
              </a:rPr>
              <a:t>; PNS: </a:t>
            </a:r>
            <a:r>
              <a:rPr lang="es-ES" sz="700" dirty="0" err="1">
                <a:solidFill>
                  <a:schemeClr val="accent1"/>
                </a:solidFill>
              </a:rPr>
              <a:t>parasympathetic</a:t>
            </a:r>
            <a:r>
              <a:rPr lang="es-ES" sz="700" dirty="0">
                <a:solidFill>
                  <a:schemeClr val="accent1"/>
                </a:solidFill>
              </a:rPr>
              <a:t> </a:t>
            </a:r>
            <a:r>
              <a:rPr lang="es-ES" sz="700" dirty="0" err="1">
                <a:solidFill>
                  <a:schemeClr val="accent1"/>
                </a:solidFill>
              </a:rPr>
              <a:t>nervous</a:t>
            </a:r>
            <a:r>
              <a:rPr lang="es-ES" sz="700" dirty="0">
                <a:solidFill>
                  <a:schemeClr val="accent1"/>
                </a:solidFill>
              </a:rPr>
              <a:t> </a:t>
            </a:r>
            <a:r>
              <a:rPr lang="es-ES" sz="700" dirty="0" err="1">
                <a:solidFill>
                  <a:schemeClr val="accent1"/>
                </a:solidFill>
              </a:rPr>
              <a:t>system</a:t>
            </a:r>
            <a:r>
              <a:rPr lang="es-ES" sz="700" dirty="0">
                <a:solidFill>
                  <a:schemeClr val="accent1"/>
                </a:solidFill>
              </a:rPr>
              <a:t>; RAAS: </a:t>
            </a:r>
            <a:r>
              <a:rPr lang="es-ES" sz="700" dirty="0" err="1">
                <a:solidFill>
                  <a:schemeClr val="accent1"/>
                </a:solidFill>
              </a:rPr>
              <a:t>renin-angiotensin-aldosterone</a:t>
            </a:r>
            <a:r>
              <a:rPr lang="es-ES" sz="700" dirty="0">
                <a:solidFill>
                  <a:schemeClr val="accent1"/>
                </a:solidFill>
              </a:rPr>
              <a:t> </a:t>
            </a:r>
            <a:r>
              <a:rPr lang="es-ES" sz="700" dirty="0" err="1">
                <a:solidFill>
                  <a:schemeClr val="accent1"/>
                </a:solidFill>
              </a:rPr>
              <a:t>system</a:t>
            </a:r>
            <a:r>
              <a:rPr lang="es-ES" sz="700" dirty="0">
                <a:solidFill>
                  <a:schemeClr val="accent1"/>
                </a:solidFill>
              </a:rPr>
              <a:t>; SNP: single-</a:t>
            </a:r>
            <a:r>
              <a:rPr lang="es-ES" sz="700" dirty="0" err="1">
                <a:solidFill>
                  <a:schemeClr val="accent1"/>
                </a:solidFill>
              </a:rPr>
              <a:t>nucleotide</a:t>
            </a:r>
            <a:r>
              <a:rPr lang="es-ES" sz="700" dirty="0">
                <a:solidFill>
                  <a:schemeClr val="accent1"/>
                </a:solidFill>
              </a:rPr>
              <a:t> </a:t>
            </a:r>
            <a:r>
              <a:rPr lang="es-ES" sz="700" dirty="0" err="1">
                <a:solidFill>
                  <a:schemeClr val="accent1"/>
                </a:solidFill>
              </a:rPr>
              <a:t>polymorphism</a:t>
            </a:r>
            <a:r>
              <a:rPr lang="es-ES" sz="700" dirty="0">
                <a:solidFill>
                  <a:schemeClr val="accent1"/>
                </a:solidFill>
              </a:rPr>
              <a:t>; SNS: </a:t>
            </a:r>
            <a:r>
              <a:rPr lang="es-ES" sz="700" dirty="0" err="1">
                <a:solidFill>
                  <a:schemeClr val="accent1"/>
                </a:solidFill>
              </a:rPr>
              <a:t>sympathetic</a:t>
            </a:r>
            <a:r>
              <a:rPr lang="es-ES" sz="700" dirty="0">
                <a:solidFill>
                  <a:schemeClr val="accent1"/>
                </a:solidFill>
              </a:rPr>
              <a:t> </a:t>
            </a:r>
            <a:r>
              <a:rPr lang="es-ES" sz="700" dirty="0" err="1">
                <a:solidFill>
                  <a:schemeClr val="accent1"/>
                </a:solidFill>
              </a:rPr>
              <a:t>nervous</a:t>
            </a:r>
            <a:r>
              <a:rPr lang="es-ES" sz="700" dirty="0">
                <a:solidFill>
                  <a:schemeClr val="accent1"/>
                </a:solidFill>
              </a:rPr>
              <a:t> </a:t>
            </a:r>
            <a:r>
              <a:rPr lang="es-ES" sz="700" dirty="0" err="1">
                <a:solidFill>
                  <a:schemeClr val="accent1"/>
                </a:solidFill>
              </a:rPr>
              <a:t>system</a:t>
            </a:r>
            <a:r>
              <a:rPr lang="es-ES" sz="700" dirty="0">
                <a:solidFill>
                  <a:schemeClr val="accent1"/>
                </a:solidFill>
              </a:rPr>
              <a:t>.</a:t>
            </a:r>
          </a:p>
        </p:txBody>
      </p:sp>
      <p:pic>
        <p:nvPicPr>
          <p:cNvPr id="5" name="Imagen 4">
            <a:extLst>
              <a:ext uri="{FF2B5EF4-FFF2-40B4-BE49-F238E27FC236}">
                <a16:creationId xmlns:a16="http://schemas.microsoft.com/office/drawing/2014/main" id="{73DFAB86-6C3E-E7CE-384F-39BEE636AF02}"/>
              </a:ext>
            </a:extLst>
          </p:cNvPr>
          <p:cNvPicPr>
            <a:picLocks noChangeAspect="1"/>
          </p:cNvPicPr>
          <p:nvPr/>
        </p:nvPicPr>
        <p:blipFill>
          <a:blip r:embed="rId5"/>
          <a:stretch>
            <a:fillRect/>
          </a:stretch>
        </p:blipFill>
        <p:spPr>
          <a:xfrm>
            <a:off x="10623775" y="231972"/>
            <a:ext cx="1329043" cy="457240"/>
          </a:xfrm>
          <a:prstGeom prst="rect">
            <a:avLst/>
          </a:prstGeom>
        </p:spPr>
      </p:pic>
      <p:sp>
        <p:nvSpPr>
          <p:cNvPr id="11" name="CuadroTexto 10">
            <a:extLst>
              <a:ext uri="{FF2B5EF4-FFF2-40B4-BE49-F238E27FC236}">
                <a16:creationId xmlns:a16="http://schemas.microsoft.com/office/drawing/2014/main" id="{600A6401-D051-E749-438C-B978ECF262CC}"/>
              </a:ext>
            </a:extLst>
          </p:cNvPr>
          <p:cNvSpPr txBox="1"/>
          <p:nvPr/>
        </p:nvSpPr>
        <p:spPr>
          <a:xfrm>
            <a:off x="4189296" y="6396673"/>
            <a:ext cx="4439891" cy="178149"/>
          </a:xfrm>
          <a:prstGeom prst="rect">
            <a:avLst/>
          </a:prstGeom>
        </p:spPr>
        <p:txBody>
          <a:bodyPr/>
          <a:lstStyle>
            <a:defPPr>
              <a:defRPr lang="es-ES"/>
            </a:defPPr>
            <a:lvl1pPr indent="0" algn="ctr" defTabSz="914377">
              <a:lnSpc>
                <a:spcPct val="90000"/>
              </a:lnSpc>
              <a:spcBef>
                <a:spcPts val="1000"/>
              </a:spcBef>
              <a:buFont typeface="Arial" panose="020B0604020202020204" pitchFamily="34" charset="0"/>
              <a:buNone/>
              <a:defRPr sz="1200">
                <a:solidFill>
                  <a:schemeClr val="accent1"/>
                </a:solidFill>
              </a:defRPr>
            </a:lvl1pPr>
            <a:lvl2pPr marL="685783" indent="-228594" defTabSz="914377">
              <a:lnSpc>
                <a:spcPct val="90000"/>
              </a:lnSpc>
              <a:spcBef>
                <a:spcPts val="500"/>
              </a:spcBef>
              <a:buFont typeface="Arial" panose="020B0604020202020204" pitchFamily="34" charset="0"/>
              <a:buChar char="•"/>
              <a:defRPr sz="2400"/>
            </a:lvl2pPr>
            <a:lvl3pPr marL="1142971" indent="-228594" defTabSz="914377">
              <a:lnSpc>
                <a:spcPct val="90000"/>
              </a:lnSpc>
              <a:spcBef>
                <a:spcPts val="500"/>
              </a:spcBef>
              <a:buFont typeface="Arial" panose="020B0604020202020204" pitchFamily="34" charset="0"/>
              <a:buChar char="•"/>
              <a:defRPr sz="2000"/>
            </a:lvl3pPr>
            <a:lvl4pPr marL="1600160" indent="-228594" defTabSz="914377">
              <a:lnSpc>
                <a:spcPct val="90000"/>
              </a:lnSpc>
              <a:spcBef>
                <a:spcPts val="500"/>
              </a:spcBef>
              <a:buFont typeface="Arial" panose="020B0604020202020204" pitchFamily="34" charset="0"/>
              <a:buChar char="•"/>
            </a:lvl4pPr>
            <a:lvl5pPr marL="2057349" indent="-228594" defTabSz="914377">
              <a:lnSpc>
                <a:spcPct val="90000"/>
              </a:lnSpc>
              <a:spcBef>
                <a:spcPts val="500"/>
              </a:spcBef>
              <a:buFont typeface="Arial" panose="020B0604020202020204" pitchFamily="34" charset="0"/>
              <a:buChar cha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r>
              <a:rPr lang="es-ES" sz="1000" dirty="0"/>
              <a:t>Guía ESC 2024 Presión arterial elevada e Hipertensión arterial</a:t>
            </a:r>
          </a:p>
        </p:txBody>
      </p:sp>
      <p:sp>
        <p:nvSpPr>
          <p:cNvPr id="16" name="CuadroTexto 15">
            <a:extLst>
              <a:ext uri="{FF2B5EF4-FFF2-40B4-BE49-F238E27FC236}">
                <a16:creationId xmlns:a16="http://schemas.microsoft.com/office/drawing/2014/main" id="{E0F6C099-1805-7463-9CCA-A8FFF95D69EA}"/>
              </a:ext>
            </a:extLst>
          </p:cNvPr>
          <p:cNvSpPr txBox="1"/>
          <p:nvPr/>
        </p:nvSpPr>
        <p:spPr>
          <a:xfrm>
            <a:off x="1786270" y="6561772"/>
            <a:ext cx="9245945" cy="200055"/>
          </a:xfrm>
          <a:prstGeom prst="rect">
            <a:avLst/>
          </a:prstGeom>
          <a:noFill/>
        </p:spPr>
        <p:txBody>
          <a:bodyPr wrap="square" rtlCol="0">
            <a:spAutoFit/>
          </a:bodyPr>
          <a:lstStyle>
            <a:defPPr>
              <a:defRPr lang="es-ES"/>
            </a:defPPr>
            <a:lvl1pPr>
              <a:defRPr sz="700" b="0" i="1">
                <a:solidFill>
                  <a:schemeClr val="accent1"/>
                </a:solidFill>
                <a:effectLst/>
              </a:defRPr>
            </a:lvl1pPr>
          </a:lstStyle>
          <a:p>
            <a:pPr algn="ctr"/>
            <a:r>
              <a:rPr lang="en-US" dirty="0"/>
              <a:t>1. McEvoy JW, et al. 2024 ESC Guidelines for the management of elevated blood pressure and hypertension. </a:t>
            </a:r>
            <a:r>
              <a:rPr lang="en-US" dirty="0" err="1"/>
              <a:t>Eur</a:t>
            </a:r>
            <a:r>
              <a:rPr lang="en-US" dirty="0"/>
              <a:t> Heart J. 2024 Oct 7;45(38):3912-4018. </a:t>
            </a:r>
            <a:r>
              <a:rPr lang="en-US" dirty="0" err="1"/>
              <a:t>doi</a:t>
            </a:r>
            <a:r>
              <a:rPr lang="en-US" dirty="0"/>
              <a:t>: 10.1093/</a:t>
            </a:r>
            <a:r>
              <a:rPr lang="en-US" dirty="0" err="1"/>
              <a:t>eurheartj</a:t>
            </a:r>
            <a:r>
              <a:rPr lang="en-US" dirty="0"/>
              <a:t>/ehae178.</a:t>
            </a:r>
          </a:p>
        </p:txBody>
      </p:sp>
      <p:sp>
        <p:nvSpPr>
          <p:cNvPr id="19" name="CuadroTexto 18">
            <a:extLst>
              <a:ext uri="{FF2B5EF4-FFF2-40B4-BE49-F238E27FC236}">
                <a16:creationId xmlns:a16="http://schemas.microsoft.com/office/drawing/2014/main" id="{C474604A-F928-1323-C361-82B210217B5F}"/>
              </a:ext>
            </a:extLst>
          </p:cNvPr>
          <p:cNvSpPr txBox="1"/>
          <p:nvPr/>
        </p:nvSpPr>
        <p:spPr>
          <a:xfrm>
            <a:off x="2169044" y="5336368"/>
            <a:ext cx="3327992"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pPr algn="r"/>
            <a:r>
              <a:rPr lang="en-US" dirty="0" err="1"/>
              <a:t>Eur</a:t>
            </a:r>
            <a:r>
              <a:rPr lang="en-US" dirty="0"/>
              <a:t> Heart J. 2024 Oct 7;45(38):3912-4018</a:t>
            </a:r>
            <a:endParaRPr lang="es-ES" dirty="0"/>
          </a:p>
        </p:txBody>
      </p:sp>
      <p:sp>
        <p:nvSpPr>
          <p:cNvPr id="20" name="CuadroTexto 19">
            <a:extLst>
              <a:ext uri="{FF2B5EF4-FFF2-40B4-BE49-F238E27FC236}">
                <a16:creationId xmlns:a16="http://schemas.microsoft.com/office/drawing/2014/main" id="{D4203121-D386-57A4-3FC9-ECCB5E6D8000}"/>
              </a:ext>
            </a:extLst>
          </p:cNvPr>
          <p:cNvSpPr txBox="1"/>
          <p:nvPr/>
        </p:nvSpPr>
        <p:spPr>
          <a:xfrm>
            <a:off x="7904859" y="4572868"/>
            <a:ext cx="3327992"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pPr algn="r"/>
            <a:r>
              <a:rPr lang="en-US" dirty="0" err="1"/>
              <a:t>Eur</a:t>
            </a:r>
            <a:r>
              <a:rPr lang="en-US" dirty="0"/>
              <a:t> Heart J. 2024 Oct 7;45(38):3912-4018</a:t>
            </a:r>
            <a:endParaRPr lang="es-ES" dirty="0"/>
          </a:p>
        </p:txBody>
      </p:sp>
      <p:sp>
        <p:nvSpPr>
          <p:cNvPr id="2" name="CuadroTexto 1">
            <a:extLst>
              <a:ext uri="{FF2B5EF4-FFF2-40B4-BE49-F238E27FC236}">
                <a16:creationId xmlns:a16="http://schemas.microsoft.com/office/drawing/2014/main" id="{E70A01DE-D291-83E3-C47E-563555BFC889}"/>
              </a:ext>
            </a:extLst>
          </p:cNvPr>
          <p:cNvSpPr txBox="1"/>
          <p:nvPr/>
        </p:nvSpPr>
        <p:spPr>
          <a:xfrm rot="16200000">
            <a:off x="10633273" y="3376069"/>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25884385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texto 3">
            <a:extLst>
              <a:ext uri="{FF2B5EF4-FFF2-40B4-BE49-F238E27FC236}">
                <a16:creationId xmlns:a16="http://schemas.microsoft.com/office/drawing/2014/main" id="{092FE3D4-866F-057E-7854-F9470DA22AD1}"/>
              </a:ext>
            </a:extLst>
          </p:cNvPr>
          <p:cNvSpPr>
            <a:spLocks noGrp="1"/>
          </p:cNvSpPr>
          <p:nvPr>
            <p:ph type="body" sz="quarter" idx="24"/>
          </p:nvPr>
        </p:nvSpPr>
        <p:spPr/>
        <p:txBody>
          <a:bodyPr/>
          <a:lstStyle/>
          <a:p>
            <a:endParaRPr lang="es-ES" dirty="0"/>
          </a:p>
        </p:txBody>
      </p:sp>
      <p:sp>
        <p:nvSpPr>
          <p:cNvPr id="6" name="Marcador de número de diapositiva 5">
            <a:extLst>
              <a:ext uri="{FF2B5EF4-FFF2-40B4-BE49-F238E27FC236}">
                <a16:creationId xmlns:a16="http://schemas.microsoft.com/office/drawing/2014/main" id="{E3B1F6B6-5225-9A6B-8C25-CFBDB1A900F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sp>
        <p:nvSpPr>
          <p:cNvPr id="12" name="6 CuadroTexto">
            <a:extLst>
              <a:ext uri="{FF2B5EF4-FFF2-40B4-BE49-F238E27FC236}">
                <a16:creationId xmlns:a16="http://schemas.microsoft.com/office/drawing/2014/main" id="{F60EADDE-4923-5A2A-C1A0-A7302C6532FF}"/>
              </a:ext>
            </a:extLst>
          </p:cNvPr>
          <p:cNvSpPr txBox="1"/>
          <p:nvPr/>
        </p:nvSpPr>
        <p:spPr>
          <a:xfrm>
            <a:off x="6885497" y="3562763"/>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2" name="Imagen 1">
            <a:extLst>
              <a:ext uri="{FF2B5EF4-FFF2-40B4-BE49-F238E27FC236}">
                <a16:creationId xmlns:a16="http://schemas.microsoft.com/office/drawing/2014/main" id="{DE12DE72-083D-885E-5091-93328ADA1C9C}"/>
              </a:ext>
            </a:extLst>
          </p:cNvPr>
          <p:cNvPicPr>
            <a:picLocks noChangeAspect="1"/>
          </p:cNvPicPr>
          <p:nvPr/>
        </p:nvPicPr>
        <p:blipFill>
          <a:blip r:embed="rId3"/>
          <a:stretch>
            <a:fillRect/>
          </a:stretch>
        </p:blipFill>
        <p:spPr>
          <a:xfrm>
            <a:off x="10623775" y="231972"/>
            <a:ext cx="1329043" cy="457240"/>
          </a:xfrm>
          <a:prstGeom prst="rect">
            <a:avLst/>
          </a:prstGeom>
        </p:spPr>
      </p:pic>
      <p:sp>
        <p:nvSpPr>
          <p:cNvPr id="9" name="Título 3">
            <a:extLst>
              <a:ext uri="{FF2B5EF4-FFF2-40B4-BE49-F238E27FC236}">
                <a16:creationId xmlns:a16="http://schemas.microsoft.com/office/drawing/2014/main" id="{3F4975BB-E520-8704-F58B-D3DF35EAFAC7}"/>
              </a:ext>
            </a:extLst>
          </p:cNvPr>
          <p:cNvSpPr txBox="1">
            <a:spLocks/>
          </p:cNvSpPr>
          <p:nvPr/>
        </p:nvSpPr>
        <p:spPr>
          <a:xfrm>
            <a:off x="1137226" y="336607"/>
            <a:ext cx="5327649" cy="1469134"/>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_tradnl" sz="2800" dirty="0"/>
              <a:t>Diagnóstico (I)</a:t>
            </a:r>
            <a:endParaRPr lang="es-ES" sz="2800" dirty="0"/>
          </a:p>
        </p:txBody>
      </p:sp>
      <p:pic>
        <p:nvPicPr>
          <p:cNvPr id="14" name="Imagen 13">
            <a:extLst>
              <a:ext uri="{FF2B5EF4-FFF2-40B4-BE49-F238E27FC236}">
                <a16:creationId xmlns:a16="http://schemas.microsoft.com/office/drawing/2014/main" id="{B8180E8D-EC6E-5A09-623B-4401E9B54D9D}"/>
              </a:ext>
            </a:extLst>
          </p:cNvPr>
          <p:cNvPicPr>
            <a:picLocks noChangeAspect="1"/>
          </p:cNvPicPr>
          <p:nvPr/>
        </p:nvPicPr>
        <p:blipFill>
          <a:blip r:embed="rId4"/>
          <a:stretch>
            <a:fillRect/>
          </a:stretch>
        </p:blipFill>
        <p:spPr>
          <a:xfrm>
            <a:off x="851961" y="1814284"/>
            <a:ext cx="3600306" cy="4300965"/>
          </a:xfrm>
          <a:prstGeom prst="rect">
            <a:avLst/>
          </a:prstGeom>
        </p:spPr>
      </p:pic>
      <p:pic>
        <p:nvPicPr>
          <p:cNvPr id="16" name="Imagen 15">
            <a:extLst>
              <a:ext uri="{FF2B5EF4-FFF2-40B4-BE49-F238E27FC236}">
                <a16:creationId xmlns:a16="http://schemas.microsoft.com/office/drawing/2014/main" id="{40266A12-0074-E8AF-5D3D-7C66161B330D}"/>
              </a:ext>
            </a:extLst>
          </p:cNvPr>
          <p:cNvPicPr>
            <a:picLocks noChangeAspect="1"/>
          </p:cNvPicPr>
          <p:nvPr/>
        </p:nvPicPr>
        <p:blipFill>
          <a:blip r:embed="rId5"/>
          <a:stretch>
            <a:fillRect/>
          </a:stretch>
        </p:blipFill>
        <p:spPr>
          <a:xfrm>
            <a:off x="4452267" y="1817587"/>
            <a:ext cx="3600306" cy="4297662"/>
          </a:xfrm>
          <a:prstGeom prst="rect">
            <a:avLst/>
          </a:prstGeom>
        </p:spPr>
      </p:pic>
      <p:pic>
        <p:nvPicPr>
          <p:cNvPr id="18" name="Imagen 17">
            <a:extLst>
              <a:ext uri="{FF2B5EF4-FFF2-40B4-BE49-F238E27FC236}">
                <a16:creationId xmlns:a16="http://schemas.microsoft.com/office/drawing/2014/main" id="{CD3024A9-F6D6-4995-0284-44738C03FD2D}"/>
              </a:ext>
            </a:extLst>
          </p:cNvPr>
          <p:cNvPicPr>
            <a:picLocks noChangeAspect="1"/>
          </p:cNvPicPr>
          <p:nvPr/>
        </p:nvPicPr>
        <p:blipFill>
          <a:blip r:embed="rId6"/>
          <a:stretch>
            <a:fillRect/>
          </a:stretch>
        </p:blipFill>
        <p:spPr>
          <a:xfrm>
            <a:off x="8052573" y="2323183"/>
            <a:ext cx="4047403" cy="3283166"/>
          </a:xfrm>
          <a:prstGeom prst="rect">
            <a:avLst/>
          </a:prstGeom>
        </p:spPr>
      </p:pic>
      <p:sp>
        <p:nvSpPr>
          <p:cNvPr id="19" name="CuadroTexto 18">
            <a:extLst>
              <a:ext uri="{FF2B5EF4-FFF2-40B4-BE49-F238E27FC236}">
                <a16:creationId xmlns:a16="http://schemas.microsoft.com/office/drawing/2014/main" id="{3DFCDF62-958A-CEE2-64EE-A70EBEEC3EE7}"/>
              </a:ext>
            </a:extLst>
          </p:cNvPr>
          <p:cNvSpPr txBox="1"/>
          <p:nvPr/>
        </p:nvSpPr>
        <p:spPr>
          <a:xfrm>
            <a:off x="851961" y="813696"/>
            <a:ext cx="11100857" cy="830997"/>
          </a:xfrm>
          <a:prstGeom prst="rect">
            <a:avLst/>
          </a:prstGeom>
          <a:noFill/>
        </p:spPr>
        <p:txBody>
          <a:bodyPr wrap="square" rtlCol="0">
            <a:spAutoFit/>
          </a:bodyPr>
          <a:lstStyle/>
          <a:p>
            <a:pPr algn="just"/>
            <a:r>
              <a:rPr lang="es-ES" sz="1200" b="1" dirty="0">
                <a:solidFill>
                  <a:schemeClr val="accent1"/>
                </a:solidFill>
              </a:rPr>
              <a:t>¿Cómo determinar la presión arterial (PA) en los pacientes?</a:t>
            </a:r>
          </a:p>
          <a:p>
            <a:pPr algn="just"/>
            <a:endParaRPr lang="es-ES" sz="1200" dirty="0">
              <a:solidFill>
                <a:schemeClr val="accent1"/>
              </a:solidFill>
            </a:endParaRPr>
          </a:p>
          <a:p>
            <a:pPr marL="171450" indent="-171450" algn="just">
              <a:buFont typeface="Arial" panose="020B0604020202020204" pitchFamily="34" charset="0"/>
              <a:buChar char="•"/>
            </a:pPr>
            <a:r>
              <a:rPr lang="es-ES" sz="1200" dirty="0">
                <a:solidFill>
                  <a:schemeClr val="accent1"/>
                </a:solidFill>
              </a:rPr>
              <a:t>La medición de la PA debe realizarse con un dispositivo que haya sido validado</a:t>
            </a:r>
            <a:r>
              <a:rPr lang="es-ES" sz="1200" baseline="30000" dirty="0">
                <a:solidFill>
                  <a:schemeClr val="accent1"/>
                </a:solidFill>
              </a:rPr>
              <a:t>1</a:t>
            </a:r>
            <a:r>
              <a:rPr lang="es-ES" sz="1200" dirty="0">
                <a:solidFill>
                  <a:schemeClr val="accent1"/>
                </a:solidFill>
              </a:rPr>
              <a:t>. </a:t>
            </a:r>
          </a:p>
          <a:p>
            <a:pPr marL="171450" indent="-171450" algn="just">
              <a:buFont typeface="Arial" panose="020B0604020202020204" pitchFamily="34" charset="0"/>
              <a:buChar char="•"/>
            </a:pPr>
            <a:r>
              <a:rPr lang="es-ES" sz="1200" dirty="0">
                <a:solidFill>
                  <a:schemeClr val="accent1"/>
                </a:solidFill>
              </a:rPr>
              <a:t>De los dispositivos disponibles en el mercado, tan sólo el 6% han sido validados adecuadamente</a:t>
            </a:r>
            <a:r>
              <a:rPr lang="es-ES" sz="1200" baseline="30000" dirty="0">
                <a:solidFill>
                  <a:schemeClr val="accent1"/>
                </a:solidFill>
              </a:rPr>
              <a:t>1</a:t>
            </a:r>
            <a:r>
              <a:rPr lang="es-ES" sz="1200" dirty="0">
                <a:solidFill>
                  <a:schemeClr val="accent1"/>
                </a:solidFill>
              </a:rPr>
              <a:t>.</a:t>
            </a:r>
          </a:p>
        </p:txBody>
      </p:sp>
      <p:sp>
        <p:nvSpPr>
          <p:cNvPr id="3" name="CuadroTexto 2">
            <a:extLst>
              <a:ext uri="{FF2B5EF4-FFF2-40B4-BE49-F238E27FC236}">
                <a16:creationId xmlns:a16="http://schemas.microsoft.com/office/drawing/2014/main" id="{9DC2A88D-031C-D795-8D8E-623E080CF9E7}"/>
              </a:ext>
            </a:extLst>
          </p:cNvPr>
          <p:cNvSpPr txBox="1"/>
          <p:nvPr/>
        </p:nvSpPr>
        <p:spPr>
          <a:xfrm>
            <a:off x="8559994" y="5899058"/>
            <a:ext cx="2871616" cy="338554"/>
          </a:xfrm>
          <a:prstGeom prst="rect">
            <a:avLst/>
          </a:prstGeom>
          <a:noFill/>
        </p:spPr>
        <p:txBody>
          <a:bodyPr wrap="square" rtlCol="0">
            <a:spAutoFit/>
          </a:bodyPr>
          <a:lstStyle/>
          <a:p>
            <a:pPr algn="ctr"/>
            <a:r>
              <a:rPr lang="es-ES" sz="800" b="1" dirty="0">
                <a:solidFill>
                  <a:schemeClr val="accent1"/>
                </a:solidFill>
              </a:rPr>
              <a:t>ABPM</a:t>
            </a:r>
            <a:r>
              <a:rPr lang="es-ES" sz="800" dirty="0">
                <a:solidFill>
                  <a:schemeClr val="accent1"/>
                </a:solidFill>
              </a:rPr>
              <a:t>: </a:t>
            </a:r>
            <a:r>
              <a:rPr lang="es-ES" sz="800" dirty="0" err="1">
                <a:solidFill>
                  <a:schemeClr val="accent1"/>
                </a:solidFill>
              </a:rPr>
              <a:t>ambulatory</a:t>
            </a:r>
            <a:r>
              <a:rPr lang="es-ES" sz="800" dirty="0">
                <a:solidFill>
                  <a:schemeClr val="accent1"/>
                </a:solidFill>
              </a:rPr>
              <a:t> </a:t>
            </a:r>
            <a:r>
              <a:rPr lang="es-ES" sz="800" dirty="0" err="1">
                <a:solidFill>
                  <a:schemeClr val="accent1"/>
                </a:solidFill>
              </a:rPr>
              <a:t>blood</a:t>
            </a:r>
            <a:r>
              <a:rPr lang="es-ES" sz="800" dirty="0">
                <a:solidFill>
                  <a:schemeClr val="accent1"/>
                </a:solidFill>
              </a:rPr>
              <a:t> </a:t>
            </a:r>
            <a:r>
              <a:rPr lang="es-ES" sz="800" dirty="0" err="1">
                <a:solidFill>
                  <a:schemeClr val="accent1"/>
                </a:solidFill>
              </a:rPr>
              <a:t>pressure</a:t>
            </a:r>
            <a:r>
              <a:rPr lang="es-ES" sz="800" dirty="0">
                <a:solidFill>
                  <a:schemeClr val="accent1"/>
                </a:solidFill>
              </a:rPr>
              <a:t> </a:t>
            </a:r>
            <a:r>
              <a:rPr lang="es-ES" sz="800" dirty="0" err="1">
                <a:solidFill>
                  <a:schemeClr val="accent1"/>
                </a:solidFill>
              </a:rPr>
              <a:t>monitoring</a:t>
            </a:r>
            <a:r>
              <a:rPr lang="es-ES" sz="800" dirty="0">
                <a:solidFill>
                  <a:schemeClr val="accent1"/>
                </a:solidFill>
              </a:rPr>
              <a:t>; </a:t>
            </a:r>
            <a:r>
              <a:rPr lang="es-ES" sz="800" b="1" dirty="0">
                <a:solidFill>
                  <a:schemeClr val="accent1"/>
                </a:solidFill>
              </a:rPr>
              <a:t>BP</a:t>
            </a:r>
            <a:r>
              <a:rPr lang="es-ES" sz="800" dirty="0">
                <a:solidFill>
                  <a:schemeClr val="accent1"/>
                </a:solidFill>
              </a:rPr>
              <a:t>: </a:t>
            </a:r>
            <a:r>
              <a:rPr lang="es-ES" sz="800" dirty="0" err="1">
                <a:solidFill>
                  <a:schemeClr val="accent1"/>
                </a:solidFill>
              </a:rPr>
              <a:t>blood</a:t>
            </a:r>
            <a:r>
              <a:rPr lang="es-ES" sz="800" dirty="0">
                <a:solidFill>
                  <a:schemeClr val="accent1"/>
                </a:solidFill>
              </a:rPr>
              <a:t> </a:t>
            </a:r>
            <a:r>
              <a:rPr lang="es-ES" sz="800" dirty="0" err="1">
                <a:solidFill>
                  <a:schemeClr val="accent1"/>
                </a:solidFill>
              </a:rPr>
              <a:t>pressure</a:t>
            </a:r>
            <a:r>
              <a:rPr lang="es-ES" sz="800" dirty="0">
                <a:solidFill>
                  <a:schemeClr val="accent1"/>
                </a:solidFill>
              </a:rPr>
              <a:t>; </a:t>
            </a:r>
            <a:r>
              <a:rPr lang="es-ES" sz="800" b="1" dirty="0">
                <a:solidFill>
                  <a:schemeClr val="accent1"/>
                </a:solidFill>
              </a:rPr>
              <a:t>HBPM</a:t>
            </a:r>
            <a:r>
              <a:rPr lang="es-ES" sz="800" dirty="0">
                <a:solidFill>
                  <a:schemeClr val="accent1"/>
                </a:solidFill>
              </a:rPr>
              <a:t>: home </a:t>
            </a:r>
            <a:r>
              <a:rPr lang="es-ES" sz="800" dirty="0" err="1">
                <a:solidFill>
                  <a:schemeClr val="accent1"/>
                </a:solidFill>
              </a:rPr>
              <a:t>blood</a:t>
            </a:r>
            <a:r>
              <a:rPr lang="es-ES" sz="800" dirty="0">
                <a:solidFill>
                  <a:schemeClr val="accent1"/>
                </a:solidFill>
              </a:rPr>
              <a:t> </a:t>
            </a:r>
            <a:r>
              <a:rPr lang="es-ES" sz="800" dirty="0" err="1">
                <a:solidFill>
                  <a:schemeClr val="accent1"/>
                </a:solidFill>
              </a:rPr>
              <a:t>pressure</a:t>
            </a:r>
            <a:r>
              <a:rPr lang="es-ES" sz="800" dirty="0">
                <a:solidFill>
                  <a:schemeClr val="accent1"/>
                </a:solidFill>
              </a:rPr>
              <a:t> </a:t>
            </a:r>
            <a:r>
              <a:rPr lang="es-ES" sz="800" dirty="0" err="1">
                <a:solidFill>
                  <a:schemeClr val="accent1"/>
                </a:solidFill>
              </a:rPr>
              <a:t>monitoring</a:t>
            </a:r>
            <a:r>
              <a:rPr lang="es-ES" sz="800" dirty="0">
                <a:solidFill>
                  <a:schemeClr val="accent1"/>
                </a:solidFill>
              </a:rPr>
              <a:t>.</a:t>
            </a:r>
          </a:p>
        </p:txBody>
      </p:sp>
      <p:sp>
        <p:nvSpPr>
          <p:cNvPr id="7" name="CuadroTexto 6">
            <a:extLst>
              <a:ext uri="{FF2B5EF4-FFF2-40B4-BE49-F238E27FC236}">
                <a16:creationId xmlns:a16="http://schemas.microsoft.com/office/drawing/2014/main" id="{D0F7B31B-3B6E-2C2C-173B-C4890A5D4CC3}"/>
              </a:ext>
            </a:extLst>
          </p:cNvPr>
          <p:cNvSpPr txBox="1"/>
          <p:nvPr/>
        </p:nvSpPr>
        <p:spPr>
          <a:xfrm>
            <a:off x="4189296" y="6415723"/>
            <a:ext cx="4439891" cy="178149"/>
          </a:xfrm>
          <a:prstGeom prst="rect">
            <a:avLst/>
          </a:prstGeom>
        </p:spPr>
        <p:txBody>
          <a:bodyPr/>
          <a:lstStyle>
            <a:defPPr>
              <a:defRPr lang="es-ES"/>
            </a:defPPr>
            <a:lvl1pPr indent="0" algn="ctr" defTabSz="914377">
              <a:lnSpc>
                <a:spcPct val="90000"/>
              </a:lnSpc>
              <a:spcBef>
                <a:spcPts val="1000"/>
              </a:spcBef>
              <a:buFont typeface="Arial" panose="020B0604020202020204" pitchFamily="34" charset="0"/>
              <a:buNone/>
              <a:defRPr sz="1200">
                <a:solidFill>
                  <a:schemeClr val="accent1"/>
                </a:solidFill>
              </a:defRPr>
            </a:lvl1pPr>
            <a:lvl2pPr marL="685783" indent="-228594" defTabSz="914377">
              <a:lnSpc>
                <a:spcPct val="90000"/>
              </a:lnSpc>
              <a:spcBef>
                <a:spcPts val="500"/>
              </a:spcBef>
              <a:buFont typeface="Arial" panose="020B0604020202020204" pitchFamily="34" charset="0"/>
              <a:buChar char="•"/>
              <a:defRPr sz="2400"/>
            </a:lvl2pPr>
            <a:lvl3pPr marL="1142971" indent="-228594" defTabSz="914377">
              <a:lnSpc>
                <a:spcPct val="90000"/>
              </a:lnSpc>
              <a:spcBef>
                <a:spcPts val="500"/>
              </a:spcBef>
              <a:buFont typeface="Arial" panose="020B0604020202020204" pitchFamily="34" charset="0"/>
              <a:buChar char="•"/>
              <a:defRPr sz="2000"/>
            </a:lvl3pPr>
            <a:lvl4pPr marL="1600160" indent="-228594" defTabSz="914377">
              <a:lnSpc>
                <a:spcPct val="90000"/>
              </a:lnSpc>
              <a:spcBef>
                <a:spcPts val="500"/>
              </a:spcBef>
              <a:buFont typeface="Arial" panose="020B0604020202020204" pitchFamily="34" charset="0"/>
              <a:buChar char="•"/>
            </a:lvl4pPr>
            <a:lvl5pPr marL="2057349" indent="-228594" defTabSz="914377">
              <a:lnSpc>
                <a:spcPct val="90000"/>
              </a:lnSpc>
              <a:spcBef>
                <a:spcPts val="500"/>
              </a:spcBef>
              <a:buFont typeface="Arial" panose="020B0604020202020204" pitchFamily="34" charset="0"/>
              <a:buChar cha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r>
              <a:rPr lang="es-ES" sz="1000" dirty="0"/>
              <a:t>Guía ESC 2024 Presión arterial elevada e Hipertensión arterial</a:t>
            </a:r>
          </a:p>
        </p:txBody>
      </p:sp>
      <p:sp>
        <p:nvSpPr>
          <p:cNvPr id="10" name="CuadroTexto 9">
            <a:extLst>
              <a:ext uri="{FF2B5EF4-FFF2-40B4-BE49-F238E27FC236}">
                <a16:creationId xmlns:a16="http://schemas.microsoft.com/office/drawing/2014/main" id="{C7102424-6203-D10F-126D-33CC35A02011}"/>
              </a:ext>
            </a:extLst>
          </p:cNvPr>
          <p:cNvSpPr txBox="1"/>
          <p:nvPr/>
        </p:nvSpPr>
        <p:spPr>
          <a:xfrm>
            <a:off x="1786270" y="6561772"/>
            <a:ext cx="9245945" cy="200055"/>
          </a:xfrm>
          <a:prstGeom prst="rect">
            <a:avLst/>
          </a:prstGeom>
          <a:noFill/>
        </p:spPr>
        <p:txBody>
          <a:bodyPr wrap="square" rtlCol="0">
            <a:spAutoFit/>
          </a:bodyPr>
          <a:lstStyle>
            <a:defPPr>
              <a:defRPr lang="es-ES"/>
            </a:defPPr>
            <a:lvl1pPr>
              <a:defRPr sz="700" b="0" i="1">
                <a:solidFill>
                  <a:schemeClr val="accent1"/>
                </a:solidFill>
                <a:effectLst/>
              </a:defRPr>
            </a:lvl1pPr>
          </a:lstStyle>
          <a:p>
            <a:pPr algn="ctr"/>
            <a:r>
              <a:rPr lang="en-US" dirty="0"/>
              <a:t>1. McEvoy JW, et al. 2024 ESC Guidelines for the management of elevated blood pressure and hypertension. </a:t>
            </a:r>
            <a:r>
              <a:rPr lang="en-US" dirty="0" err="1"/>
              <a:t>Eur</a:t>
            </a:r>
            <a:r>
              <a:rPr lang="en-US" dirty="0"/>
              <a:t> Heart J. 2024 Oct 7;45(38):3912-4018. </a:t>
            </a:r>
            <a:r>
              <a:rPr lang="en-US" dirty="0" err="1"/>
              <a:t>doi</a:t>
            </a:r>
            <a:r>
              <a:rPr lang="en-US" dirty="0"/>
              <a:t>: 10.1093/</a:t>
            </a:r>
            <a:r>
              <a:rPr lang="en-US" dirty="0" err="1"/>
              <a:t>eurheartj</a:t>
            </a:r>
            <a:r>
              <a:rPr lang="en-US" dirty="0"/>
              <a:t>/ehae178.</a:t>
            </a:r>
          </a:p>
        </p:txBody>
      </p:sp>
      <p:sp>
        <p:nvSpPr>
          <p:cNvPr id="11" name="CuadroTexto 10">
            <a:extLst>
              <a:ext uri="{FF2B5EF4-FFF2-40B4-BE49-F238E27FC236}">
                <a16:creationId xmlns:a16="http://schemas.microsoft.com/office/drawing/2014/main" id="{49A4D340-67B1-AC92-E35D-44A186F7FF88}"/>
              </a:ext>
            </a:extLst>
          </p:cNvPr>
          <p:cNvSpPr txBox="1"/>
          <p:nvPr/>
        </p:nvSpPr>
        <p:spPr>
          <a:xfrm>
            <a:off x="8179818" y="5564597"/>
            <a:ext cx="3327992"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pPr algn="r"/>
            <a:r>
              <a:rPr lang="en-US" dirty="0" err="1"/>
              <a:t>Eur</a:t>
            </a:r>
            <a:r>
              <a:rPr lang="en-US" dirty="0"/>
              <a:t> Heart J. 2024 Oct 7;45(38):3912-4018</a:t>
            </a:r>
            <a:endParaRPr lang="es-ES" dirty="0"/>
          </a:p>
        </p:txBody>
      </p:sp>
      <p:sp>
        <p:nvSpPr>
          <p:cNvPr id="13" name="CuadroTexto 12">
            <a:extLst>
              <a:ext uri="{FF2B5EF4-FFF2-40B4-BE49-F238E27FC236}">
                <a16:creationId xmlns:a16="http://schemas.microsoft.com/office/drawing/2014/main" id="{C05E6EBC-E397-FB97-C99C-28D2EDBD8CD0}"/>
              </a:ext>
            </a:extLst>
          </p:cNvPr>
          <p:cNvSpPr txBox="1"/>
          <p:nvPr/>
        </p:nvSpPr>
        <p:spPr>
          <a:xfrm>
            <a:off x="4724581" y="6108724"/>
            <a:ext cx="3327992"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pPr algn="r"/>
            <a:r>
              <a:rPr lang="en-US" dirty="0" err="1"/>
              <a:t>Eur</a:t>
            </a:r>
            <a:r>
              <a:rPr lang="en-US" dirty="0"/>
              <a:t> Heart J. 2024 Oct 7;45(38):3912-4018</a:t>
            </a:r>
            <a:endParaRPr lang="es-ES" dirty="0"/>
          </a:p>
        </p:txBody>
      </p:sp>
      <p:sp>
        <p:nvSpPr>
          <p:cNvPr id="5" name="CuadroTexto 4">
            <a:extLst>
              <a:ext uri="{FF2B5EF4-FFF2-40B4-BE49-F238E27FC236}">
                <a16:creationId xmlns:a16="http://schemas.microsoft.com/office/drawing/2014/main" id="{9FAFAEF0-E483-946C-9D34-FAB1BE7337A3}"/>
              </a:ext>
            </a:extLst>
          </p:cNvPr>
          <p:cNvSpPr txBox="1"/>
          <p:nvPr/>
        </p:nvSpPr>
        <p:spPr>
          <a:xfrm>
            <a:off x="1148628" y="6108723"/>
            <a:ext cx="3327992"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pPr algn="r"/>
            <a:r>
              <a:rPr lang="en-US" dirty="0" err="1"/>
              <a:t>Eur</a:t>
            </a:r>
            <a:r>
              <a:rPr lang="en-US" dirty="0"/>
              <a:t> Heart J. 2024 Oct 7;45(38):3912-4018</a:t>
            </a:r>
            <a:endParaRPr lang="es-ES" dirty="0"/>
          </a:p>
        </p:txBody>
      </p:sp>
      <p:sp>
        <p:nvSpPr>
          <p:cNvPr id="8" name="CuadroTexto 7">
            <a:extLst>
              <a:ext uri="{FF2B5EF4-FFF2-40B4-BE49-F238E27FC236}">
                <a16:creationId xmlns:a16="http://schemas.microsoft.com/office/drawing/2014/main" id="{7939A30A-12F2-BF62-2EB0-93DFAFF291C8}"/>
              </a:ext>
            </a:extLst>
          </p:cNvPr>
          <p:cNvSpPr txBox="1"/>
          <p:nvPr/>
        </p:nvSpPr>
        <p:spPr>
          <a:xfrm rot="16200000">
            <a:off x="10700179" y="1336750"/>
            <a:ext cx="2471166" cy="261610"/>
          </a:xfrm>
          <a:prstGeom prst="rect">
            <a:avLst/>
          </a:prstGeom>
          <a:noFill/>
        </p:spPr>
        <p:txBody>
          <a:bodyPr wrap="square">
            <a:spAutoFit/>
          </a:bodyPr>
          <a:lstStyle/>
          <a:p>
            <a:pPr algn="ctr"/>
            <a:r>
              <a:rPr lang="es-ES" sz="1100" dirty="0">
                <a:solidFill>
                  <a:schemeClr val="bg2">
                    <a:lumMod val="85000"/>
                  </a:schemeClr>
                </a:solidFill>
              </a:rPr>
              <a:t>MA-ES-CRAT-2500005</a:t>
            </a:r>
          </a:p>
        </p:txBody>
      </p:sp>
    </p:spTree>
    <p:extLst>
      <p:ext uri="{BB962C8B-B14F-4D97-AF65-F5344CB8AC3E}">
        <p14:creationId xmlns:p14="http://schemas.microsoft.com/office/powerpoint/2010/main" val="12471129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D8FCEA-10DA-74F9-72C0-C4F24805CEE6}"/>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BEF6E9EA-8A9F-249D-CE79-8B36894341CE}"/>
              </a:ext>
            </a:extLst>
          </p:cNvPr>
          <p:cNvSpPr>
            <a:spLocks noGrp="1"/>
          </p:cNvSpPr>
          <p:nvPr>
            <p:ph type="body" sz="quarter" idx="24"/>
          </p:nvPr>
        </p:nvSpPr>
        <p:spPr/>
        <p:txBody>
          <a:bodyPr/>
          <a:lstStyle/>
          <a:p>
            <a:endParaRPr lang="es-ES"/>
          </a:p>
        </p:txBody>
      </p:sp>
      <p:sp>
        <p:nvSpPr>
          <p:cNvPr id="6" name="Marcador de número de diapositiva 5">
            <a:extLst>
              <a:ext uri="{FF2B5EF4-FFF2-40B4-BE49-F238E27FC236}">
                <a16:creationId xmlns:a16="http://schemas.microsoft.com/office/drawing/2014/main" id="{E918C575-A4FC-2F88-A4C9-90B139C89379}"/>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sp>
        <p:nvSpPr>
          <p:cNvPr id="12" name="6 CuadroTexto">
            <a:extLst>
              <a:ext uri="{FF2B5EF4-FFF2-40B4-BE49-F238E27FC236}">
                <a16:creationId xmlns:a16="http://schemas.microsoft.com/office/drawing/2014/main" id="{58FCCFF9-6434-880D-EBBB-A1AC07D800DB}"/>
              </a:ext>
            </a:extLst>
          </p:cNvPr>
          <p:cNvSpPr txBox="1"/>
          <p:nvPr/>
        </p:nvSpPr>
        <p:spPr>
          <a:xfrm>
            <a:off x="6885497" y="3562763"/>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2" name="Imagen 1">
            <a:extLst>
              <a:ext uri="{FF2B5EF4-FFF2-40B4-BE49-F238E27FC236}">
                <a16:creationId xmlns:a16="http://schemas.microsoft.com/office/drawing/2014/main" id="{B0471BC6-445C-0959-5A12-D64FA13E2EBB}"/>
              </a:ext>
            </a:extLst>
          </p:cNvPr>
          <p:cNvPicPr>
            <a:picLocks noChangeAspect="1"/>
          </p:cNvPicPr>
          <p:nvPr/>
        </p:nvPicPr>
        <p:blipFill>
          <a:blip r:embed="rId3"/>
          <a:stretch>
            <a:fillRect/>
          </a:stretch>
        </p:blipFill>
        <p:spPr>
          <a:xfrm>
            <a:off x="10623775" y="231972"/>
            <a:ext cx="1329043" cy="457240"/>
          </a:xfrm>
          <a:prstGeom prst="rect">
            <a:avLst/>
          </a:prstGeom>
        </p:spPr>
      </p:pic>
      <p:sp>
        <p:nvSpPr>
          <p:cNvPr id="9" name="Título 3">
            <a:extLst>
              <a:ext uri="{FF2B5EF4-FFF2-40B4-BE49-F238E27FC236}">
                <a16:creationId xmlns:a16="http://schemas.microsoft.com/office/drawing/2014/main" id="{266E4502-10CA-C033-0C51-CEB0012A6B96}"/>
              </a:ext>
            </a:extLst>
          </p:cNvPr>
          <p:cNvSpPr txBox="1">
            <a:spLocks/>
          </p:cNvSpPr>
          <p:nvPr/>
        </p:nvSpPr>
        <p:spPr>
          <a:xfrm>
            <a:off x="1137226" y="336607"/>
            <a:ext cx="5327649" cy="1469134"/>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_tradnl" sz="2800" dirty="0"/>
              <a:t>Diagnóstico (y II)</a:t>
            </a:r>
            <a:endParaRPr lang="es-ES" sz="2800" dirty="0"/>
          </a:p>
        </p:txBody>
      </p:sp>
      <p:pic>
        <p:nvPicPr>
          <p:cNvPr id="11" name="Imagen 10">
            <a:extLst>
              <a:ext uri="{FF2B5EF4-FFF2-40B4-BE49-F238E27FC236}">
                <a16:creationId xmlns:a16="http://schemas.microsoft.com/office/drawing/2014/main" id="{402ED4EB-0F74-9802-652F-B8CE58FAF8B7}"/>
              </a:ext>
            </a:extLst>
          </p:cNvPr>
          <p:cNvPicPr>
            <a:picLocks noChangeAspect="1"/>
          </p:cNvPicPr>
          <p:nvPr/>
        </p:nvPicPr>
        <p:blipFill>
          <a:blip r:embed="rId4"/>
          <a:stretch>
            <a:fillRect/>
          </a:stretch>
        </p:blipFill>
        <p:spPr>
          <a:xfrm>
            <a:off x="5511122" y="869822"/>
            <a:ext cx="6321573" cy="5305918"/>
          </a:xfrm>
          <a:prstGeom prst="rect">
            <a:avLst/>
          </a:prstGeom>
        </p:spPr>
      </p:pic>
      <p:sp>
        <p:nvSpPr>
          <p:cNvPr id="3" name="CuadroTexto 2">
            <a:extLst>
              <a:ext uri="{FF2B5EF4-FFF2-40B4-BE49-F238E27FC236}">
                <a16:creationId xmlns:a16="http://schemas.microsoft.com/office/drawing/2014/main" id="{E6B1217F-F47B-B880-0B7A-6DAD71E23480}"/>
              </a:ext>
            </a:extLst>
          </p:cNvPr>
          <p:cNvSpPr txBox="1"/>
          <p:nvPr/>
        </p:nvSpPr>
        <p:spPr>
          <a:xfrm>
            <a:off x="1158652" y="1082663"/>
            <a:ext cx="4033357" cy="4154984"/>
          </a:xfrm>
          <a:prstGeom prst="rect">
            <a:avLst/>
          </a:prstGeom>
          <a:noFill/>
        </p:spPr>
        <p:txBody>
          <a:bodyPr wrap="square" rtlCol="0">
            <a:spAutoFit/>
          </a:bodyPr>
          <a:lstStyle/>
          <a:p>
            <a:pPr marL="171450" indent="-171450" algn="just">
              <a:buFont typeface="Arial" panose="020B0604020202020204" pitchFamily="34" charset="0"/>
              <a:buChar char="•"/>
            </a:pPr>
            <a:r>
              <a:rPr lang="es-ES" sz="1200" dirty="0">
                <a:solidFill>
                  <a:schemeClr val="accent1"/>
                </a:solidFill>
              </a:rPr>
              <a:t>Se debe realizar un </a:t>
            </a:r>
            <a:r>
              <a:rPr lang="es-ES" sz="1200" b="1" dirty="0">
                <a:solidFill>
                  <a:schemeClr val="accent1"/>
                </a:solidFill>
              </a:rPr>
              <a:t>screening</a:t>
            </a:r>
            <a:r>
              <a:rPr lang="es-ES" sz="1200" dirty="0">
                <a:solidFill>
                  <a:schemeClr val="accent1"/>
                </a:solidFill>
              </a:rPr>
              <a:t> de </a:t>
            </a:r>
            <a:r>
              <a:rPr lang="es-ES" sz="1200" b="1" dirty="0">
                <a:solidFill>
                  <a:schemeClr val="accent1"/>
                </a:solidFill>
              </a:rPr>
              <a:t>todos</a:t>
            </a:r>
            <a:r>
              <a:rPr lang="es-ES" sz="1200" dirty="0">
                <a:solidFill>
                  <a:schemeClr val="accent1"/>
                </a:solidFill>
              </a:rPr>
              <a:t> los </a:t>
            </a:r>
            <a:r>
              <a:rPr lang="es-ES" sz="1200" b="1" dirty="0">
                <a:solidFill>
                  <a:schemeClr val="accent1"/>
                </a:solidFill>
              </a:rPr>
              <a:t>pacientes</a:t>
            </a:r>
            <a:r>
              <a:rPr lang="es-ES" sz="1200" dirty="0">
                <a:solidFill>
                  <a:schemeClr val="accent1"/>
                </a:solidFill>
              </a:rPr>
              <a:t> que aparecen en la consulta</a:t>
            </a:r>
            <a:r>
              <a:rPr lang="es-ES" sz="1200" baseline="30000" dirty="0">
                <a:solidFill>
                  <a:schemeClr val="accent1"/>
                </a:solidFill>
              </a:rPr>
              <a:t>1</a:t>
            </a:r>
            <a:r>
              <a:rPr lang="es-ES" sz="1200" dirty="0">
                <a:solidFill>
                  <a:schemeClr val="accent1"/>
                </a:solidFill>
              </a:rPr>
              <a:t>.</a:t>
            </a:r>
          </a:p>
          <a:p>
            <a:pPr marL="171450" indent="-171450" algn="just">
              <a:buFont typeface="Arial" panose="020B0604020202020204" pitchFamily="34" charset="0"/>
              <a:buChar char="•"/>
            </a:pPr>
            <a:endParaRPr lang="es-ES" sz="1200" dirty="0">
              <a:solidFill>
                <a:schemeClr val="accent1"/>
              </a:solidFill>
            </a:endParaRPr>
          </a:p>
          <a:p>
            <a:pPr marL="171450" indent="-171450" algn="just">
              <a:buFont typeface="Arial" panose="020B0604020202020204" pitchFamily="34" charset="0"/>
              <a:buChar char="•"/>
            </a:pPr>
            <a:endParaRPr lang="es-ES" sz="1200" dirty="0">
              <a:solidFill>
                <a:schemeClr val="accent1"/>
              </a:solidFill>
            </a:endParaRPr>
          </a:p>
          <a:p>
            <a:pPr marL="171450" indent="-171450" algn="just">
              <a:buFont typeface="Arial" panose="020B0604020202020204" pitchFamily="34" charset="0"/>
              <a:buChar char="•"/>
            </a:pPr>
            <a:endParaRPr lang="es-ES" sz="1200" dirty="0">
              <a:solidFill>
                <a:schemeClr val="accent1"/>
              </a:solidFill>
            </a:endParaRPr>
          </a:p>
          <a:p>
            <a:pPr marL="171450" indent="-171450" algn="just">
              <a:buFont typeface="Arial" panose="020B0604020202020204" pitchFamily="34" charset="0"/>
              <a:buChar char="•"/>
            </a:pPr>
            <a:endParaRPr lang="es-ES" sz="1200" dirty="0">
              <a:solidFill>
                <a:schemeClr val="accent1"/>
              </a:solidFill>
            </a:endParaRPr>
          </a:p>
          <a:p>
            <a:pPr marL="171450" indent="-171450" algn="just">
              <a:buFont typeface="Arial" panose="020B0604020202020204" pitchFamily="34" charset="0"/>
              <a:buChar char="•"/>
            </a:pPr>
            <a:endParaRPr lang="es-ES" sz="1200" dirty="0">
              <a:solidFill>
                <a:schemeClr val="accent1"/>
              </a:solidFill>
            </a:endParaRPr>
          </a:p>
          <a:p>
            <a:pPr algn="just"/>
            <a:endParaRPr lang="es-ES" sz="1200" dirty="0">
              <a:solidFill>
                <a:schemeClr val="accent1"/>
              </a:solidFill>
            </a:endParaRPr>
          </a:p>
          <a:p>
            <a:pPr marL="171450" indent="-171450" algn="just">
              <a:buFont typeface="Arial" panose="020B0604020202020204" pitchFamily="34" charset="0"/>
              <a:buChar char="•"/>
            </a:pPr>
            <a:r>
              <a:rPr lang="es-ES" sz="1200" b="1" dirty="0">
                <a:solidFill>
                  <a:schemeClr val="accent1"/>
                </a:solidFill>
              </a:rPr>
              <a:t>Pacientes sin hipertensión </a:t>
            </a:r>
            <a:r>
              <a:rPr lang="es-ES" sz="1200" dirty="0">
                <a:solidFill>
                  <a:schemeClr val="accent1"/>
                </a:solidFill>
              </a:rPr>
              <a:t>(PA &lt; 120/70 </a:t>
            </a:r>
            <a:r>
              <a:rPr lang="es-ES" sz="1200" dirty="0" err="1">
                <a:solidFill>
                  <a:schemeClr val="accent1"/>
                </a:solidFill>
              </a:rPr>
              <a:t>mmHg</a:t>
            </a:r>
            <a:r>
              <a:rPr lang="es-ES" sz="1200" dirty="0">
                <a:solidFill>
                  <a:schemeClr val="accent1"/>
                </a:solidFill>
              </a:rPr>
              <a:t>)</a:t>
            </a:r>
            <a:r>
              <a:rPr lang="es-ES" sz="1200" baseline="30000" dirty="0">
                <a:solidFill>
                  <a:schemeClr val="accent1"/>
                </a:solidFill>
              </a:rPr>
              <a:t> 1</a:t>
            </a:r>
            <a:r>
              <a:rPr lang="es-ES" sz="1200" dirty="0">
                <a:solidFill>
                  <a:schemeClr val="accent1"/>
                </a:solidFill>
              </a:rPr>
              <a:t>:</a:t>
            </a:r>
          </a:p>
          <a:p>
            <a:pPr marL="628650" lvl="1" indent="-171450" algn="just">
              <a:buFont typeface="Courier New" panose="02070309020205020404" pitchFamily="49" charset="0"/>
              <a:buChar char="o"/>
            </a:pPr>
            <a:r>
              <a:rPr lang="es-ES" sz="1200" dirty="0">
                <a:solidFill>
                  <a:schemeClr val="accent1"/>
                </a:solidFill>
              </a:rPr>
              <a:t>Evaluar cada año si &gt;40 años.</a:t>
            </a:r>
          </a:p>
          <a:p>
            <a:pPr marL="628650" lvl="1" indent="-171450" algn="just">
              <a:buFont typeface="Courier New" panose="02070309020205020404" pitchFamily="49" charset="0"/>
              <a:buChar char="o"/>
            </a:pPr>
            <a:r>
              <a:rPr lang="es-ES" sz="1200" dirty="0">
                <a:solidFill>
                  <a:schemeClr val="accent1"/>
                </a:solidFill>
              </a:rPr>
              <a:t>Evaluar cada 3 años si &lt;40 años.</a:t>
            </a:r>
          </a:p>
          <a:p>
            <a:pPr marL="171450" indent="-171450" algn="just">
              <a:buFont typeface="Arial" panose="020B0604020202020204" pitchFamily="34" charset="0"/>
              <a:buChar char="•"/>
            </a:pPr>
            <a:endParaRPr lang="es-ES" sz="1200" dirty="0">
              <a:solidFill>
                <a:schemeClr val="accent1"/>
              </a:solidFill>
            </a:endParaRPr>
          </a:p>
          <a:p>
            <a:pPr marL="171450" indent="-171450" algn="just">
              <a:buFont typeface="Arial" panose="020B0604020202020204" pitchFamily="34" charset="0"/>
              <a:buChar char="•"/>
            </a:pPr>
            <a:endParaRPr lang="es-ES" sz="1200" dirty="0">
              <a:solidFill>
                <a:schemeClr val="accent1"/>
              </a:solidFill>
            </a:endParaRPr>
          </a:p>
          <a:p>
            <a:pPr marL="171450" indent="-171450" algn="just">
              <a:buFont typeface="Arial" panose="020B0604020202020204" pitchFamily="34" charset="0"/>
              <a:buChar char="•"/>
            </a:pPr>
            <a:r>
              <a:rPr lang="es-ES" sz="1200" b="1" dirty="0">
                <a:solidFill>
                  <a:schemeClr val="accent1"/>
                </a:solidFill>
              </a:rPr>
              <a:t>Pacientes con hipertensión </a:t>
            </a:r>
            <a:r>
              <a:rPr lang="es-ES" sz="1200" dirty="0">
                <a:solidFill>
                  <a:schemeClr val="accent1"/>
                </a:solidFill>
              </a:rPr>
              <a:t>(</a:t>
            </a:r>
            <a:r>
              <a:rPr lang="es-ES" sz="1200" dirty="0" err="1">
                <a:solidFill>
                  <a:schemeClr val="accent1"/>
                </a:solidFill>
              </a:rPr>
              <a:t>PASistólica</a:t>
            </a:r>
            <a:r>
              <a:rPr lang="es-ES" sz="1200" dirty="0">
                <a:solidFill>
                  <a:schemeClr val="accent1"/>
                </a:solidFill>
              </a:rPr>
              <a:t> &gt;140/90 </a:t>
            </a:r>
            <a:r>
              <a:rPr lang="es-ES" sz="1200" dirty="0" err="1">
                <a:solidFill>
                  <a:schemeClr val="accent1"/>
                </a:solidFill>
              </a:rPr>
              <a:t>mmHg</a:t>
            </a:r>
            <a:r>
              <a:rPr lang="es-ES" sz="1200" dirty="0">
                <a:solidFill>
                  <a:schemeClr val="accent1"/>
                </a:solidFill>
              </a:rPr>
              <a:t>)</a:t>
            </a:r>
            <a:r>
              <a:rPr lang="es-ES" sz="1200" baseline="30000" dirty="0">
                <a:solidFill>
                  <a:schemeClr val="accent1"/>
                </a:solidFill>
              </a:rPr>
              <a:t>1</a:t>
            </a:r>
            <a:r>
              <a:rPr lang="es-ES" sz="1200" dirty="0">
                <a:solidFill>
                  <a:schemeClr val="accent1"/>
                </a:solidFill>
              </a:rPr>
              <a:t>:</a:t>
            </a:r>
          </a:p>
          <a:p>
            <a:pPr marL="628650" lvl="1" indent="-171450" algn="just">
              <a:buFont typeface="Courier New" panose="02070309020205020404" pitchFamily="49" charset="0"/>
              <a:buChar char="o"/>
            </a:pPr>
            <a:r>
              <a:rPr lang="es-ES" sz="1200" dirty="0">
                <a:solidFill>
                  <a:schemeClr val="accent1"/>
                </a:solidFill>
              </a:rPr>
              <a:t>Confirmar diagnóstico con automonitoreo o monitoreo ambulatorio.</a:t>
            </a:r>
          </a:p>
          <a:p>
            <a:pPr marL="171450" indent="-171450" algn="just">
              <a:buFont typeface="Arial" panose="020B0604020202020204" pitchFamily="34" charset="0"/>
              <a:buChar char="•"/>
            </a:pPr>
            <a:endParaRPr lang="es-ES" sz="1200" dirty="0">
              <a:solidFill>
                <a:schemeClr val="accent1"/>
              </a:solidFill>
            </a:endParaRPr>
          </a:p>
          <a:p>
            <a:pPr marL="171450" indent="-171450" algn="just">
              <a:buFont typeface="Arial" panose="020B0604020202020204" pitchFamily="34" charset="0"/>
              <a:buChar char="•"/>
            </a:pPr>
            <a:endParaRPr lang="es-ES" sz="1200" dirty="0">
              <a:solidFill>
                <a:schemeClr val="accent1"/>
              </a:solidFill>
            </a:endParaRPr>
          </a:p>
          <a:p>
            <a:pPr marL="171450" indent="-171450" algn="just">
              <a:buFont typeface="Arial" panose="020B0604020202020204" pitchFamily="34" charset="0"/>
              <a:buChar char="•"/>
            </a:pPr>
            <a:r>
              <a:rPr lang="es-ES" sz="1200" b="1" dirty="0">
                <a:solidFill>
                  <a:schemeClr val="accent1"/>
                </a:solidFill>
              </a:rPr>
              <a:t>Pacientes con PA elevada</a:t>
            </a:r>
            <a:r>
              <a:rPr lang="es-ES" sz="1200" baseline="30000" dirty="0">
                <a:solidFill>
                  <a:schemeClr val="accent1"/>
                </a:solidFill>
              </a:rPr>
              <a:t>1</a:t>
            </a:r>
            <a:r>
              <a:rPr lang="es-ES" sz="1200" dirty="0">
                <a:solidFill>
                  <a:schemeClr val="accent1"/>
                </a:solidFill>
              </a:rPr>
              <a:t>:</a:t>
            </a:r>
          </a:p>
          <a:p>
            <a:pPr marL="628650" lvl="1" indent="-171450" algn="just">
              <a:buFont typeface="Courier New" panose="02070309020205020404" pitchFamily="49" charset="0"/>
              <a:buChar char="o"/>
            </a:pPr>
            <a:r>
              <a:rPr lang="es-ES" sz="1200" dirty="0">
                <a:solidFill>
                  <a:schemeClr val="accent1"/>
                </a:solidFill>
              </a:rPr>
              <a:t>Evaluar el riesgo cardiovascular para decidir si se debe confirmar la PA.</a:t>
            </a:r>
          </a:p>
        </p:txBody>
      </p:sp>
      <p:sp>
        <p:nvSpPr>
          <p:cNvPr id="14" name="Flecha: a la derecha 13">
            <a:extLst>
              <a:ext uri="{FF2B5EF4-FFF2-40B4-BE49-F238E27FC236}">
                <a16:creationId xmlns:a16="http://schemas.microsoft.com/office/drawing/2014/main" id="{68F0044B-6A25-846D-479A-27BF9A4F660B}"/>
              </a:ext>
            </a:extLst>
          </p:cNvPr>
          <p:cNvSpPr/>
          <p:nvPr/>
        </p:nvSpPr>
        <p:spPr>
          <a:xfrm rot="5400000">
            <a:off x="2710148" y="1838943"/>
            <a:ext cx="727346" cy="403266"/>
          </a:xfrm>
          <a:prstGeom prst="rightArrow">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s-ES"/>
          </a:p>
        </p:txBody>
      </p:sp>
      <p:sp>
        <p:nvSpPr>
          <p:cNvPr id="7" name="CuadroTexto 6">
            <a:extLst>
              <a:ext uri="{FF2B5EF4-FFF2-40B4-BE49-F238E27FC236}">
                <a16:creationId xmlns:a16="http://schemas.microsoft.com/office/drawing/2014/main" id="{037C1975-0E05-F820-8B92-505CA40C97FC}"/>
              </a:ext>
            </a:extLst>
          </p:cNvPr>
          <p:cNvSpPr txBox="1"/>
          <p:nvPr/>
        </p:nvSpPr>
        <p:spPr>
          <a:xfrm>
            <a:off x="5511122" y="6125854"/>
            <a:ext cx="4156541" cy="215444"/>
          </a:xfrm>
          <a:prstGeom prst="rect">
            <a:avLst/>
          </a:prstGeom>
          <a:noFill/>
        </p:spPr>
        <p:txBody>
          <a:bodyPr wrap="square" rtlCol="0">
            <a:spAutoFit/>
          </a:bodyPr>
          <a:lstStyle/>
          <a:p>
            <a:r>
              <a:rPr lang="es-ES" sz="800" dirty="0">
                <a:solidFill>
                  <a:schemeClr val="accent1"/>
                </a:solidFill>
              </a:rPr>
              <a:t>BP: </a:t>
            </a:r>
            <a:r>
              <a:rPr lang="es-ES" sz="800" dirty="0" err="1">
                <a:solidFill>
                  <a:schemeClr val="accent1"/>
                </a:solidFill>
              </a:rPr>
              <a:t>blood</a:t>
            </a:r>
            <a:r>
              <a:rPr lang="es-ES" sz="800" dirty="0">
                <a:solidFill>
                  <a:schemeClr val="accent1"/>
                </a:solidFill>
              </a:rPr>
              <a:t> </a:t>
            </a:r>
            <a:r>
              <a:rPr lang="es-ES" sz="800" dirty="0" err="1">
                <a:solidFill>
                  <a:schemeClr val="accent1"/>
                </a:solidFill>
              </a:rPr>
              <a:t>pressure</a:t>
            </a:r>
            <a:r>
              <a:rPr lang="es-ES" sz="800" dirty="0">
                <a:solidFill>
                  <a:schemeClr val="accent1"/>
                </a:solidFill>
              </a:rPr>
              <a:t>; CVD: cardiovascular; DBP: </a:t>
            </a:r>
            <a:r>
              <a:rPr lang="es-ES" sz="800" dirty="0" err="1">
                <a:solidFill>
                  <a:schemeClr val="accent1"/>
                </a:solidFill>
              </a:rPr>
              <a:t>diastolic</a:t>
            </a:r>
            <a:r>
              <a:rPr lang="es-ES" sz="800" dirty="0">
                <a:solidFill>
                  <a:schemeClr val="accent1"/>
                </a:solidFill>
              </a:rPr>
              <a:t> </a:t>
            </a:r>
            <a:r>
              <a:rPr lang="es-ES" sz="800" dirty="0" err="1">
                <a:solidFill>
                  <a:schemeClr val="accent1"/>
                </a:solidFill>
              </a:rPr>
              <a:t>blood</a:t>
            </a:r>
            <a:r>
              <a:rPr lang="es-ES" sz="800" dirty="0">
                <a:solidFill>
                  <a:schemeClr val="accent1"/>
                </a:solidFill>
              </a:rPr>
              <a:t> </a:t>
            </a:r>
            <a:r>
              <a:rPr lang="es-ES" sz="800" dirty="0" err="1">
                <a:solidFill>
                  <a:schemeClr val="accent1"/>
                </a:solidFill>
              </a:rPr>
              <a:t>pressure</a:t>
            </a:r>
            <a:r>
              <a:rPr lang="es-ES" sz="800" dirty="0">
                <a:solidFill>
                  <a:schemeClr val="accent1"/>
                </a:solidFill>
              </a:rPr>
              <a:t>.</a:t>
            </a:r>
          </a:p>
        </p:txBody>
      </p:sp>
      <p:sp>
        <p:nvSpPr>
          <p:cNvPr id="8" name="CuadroTexto 7">
            <a:extLst>
              <a:ext uri="{FF2B5EF4-FFF2-40B4-BE49-F238E27FC236}">
                <a16:creationId xmlns:a16="http://schemas.microsoft.com/office/drawing/2014/main" id="{DB71D792-9C7B-A362-140C-F543F9E70F7B}"/>
              </a:ext>
            </a:extLst>
          </p:cNvPr>
          <p:cNvSpPr txBox="1"/>
          <p:nvPr/>
        </p:nvSpPr>
        <p:spPr>
          <a:xfrm>
            <a:off x="8462388" y="6128115"/>
            <a:ext cx="3327992"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pPr algn="r"/>
            <a:r>
              <a:rPr lang="en-US" dirty="0" err="1"/>
              <a:t>Eur</a:t>
            </a:r>
            <a:r>
              <a:rPr lang="en-US" dirty="0"/>
              <a:t> Heart J. 2024 Oct 7;45(38):3912-4018</a:t>
            </a:r>
            <a:endParaRPr lang="es-ES" dirty="0"/>
          </a:p>
        </p:txBody>
      </p:sp>
      <p:sp>
        <p:nvSpPr>
          <p:cNvPr id="13" name="CuadroTexto 12">
            <a:extLst>
              <a:ext uri="{FF2B5EF4-FFF2-40B4-BE49-F238E27FC236}">
                <a16:creationId xmlns:a16="http://schemas.microsoft.com/office/drawing/2014/main" id="{9DE90AB6-A2C6-2E5B-73C4-0DC792988B46}"/>
              </a:ext>
            </a:extLst>
          </p:cNvPr>
          <p:cNvSpPr txBox="1"/>
          <p:nvPr/>
        </p:nvSpPr>
        <p:spPr>
          <a:xfrm>
            <a:off x="911674" y="5983703"/>
            <a:ext cx="4439891" cy="213776"/>
          </a:xfrm>
          <a:prstGeom prst="rect">
            <a:avLst/>
          </a:prstGeom>
        </p:spPr>
        <p:txBody>
          <a:bodyPr/>
          <a:lstStyle>
            <a:defPPr>
              <a:defRPr lang="es-ES"/>
            </a:defPPr>
            <a:lvl1pPr indent="0" algn="ctr" defTabSz="914377">
              <a:lnSpc>
                <a:spcPct val="90000"/>
              </a:lnSpc>
              <a:spcBef>
                <a:spcPts val="1000"/>
              </a:spcBef>
              <a:buFont typeface="Arial" panose="020B0604020202020204" pitchFamily="34" charset="0"/>
              <a:buNone/>
              <a:defRPr sz="1200">
                <a:solidFill>
                  <a:schemeClr val="accent1"/>
                </a:solidFill>
              </a:defRPr>
            </a:lvl1pPr>
            <a:lvl2pPr marL="685783" indent="-228594" defTabSz="914377">
              <a:lnSpc>
                <a:spcPct val="90000"/>
              </a:lnSpc>
              <a:spcBef>
                <a:spcPts val="500"/>
              </a:spcBef>
              <a:buFont typeface="Arial" panose="020B0604020202020204" pitchFamily="34" charset="0"/>
              <a:buChar char="•"/>
              <a:defRPr sz="2400"/>
            </a:lvl2pPr>
            <a:lvl3pPr marL="1142971" indent="-228594" defTabSz="914377">
              <a:lnSpc>
                <a:spcPct val="90000"/>
              </a:lnSpc>
              <a:spcBef>
                <a:spcPts val="500"/>
              </a:spcBef>
              <a:buFont typeface="Arial" panose="020B0604020202020204" pitchFamily="34" charset="0"/>
              <a:buChar char="•"/>
              <a:defRPr sz="2000"/>
            </a:lvl3pPr>
            <a:lvl4pPr marL="1600160" indent="-228594" defTabSz="914377">
              <a:lnSpc>
                <a:spcPct val="90000"/>
              </a:lnSpc>
              <a:spcBef>
                <a:spcPts val="500"/>
              </a:spcBef>
              <a:buFont typeface="Arial" panose="020B0604020202020204" pitchFamily="34" charset="0"/>
              <a:buChar char="•"/>
            </a:lvl4pPr>
            <a:lvl5pPr marL="2057349" indent="-228594" defTabSz="914377">
              <a:lnSpc>
                <a:spcPct val="90000"/>
              </a:lnSpc>
              <a:spcBef>
                <a:spcPts val="500"/>
              </a:spcBef>
              <a:buFont typeface="Arial" panose="020B0604020202020204" pitchFamily="34" charset="0"/>
              <a:buChar cha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r>
              <a:rPr lang="es-ES" sz="1000" dirty="0"/>
              <a:t>Guía ESC 2024 Presión arterial elevada e Hipertensión arterial</a:t>
            </a:r>
          </a:p>
        </p:txBody>
      </p:sp>
      <p:sp>
        <p:nvSpPr>
          <p:cNvPr id="15" name="CuadroTexto 14">
            <a:extLst>
              <a:ext uri="{FF2B5EF4-FFF2-40B4-BE49-F238E27FC236}">
                <a16:creationId xmlns:a16="http://schemas.microsoft.com/office/drawing/2014/main" id="{6C5AF5CA-8BAF-BC73-3ED6-8FFDBD1AE78A}"/>
              </a:ext>
            </a:extLst>
          </p:cNvPr>
          <p:cNvSpPr txBox="1"/>
          <p:nvPr/>
        </p:nvSpPr>
        <p:spPr>
          <a:xfrm>
            <a:off x="911674" y="6184848"/>
            <a:ext cx="4439891" cy="307777"/>
          </a:xfrm>
          <a:prstGeom prst="rect">
            <a:avLst/>
          </a:prstGeom>
          <a:noFill/>
        </p:spPr>
        <p:txBody>
          <a:bodyPr wrap="square" rtlCol="0">
            <a:spAutoFit/>
          </a:bodyPr>
          <a:lstStyle>
            <a:defPPr>
              <a:defRPr lang="es-ES"/>
            </a:defPPr>
            <a:lvl1pPr>
              <a:defRPr sz="700" b="0" i="1">
                <a:solidFill>
                  <a:schemeClr val="accent1"/>
                </a:solidFill>
                <a:effectLst/>
              </a:defRPr>
            </a:lvl1pPr>
          </a:lstStyle>
          <a:p>
            <a:pPr algn="ctr"/>
            <a:r>
              <a:rPr lang="en-US" dirty="0"/>
              <a:t>1. McEvoy JW, et al. 2024 ESC Guidelines for the management of elevated blood pressure and hypertension. </a:t>
            </a:r>
            <a:r>
              <a:rPr lang="en-US" dirty="0" err="1"/>
              <a:t>Eur</a:t>
            </a:r>
            <a:r>
              <a:rPr lang="en-US" dirty="0"/>
              <a:t> Heart J. 2024 Oct 7;45(38):3912-4018. </a:t>
            </a:r>
            <a:r>
              <a:rPr lang="en-US" dirty="0" err="1"/>
              <a:t>doi</a:t>
            </a:r>
            <a:r>
              <a:rPr lang="en-US" dirty="0"/>
              <a:t>: 10.1093/</a:t>
            </a:r>
            <a:r>
              <a:rPr lang="en-US" dirty="0" err="1"/>
              <a:t>eurheartj</a:t>
            </a:r>
            <a:r>
              <a:rPr lang="en-US" dirty="0"/>
              <a:t>/ehae178.</a:t>
            </a:r>
          </a:p>
        </p:txBody>
      </p:sp>
      <p:sp>
        <p:nvSpPr>
          <p:cNvPr id="17" name="CuadroTexto 16">
            <a:extLst>
              <a:ext uri="{FF2B5EF4-FFF2-40B4-BE49-F238E27FC236}">
                <a16:creationId xmlns:a16="http://schemas.microsoft.com/office/drawing/2014/main" id="{F43D67DC-62A1-947A-CE1D-3DB449DCFE3D}"/>
              </a:ext>
            </a:extLst>
          </p:cNvPr>
          <p:cNvSpPr txBox="1"/>
          <p:nvPr/>
        </p:nvSpPr>
        <p:spPr>
          <a:xfrm>
            <a:off x="9827142" y="917621"/>
            <a:ext cx="337584" cy="369332"/>
          </a:xfrm>
          <a:prstGeom prst="rect">
            <a:avLst/>
          </a:prstGeom>
          <a:noFill/>
        </p:spPr>
        <p:txBody>
          <a:bodyPr wrap="square">
            <a:spAutoFit/>
          </a:bodyPr>
          <a:lstStyle/>
          <a:p>
            <a:r>
              <a:rPr lang="es-ES" sz="1800" baseline="30000" dirty="0">
                <a:solidFill>
                  <a:schemeClr val="accent1"/>
                </a:solidFill>
              </a:rPr>
              <a:t>1</a:t>
            </a:r>
            <a:endParaRPr lang="es-ES" dirty="0"/>
          </a:p>
        </p:txBody>
      </p:sp>
      <p:sp>
        <p:nvSpPr>
          <p:cNvPr id="5" name="CuadroTexto 4">
            <a:extLst>
              <a:ext uri="{FF2B5EF4-FFF2-40B4-BE49-F238E27FC236}">
                <a16:creationId xmlns:a16="http://schemas.microsoft.com/office/drawing/2014/main" id="{55CFBDD2-1B43-EB33-3D7C-2BE14187A46D}"/>
              </a:ext>
            </a:extLst>
          </p:cNvPr>
          <p:cNvSpPr txBox="1"/>
          <p:nvPr/>
        </p:nvSpPr>
        <p:spPr>
          <a:xfrm rot="16200000">
            <a:off x="10706425" y="3376069"/>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21983428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BB9207-FAAE-C78C-0AB7-424DB1E4DFDF}"/>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6E472215-C6CD-9649-5D45-3663F21696BA}"/>
              </a:ext>
            </a:extLst>
          </p:cNvPr>
          <p:cNvSpPr>
            <a:spLocks noGrp="1"/>
          </p:cNvSpPr>
          <p:nvPr>
            <p:ph type="body" sz="quarter" idx="24"/>
          </p:nvPr>
        </p:nvSpPr>
        <p:spPr/>
        <p:txBody>
          <a:bodyPr/>
          <a:lstStyle/>
          <a:p>
            <a:endParaRPr lang="es-ES" dirty="0"/>
          </a:p>
        </p:txBody>
      </p:sp>
      <p:sp>
        <p:nvSpPr>
          <p:cNvPr id="6" name="Marcador de número de diapositiva 5">
            <a:extLst>
              <a:ext uri="{FF2B5EF4-FFF2-40B4-BE49-F238E27FC236}">
                <a16:creationId xmlns:a16="http://schemas.microsoft.com/office/drawing/2014/main" id="{F92543A4-E30D-9276-7BFD-4DF9AA287BD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sp>
        <p:nvSpPr>
          <p:cNvPr id="12" name="6 CuadroTexto">
            <a:extLst>
              <a:ext uri="{FF2B5EF4-FFF2-40B4-BE49-F238E27FC236}">
                <a16:creationId xmlns:a16="http://schemas.microsoft.com/office/drawing/2014/main" id="{DC11FD55-B935-D512-0D76-7B95EA105C6E}"/>
              </a:ext>
            </a:extLst>
          </p:cNvPr>
          <p:cNvSpPr txBox="1"/>
          <p:nvPr/>
        </p:nvSpPr>
        <p:spPr>
          <a:xfrm>
            <a:off x="6528881" y="3754787"/>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2" name="Imagen 1">
            <a:extLst>
              <a:ext uri="{FF2B5EF4-FFF2-40B4-BE49-F238E27FC236}">
                <a16:creationId xmlns:a16="http://schemas.microsoft.com/office/drawing/2014/main" id="{3A0A7229-E078-A087-2F22-AD0AA2FDF9F1}"/>
              </a:ext>
            </a:extLst>
          </p:cNvPr>
          <p:cNvPicPr>
            <a:picLocks noChangeAspect="1"/>
          </p:cNvPicPr>
          <p:nvPr/>
        </p:nvPicPr>
        <p:blipFill>
          <a:blip r:embed="rId3"/>
          <a:stretch>
            <a:fillRect/>
          </a:stretch>
        </p:blipFill>
        <p:spPr>
          <a:xfrm>
            <a:off x="10623775" y="231972"/>
            <a:ext cx="1329043" cy="457240"/>
          </a:xfrm>
          <a:prstGeom prst="rect">
            <a:avLst/>
          </a:prstGeom>
        </p:spPr>
      </p:pic>
      <p:sp>
        <p:nvSpPr>
          <p:cNvPr id="9" name="Título 3">
            <a:extLst>
              <a:ext uri="{FF2B5EF4-FFF2-40B4-BE49-F238E27FC236}">
                <a16:creationId xmlns:a16="http://schemas.microsoft.com/office/drawing/2014/main" id="{A8D325AF-0241-08CD-5A7C-323B19EF17C0}"/>
              </a:ext>
            </a:extLst>
          </p:cNvPr>
          <p:cNvSpPr txBox="1">
            <a:spLocks/>
          </p:cNvSpPr>
          <p:nvPr/>
        </p:nvSpPr>
        <p:spPr>
          <a:xfrm>
            <a:off x="1080800" y="626184"/>
            <a:ext cx="4474732" cy="835720"/>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pPr algn="ctr"/>
            <a:r>
              <a:rPr lang="es-ES_tradnl" sz="2800" dirty="0"/>
              <a:t>Cribado de LOD en la hipertensión arterial</a:t>
            </a:r>
            <a:r>
              <a:rPr lang="es-ES_tradnl" sz="2800" baseline="30000" dirty="0"/>
              <a:t>1</a:t>
            </a:r>
            <a:endParaRPr lang="es-ES" sz="2800" baseline="30000" dirty="0"/>
          </a:p>
        </p:txBody>
      </p:sp>
      <p:pic>
        <p:nvPicPr>
          <p:cNvPr id="8" name="Imagen 7">
            <a:extLst>
              <a:ext uri="{FF2B5EF4-FFF2-40B4-BE49-F238E27FC236}">
                <a16:creationId xmlns:a16="http://schemas.microsoft.com/office/drawing/2014/main" id="{CDD45A39-45A1-8F47-B89F-8ECD24CC3468}"/>
              </a:ext>
            </a:extLst>
          </p:cNvPr>
          <p:cNvPicPr>
            <a:picLocks noChangeAspect="1"/>
          </p:cNvPicPr>
          <p:nvPr/>
        </p:nvPicPr>
        <p:blipFill>
          <a:blip r:embed="rId4"/>
          <a:stretch>
            <a:fillRect/>
          </a:stretch>
        </p:blipFill>
        <p:spPr>
          <a:xfrm>
            <a:off x="5725944" y="0"/>
            <a:ext cx="5562352" cy="6858000"/>
          </a:xfrm>
          <a:prstGeom prst="rect">
            <a:avLst/>
          </a:prstGeom>
        </p:spPr>
      </p:pic>
      <p:sp>
        <p:nvSpPr>
          <p:cNvPr id="15" name="CuadroTexto 14">
            <a:extLst>
              <a:ext uri="{FF2B5EF4-FFF2-40B4-BE49-F238E27FC236}">
                <a16:creationId xmlns:a16="http://schemas.microsoft.com/office/drawing/2014/main" id="{00FF9AF4-27ED-5D84-4C8C-397F330C80C9}"/>
              </a:ext>
            </a:extLst>
          </p:cNvPr>
          <p:cNvSpPr txBox="1"/>
          <p:nvPr/>
        </p:nvSpPr>
        <p:spPr>
          <a:xfrm>
            <a:off x="1358696" y="3754787"/>
            <a:ext cx="3918940" cy="1077218"/>
          </a:xfrm>
          <a:prstGeom prst="rect">
            <a:avLst/>
          </a:prstGeom>
          <a:noFill/>
        </p:spPr>
        <p:txBody>
          <a:bodyPr wrap="square">
            <a:spAutoFit/>
          </a:bodyPr>
          <a:lstStyle/>
          <a:p>
            <a:pPr algn="ctr"/>
            <a:r>
              <a:rPr lang="es-ES" sz="800" dirty="0">
                <a:solidFill>
                  <a:schemeClr val="accent1"/>
                </a:solidFill>
              </a:rPr>
              <a:t>ACR, </a:t>
            </a:r>
            <a:r>
              <a:rPr lang="es-ES" sz="800" dirty="0" err="1">
                <a:solidFill>
                  <a:schemeClr val="accent1"/>
                </a:solidFill>
              </a:rPr>
              <a:t>albumin</a:t>
            </a:r>
            <a:r>
              <a:rPr lang="es-ES" sz="800" dirty="0">
                <a:solidFill>
                  <a:schemeClr val="accent1"/>
                </a:solidFill>
              </a:rPr>
              <a:t>: </a:t>
            </a:r>
            <a:r>
              <a:rPr lang="es-ES" sz="800" dirty="0" err="1">
                <a:solidFill>
                  <a:schemeClr val="accent1"/>
                </a:solidFill>
              </a:rPr>
              <a:t>creatinine</a:t>
            </a:r>
            <a:r>
              <a:rPr lang="es-ES" sz="800" dirty="0">
                <a:solidFill>
                  <a:schemeClr val="accent1"/>
                </a:solidFill>
              </a:rPr>
              <a:t> ratio; BP, </a:t>
            </a:r>
            <a:r>
              <a:rPr lang="es-ES" sz="800" dirty="0" err="1">
                <a:solidFill>
                  <a:schemeClr val="accent1"/>
                </a:solidFill>
              </a:rPr>
              <a:t>blood</a:t>
            </a:r>
            <a:r>
              <a:rPr lang="es-ES" sz="800" dirty="0">
                <a:solidFill>
                  <a:schemeClr val="accent1"/>
                </a:solidFill>
              </a:rPr>
              <a:t> </a:t>
            </a:r>
            <a:r>
              <a:rPr lang="es-ES" sz="800" dirty="0" err="1">
                <a:solidFill>
                  <a:schemeClr val="accent1"/>
                </a:solidFill>
              </a:rPr>
              <a:t>pressure</a:t>
            </a:r>
            <a:r>
              <a:rPr lang="es-ES" sz="800" dirty="0">
                <a:solidFill>
                  <a:schemeClr val="accent1"/>
                </a:solidFill>
              </a:rPr>
              <a:t>; BSA, </a:t>
            </a:r>
            <a:r>
              <a:rPr lang="es-ES" sz="800" dirty="0" err="1">
                <a:solidFill>
                  <a:schemeClr val="accent1"/>
                </a:solidFill>
              </a:rPr>
              <a:t>body</a:t>
            </a:r>
            <a:r>
              <a:rPr lang="es-ES" sz="800" dirty="0">
                <a:solidFill>
                  <a:schemeClr val="accent1"/>
                </a:solidFill>
              </a:rPr>
              <a:t> </a:t>
            </a:r>
            <a:r>
              <a:rPr lang="es-ES" sz="800" dirty="0" err="1">
                <a:solidFill>
                  <a:schemeClr val="accent1"/>
                </a:solidFill>
              </a:rPr>
              <a:t>surface</a:t>
            </a:r>
            <a:r>
              <a:rPr lang="es-ES" sz="800" dirty="0">
                <a:solidFill>
                  <a:schemeClr val="accent1"/>
                </a:solidFill>
              </a:rPr>
              <a:t> </a:t>
            </a:r>
            <a:r>
              <a:rPr lang="es-ES" sz="800" dirty="0" err="1">
                <a:solidFill>
                  <a:schemeClr val="accent1"/>
                </a:solidFill>
              </a:rPr>
              <a:t>area</a:t>
            </a:r>
            <a:r>
              <a:rPr lang="es-ES" sz="800" dirty="0">
                <a:solidFill>
                  <a:schemeClr val="accent1"/>
                </a:solidFill>
              </a:rPr>
              <a:t>; CT, </a:t>
            </a:r>
            <a:r>
              <a:rPr lang="es-ES" sz="800" dirty="0" err="1">
                <a:solidFill>
                  <a:schemeClr val="accent1"/>
                </a:solidFill>
              </a:rPr>
              <a:t>computed</a:t>
            </a:r>
            <a:r>
              <a:rPr lang="es-ES" sz="800" dirty="0">
                <a:solidFill>
                  <a:schemeClr val="accent1"/>
                </a:solidFill>
              </a:rPr>
              <a:t> </a:t>
            </a:r>
            <a:r>
              <a:rPr lang="es-ES" sz="800" dirty="0" err="1">
                <a:solidFill>
                  <a:schemeClr val="accent1"/>
                </a:solidFill>
              </a:rPr>
              <a:t>tomography</a:t>
            </a:r>
            <a:r>
              <a:rPr lang="es-ES" sz="800" dirty="0">
                <a:solidFill>
                  <a:schemeClr val="accent1"/>
                </a:solidFill>
              </a:rPr>
              <a:t>; CVD, cardiovascular </a:t>
            </a:r>
            <a:r>
              <a:rPr lang="es-ES" sz="800" dirty="0" err="1">
                <a:solidFill>
                  <a:schemeClr val="accent1"/>
                </a:solidFill>
              </a:rPr>
              <a:t>disease</a:t>
            </a:r>
            <a:r>
              <a:rPr lang="es-ES" sz="800" dirty="0">
                <a:solidFill>
                  <a:schemeClr val="accent1"/>
                </a:solidFill>
              </a:rPr>
              <a:t>; ECG, </a:t>
            </a:r>
            <a:r>
              <a:rPr lang="es-ES" sz="800" dirty="0" err="1">
                <a:solidFill>
                  <a:schemeClr val="accent1"/>
                </a:solidFill>
              </a:rPr>
              <a:t>electrocardiogram</a:t>
            </a:r>
            <a:r>
              <a:rPr lang="es-ES" sz="800" dirty="0">
                <a:solidFill>
                  <a:schemeClr val="accent1"/>
                </a:solidFill>
              </a:rPr>
              <a:t>; </a:t>
            </a:r>
            <a:r>
              <a:rPr lang="es-ES" sz="800" dirty="0" err="1">
                <a:solidFill>
                  <a:schemeClr val="accent1"/>
                </a:solidFill>
              </a:rPr>
              <a:t>eGFR</a:t>
            </a:r>
            <a:r>
              <a:rPr lang="es-ES" sz="800" dirty="0">
                <a:solidFill>
                  <a:schemeClr val="accent1"/>
                </a:solidFill>
              </a:rPr>
              <a:t>, </a:t>
            </a:r>
            <a:r>
              <a:rPr lang="es-ES" sz="800" dirty="0" err="1">
                <a:solidFill>
                  <a:schemeClr val="accent1"/>
                </a:solidFill>
              </a:rPr>
              <a:t>estimated</a:t>
            </a:r>
            <a:r>
              <a:rPr lang="es-ES" sz="800" dirty="0">
                <a:solidFill>
                  <a:schemeClr val="accent1"/>
                </a:solidFill>
              </a:rPr>
              <a:t> glomerular </a:t>
            </a:r>
            <a:r>
              <a:rPr lang="es-ES" sz="800" dirty="0" err="1">
                <a:solidFill>
                  <a:schemeClr val="accent1"/>
                </a:solidFill>
              </a:rPr>
              <a:t>filtration</a:t>
            </a:r>
            <a:r>
              <a:rPr lang="es-ES" sz="800" dirty="0">
                <a:solidFill>
                  <a:schemeClr val="accent1"/>
                </a:solidFill>
              </a:rPr>
              <a:t> </a:t>
            </a:r>
            <a:r>
              <a:rPr lang="es-ES" sz="800" dirty="0" err="1">
                <a:solidFill>
                  <a:schemeClr val="accent1"/>
                </a:solidFill>
              </a:rPr>
              <a:t>rate</a:t>
            </a:r>
            <a:r>
              <a:rPr lang="es-ES" sz="800" dirty="0">
                <a:solidFill>
                  <a:schemeClr val="accent1"/>
                </a:solidFill>
              </a:rPr>
              <a:t>; HMOD, </a:t>
            </a:r>
            <a:r>
              <a:rPr lang="es-ES" sz="800" dirty="0" err="1">
                <a:solidFill>
                  <a:schemeClr val="accent1"/>
                </a:solidFill>
              </a:rPr>
              <a:t>hypertension-mediated</a:t>
            </a:r>
            <a:r>
              <a:rPr lang="es-ES" sz="800" dirty="0">
                <a:solidFill>
                  <a:schemeClr val="accent1"/>
                </a:solidFill>
              </a:rPr>
              <a:t> </a:t>
            </a:r>
            <a:r>
              <a:rPr lang="es-ES" sz="800" dirty="0" err="1">
                <a:solidFill>
                  <a:schemeClr val="accent1"/>
                </a:solidFill>
              </a:rPr>
              <a:t>organ</a:t>
            </a:r>
            <a:r>
              <a:rPr lang="es-ES" sz="800" dirty="0">
                <a:solidFill>
                  <a:schemeClr val="accent1"/>
                </a:solidFill>
              </a:rPr>
              <a:t> </a:t>
            </a:r>
            <a:r>
              <a:rPr lang="es-ES" sz="800" dirty="0" err="1">
                <a:solidFill>
                  <a:schemeClr val="accent1"/>
                </a:solidFill>
              </a:rPr>
              <a:t>damage</a:t>
            </a:r>
            <a:r>
              <a:rPr lang="es-ES" sz="800" dirty="0">
                <a:solidFill>
                  <a:schemeClr val="accent1"/>
                </a:solidFill>
              </a:rPr>
              <a:t>; </a:t>
            </a:r>
            <a:r>
              <a:rPr lang="es-ES" sz="800" dirty="0" err="1">
                <a:solidFill>
                  <a:schemeClr val="accent1"/>
                </a:solidFill>
              </a:rPr>
              <a:t>hs-cTnT</a:t>
            </a:r>
            <a:r>
              <a:rPr lang="es-ES" sz="800" dirty="0">
                <a:solidFill>
                  <a:schemeClr val="accent1"/>
                </a:solidFill>
              </a:rPr>
              <a:t>, </a:t>
            </a:r>
            <a:r>
              <a:rPr lang="es-ES" sz="800" dirty="0" err="1">
                <a:solidFill>
                  <a:schemeClr val="accent1"/>
                </a:solidFill>
              </a:rPr>
              <a:t>high-sensitivity</a:t>
            </a:r>
            <a:r>
              <a:rPr lang="es-ES" sz="800" dirty="0">
                <a:solidFill>
                  <a:schemeClr val="accent1"/>
                </a:solidFill>
              </a:rPr>
              <a:t> </a:t>
            </a:r>
            <a:r>
              <a:rPr lang="es-ES" sz="800" dirty="0" err="1">
                <a:solidFill>
                  <a:schemeClr val="accent1"/>
                </a:solidFill>
              </a:rPr>
              <a:t>cardiac</a:t>
            </a:r>
            <a:r>
              <a:rPr lang="es-ES" sz="800" dirty="0">
                <a:solidFill>
                  <a:schemeClr val="accent1"/>
                </a:solidFill>
              </a:rPr>
              <a:t> </a:t>
            </a:r>
            <a:r>
              <a:rPr lang="es-ES" sz="800" dirty="0" err="1">
                <a:solidFill>
                  <a:schemeClr val="accent1"/>
                </a:solidFill>
              </a:rPr>
              <a:t>troponin</a:t>
            </a:r>
            <a:r>
              <a:rPr lang="es-ES" sz="800" dirty="0">
                <a:solidFill>
                  <a:schemeClr val="accent1"/>
                </a:solidFill>
              </a:rPr>
              <a:t> T; LA, </a:t>
            </a:r>
            <a:r>
              <a:rPr lang="es-ES" sz="800" dirty="0" err="1">
                <a:solidFill>
                  <a:schemeClr val="accent1"/>
                </a:solidFill>
              </a:rPr>
              <a:t>left</a:t>
            </a:r>
            <a:r>
              <a:rPr lang="es-ES" sz="800" dirty="0">
                <a:solidFill>
                  <a:schemeClr val="accent1"/>
                </a:solidFill>
              </a:rPr>
              <a:t> atrial; LV, </a:t>
            </a:r>
            <a:r>
              <a:rPr lang="es-ES" sz="800" dirty="0" err="1">
                <a:solidFill>
                  <a:schemeClr val="accent1"/>
                </a:solidFill>
              </a:rPr>
              <a:t>left</a:t>
            </a:r>
            <a:r>
              <a:rPr lang="es-ES" sz="800" dirty="0">
                <a:solidFill>
                  <a:schemeClr val="accent1"/>
                </a:solidFill>
              </a:rPr>
              <a:t> ventricular; LVH, </a:t>
            </a:r>
            <a:r>
              <a:rPr lang="es-ES" sz="800" dirty="0" err="1">
                <a:solidFill>
                  <a:schemeClr val="accent1"/>
                </a:solidFill>
              </a:rPr>
              <a:t>left</a:t>
            </a:r>
            <a:r>
              <a:rPr lang="es-ES" sz="800" dirty="0">
                <a:solidFill>
                  <a:schemeClr val="accent1"/>
                </a:solidFill>
              </a:rPr>
              <a:t> ventricular </a:t>
            </a:r>
            <a:r>
              <a:rPr lang="es-ES" sz="800" dirty="0" err="1">
                <a:solidFill>
                  <a:schemeClr val="accent1"/>
                </a:solidFill>
              </a:rPr>
              <a:t>hypertrophy</a:t>
            </a:r>
            <a:r>
              <a:rPr lang="es-ES" sz="800" dirty="0">
                <a:solidFill>
                  <a:schemeClr val="accent1"/>
                </a:solidFill>
              </a:rPr>
              <a:t>; NT-</a:t>
            </a:r>
            <a:r>
              <a:rPr lang="es-ES" sz="800" dirty="0" err="1">
                <a:solidFill>
                  <a:schemeClr val="accent1"/>
                </a:solidFill>
              </a:rPr>
              <a:t>proBNP</a:t>
            </a:r>
            <a:r>
              <a:rPr lang="es-ES" sz="800" dirty="0">
                <a:solidFill>
                  <a:schemeClr val="accent1"/>
                </a:solidFill>
              </a:rPr>
              <a:t>, N-terminal </a:t>
            </a:r>
            <a:r>
              <a:rPr lang="es-ES" sz="800" dirty="0" err="1">
                <a:solidFill>
                  <a:schemeClr val="accent1"/>
                </a:solidFill>
              </a:rPr>
              <a:t>pro-brain</a:t>
            </a:r>
            <a:r>
              <a:rPr lang="es-ES" sz="800" dirty="0">
                <a:solidFill>
                  <a:schemeClr val="accent1"/>
                </a:solidFill>
              </a:rPr>
              <a:t> </a:t>
            </a:r>
            <a:r>
              <a:rPr lang="es-ES" sz="800" dirty="0" err="1">
                <a:solidFill>
                  <a:schemeClr val="accent1"/>
                </a:solidFill>
              </a:rPr>
              <a:t>natriuretic</a:t>
            </a:r>
            <a:r>
              <a:rPr lang="es-ES" sz="800" dirty="0">
                <a:solidFill>
                  <a:schemeClr val="accent1"/>
                </a:solidFill>
              </a:rPr>
              <a:t> </a:t>
            </a:r>
            <a:r>
              <a:rPr lang="es-ES" sz="800" dirty="0" err="1">
                <a:solidFill>
                  <a:schemeClr val="accent1"/>
                </a:solidFill>
              </a:rPr>
              <a:t>peptide</a:t>
            </a:r>
            <a:r>
              <a:rPr lang="es-ES" sz="800" dirty="0">
                <a:solidFill>
                  <a:schemeClr val="accent1"/>
                </a:solidFill>
              </a:rPr>
              <a:t>; PWV, pulse wave </a:t>
            </a:r>
            <a:r>
              <a:rPr lang="es-ES" sz="800" dirty="0" err="1">
                <a:solidFill>
                  <a:schemeClr val="accent1"/>
                </a:solidFill>
              </a:rPr>
              <a:t>velocity</a:t>
            </a:r>
            <a:r>
              <a:rPr lang="es-ES" sz="800" dirty="0">
                <a:solidFill>
                  <a:schemeClr val="accent1"/>
                </a:solidFill>
              </a:rPr>
              <a:t>; RWT, relative </a:t>
            </a:r>
            <a:r>
              <a:rPr lang="es-ES" sz="800" dirty="0" err="1">
                <a:solidFill>
                  <a:schemeClr val="accent1"/>
                </a:solidFill>
              </a:rPr>
              <a:t>wall</a:t>
            </a:r>
            <a:r>
              <a:rPr lang="es-ES" sz="800" dirty="0">
                <a:solidFill>
                  <a:schemeClr val="accent1"/>
                </a:solidFill>
              </a:rPr>
              <a:t> </a:t>
            </a:r>
            <a:r>
              <a:rPr lang="es-ES" sz="800" dirty="0" err="1">
                <a:solidFill>
                  <a:schemeClr val="accent1"/>
                </a:solidFill>
              </a:rPr>
              <a:t>thickness</a:t>
            </a:r>
            <a:r>
              <a:rPr lang="es-ES" sz="800" dirty="0">
                <a:solidFill>
                  <a:schemeClr val="accent1"/>
                </a:solidFill>
              </a:rPr>
              <a:t>; SCORE2, </a:t>
            </a:r>
            <a:r>
              <a:rPr lang="es-ES" sz="800" dirty="0" err="1">
                <a:solidFill>
                  <a:schemeClr val="accent1"/>
                </a:solidFill>
              </a:rPr>
              <a:t>Systematic</a:t>
            </a:r>
            <a:r>
              <a:rPr lang="es-ES" sz="800" dirty="0">
                <a:solidFill>
                  <a:schemeClr val="accent1"/>
                </a:solidFill>
              </a:rPr>
              <a:t> </a:t>
            </a:r>
            <a:r>
              <a:rPr lang="es-ES" sz="800" dirty="0" err="1">
                <a:solidFill>
                  <a:schemeClr val="accent1"/>
                </a:solidFill>
              </a:rPr>
              <a:t>COronary</a:t>
            </a:r>
            <a:r>
              <a:rPr lang="es-ES" sz="800" dirty="0">
                <a:solidFill>
                  <a:schemeClr val="accent1"/>
                </a:solidFill>
              </a:rPr>
              <a:t> </a:t>
            </a:r>
            <a:r>
              <a:rPr lang="es-ES" sz="800" dirty="0" err="1">
                <a:solidFill>
                  <a:schemeClr val="accent1"/>
                </a:solidFill>
              </a:rPr>
              <a:t>Risk</a:t>
            </a:r>
            <a:r>
              <a:rPr lang="es-ES" sz="800" dirty="0">
                <a:solidFill>
                  <a:schemeClr val="accent1"/>
                </a:solidFill>
              </a:rPr>
              <a:t> </a:t>
            </a:r>
            <a:r>
              <a:rPr lang="es-ES" sz="800" dirty="0" err="1">
                <a:solidFill>
                  <a:schemeClr val="accent1"/>
                </a:solidFill>
              </a:rPr>
              <a:t>Evaluation</a:t>
            </a:r>
            <a:r>
              <a:rPr lang="es-ES" sz="800" dirty="0">
                <a:solidFill>
                  <a:schemeClr val="accent1"/>
                </a:solidFill>
              </a:rPr>
              <a:t> 2; SCORE2-OP, </a:t>
            </a:r>
            <a:r>
              <a:rPr lang="es-ES" sz="800" dirty="0" err="1">
                <a:solidFill>
                  <a:schemeClr val="accent1"/>
                </a:solidFill>
              </a:rPr>
              <a:t>Systematic</a:t>
            </a:r>
            <a:r>
              <a:rPr lang="es-ES" sz="800" dirty="0">
                <a:solidFill>
                  <a:schemeClr val="accent1"/>
                </a:solidFill>
              </a:rPr>
              <a:t> </a:t>
            </a:r>
            <a:r>
              <a:rPr lang="es-ES" sz="800" dirty="0" err="1">
                <a:solidFill>
                  <a:schemeClr val="accent1"/>
                </a:solidFill>
              </a:rPr>
              <a:t>COronary</a:t>
            </a:r>
            <a:r>
              <a:rPr lang="es-ES" sz="800" dirty="0">
                <a:solidFill>
                  <a:schemeClr val="accent1"/>
                </a:solidFill>
              </a:rPr>
              <a:t> </a:t>
            </a:r>
            <a:r>
              <a:rPr lang="es-ES" sz="800" dirty="0" err="1">
                <a:solidFill>
                  <a:schemeClr val="accent1"/>
                </a:solidFill>
              </a:rPr>
              <a:t>Risk</a:t>
            </a:r>
            <a:r>
              <a:rPr lang="es-ES" sz="800" dirty="0">
                <a:solidFill>
                  <a:schemeClr val="accent1"/>
                </a:solidFill>
              </a:rPr>
              <a:t> </a:t>
            </a:r>
            <a:r>
              <a:rPr lang="es-ES" sz="800" dirty="0" err="1">
                <a:solidFill>
                  <a:schemeClr val="accent1"/>
                </a:solidFill>
              </a:rPr>
              <a:t>Evaluation</a:t>
            </a:r>
            <a:r>
              <a:rPr lang="es-ES" sz="800" dirty="0">
                <a:solidFill>
                  <a:schemeClr val="accent1"/>
                </a:solidFill>
              </a:rPr>
              <a:t> 2–</a:t>
            </a:r>
            <a:r>
              <a:rPr lang="es-ES" sz="800" dirty="0" err="1">
                <a:solidFill>
                  <a:schemeClr val="accent1"/>
                </a:solidFill>
              </a:rPr>
              <a:t>Older</a:t>
            </a:r>
            <a:r>
              <a:rPr lang="es-ES" sz="800" dirty="0">
                <a:solidFill>
                  <a:schemeClr val="accent1"/>
                </a:solidFill>
              </a:rPr>
              <a:t> </a:t>
            </a:r>
            <a:r>
              <a:rPr lang="es-ES" sz="800" dirty="0" err="1">
                <a:solidFill>
                  <a:schemeClr val="accent1"/>
                </a:solidFill>
              </a:rPr>
              <a:t>Persons</a:t>
            </a:r>
            <a:r>
              <a:rPr lang="es-ES" sz="800" dirty="0">
                <a:solidFill>
                  <a:schemeClr val="accent1"/>
                </a:solidFill>
              </a:rPr>
              <a:t> </a:t>
            </a:r>
          </a:p>
        </p:txBody>
      </p:sp>
      <p:sp>
        <p:nvSpPr>
          <p:cNvPr id="3" name="CuadroTexto 2">
            <a:extLst>
              <a:ext uri="{FF2B5EF4-FFF2-40B4-BE49-F238E27FC236}">
                <a16:creationId xmlns:a16="http://schemas.microsoft.com/office/drawing/2014/main" id="{574CFF4D-693A-86E2-3940-2E4A69F9765E}"/>
              </a:ext>
            </a:extLst>
          </p:cNvPr>
          <p:cNvSpPr txBox="1"/>
          <p:nvPr/>
        </p:nvSpPr>
        <p:spPr>
          <a:xfrm>
            <a:off x="1148782" y="5667866"/>
            <a:ext cx="3897321" cy="233545"/>
          </a:xfrm>
          <a:prstGeom prst="rect">
            <a:avLst/>
          </a:prstGeom>
        </p:spPr>
        <p:txBody>
          <a:bodyPr/>
          <a:lstStyle>
            <a:defPPr>
              <a:defRPr lang="es-ES"/>
            </a:defPPr>
            <a:lvl1pPr indent="0" algn="ctr" defTabSz="914377">
              <a:lnSpc>
                <a:spcPct val="90000"/>
              </a:lnSpc>
              <a:spcBef>
                <a:spcPts val="1000"/>
              </a:spcBef>
              <a:buFont typeface="Arial" panose="020B0604020202020204" pitchFamily="34" charset="0"/>
              <a:buNone/>
              <a:defRPr sz="1200">
                <a:solidFill>
                  <a:schemeClr val="accent1"/>
                </a:solidFill>
              </a:defRPr>
            </a:lvl1pPr>
            <a:lvl2pPr marL="685783" indent="-228594" defTabSz="914377">
              <a:lnSpc>
                <a:spcPct val="90000"/>
              </a:lnSpc>
              <a:spcBef>
                <a:spcPts val="500"/>
              </a:spcBef>
              <a:buFont typeface="Arial" panose="020B0604020202020204" pitchFamily="34" charset="0"/>
              <a:buChar char="•"/>
              <a:defRPr sz="2400"/>
            </a:lvl2pPr>
            <a:lvl3pPr marL="1142971" indent="-228594" defTabSz="914377">
              <a:lnSpc>
                <a:spcPct val="90000"/>
              </a:lnSpc>
              <a:spcBef>
                <a:spcPts val="500"/>
              </a:spcBef>
              <a:buFont typeface="Arial" panose="020B0604020202020204" pitchFamily="34" charset="0"/>
              <a:buChar char="•"/>
              <a:defRPr sz="2000"/>
            </a:lvl3pPr>
            <a:lvl4pPr marL="1600160" indent="-228594" defTabSz="914377">
              <a:lnSpc>
                <a:spcPct val="90000"/>
              </a:lnSpc>
              <a:spcBef>
                <a:spcPts val="500"/>
              </a:spcBef>
              <a:buFont typeface="Arial" panose="020B0604020202020204" pitchFamily="34" charset="0"/>
              <a:buChar char="•"/>
            </a:lvl4pPr>
            <a:lvl5pPr marL="2057349" indent="-228594" defTabSz="914377">
              <a:lnSpc>
                <a:spcPct val="90000"/>
              </a:lnSpc>
              <a:spcBef>
                <a:spcPts val="500"/>
              </a:spcBef>
              <a:buFont typeface="Arial" panose="020B0604020202020204" pitchFamily="34" charset="0"/>
              <a:buChar cha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r>
              <a:rPr lang="es-ES" sz="1000" dirty="0"/>
              <a:t>Guía ESC 2024 Presión arterial elevada e Hipertensión arterial</a:t>
            </a:r>
          </a:p>
        </p:txBody>
      </p:sp>
      <p:sp>
        <p:nvSpPr>
          <p:cNvPr id="5" name="CuadroTexto 4">
            <a:extLst>
              <a:ext uri="{FF2B5EF4-FFF2-40B4-BE49-F238E27FC236}">
                <a16:creationId xmlns:a16="http://schemas.microsoft.com/office/drawing/2014/main" id="{090151A4-7828-A5B3-6C48-7D5F9D002A57}"/>
              </a:ext>
            </a:extLst>
          </p:cNvPr>
          <p:cNvSpPr txBox="1"/>
          <p:nvPr/>
        </p:nvSpPr>
        <p:spPr>
          <a:xfrm>
            <a:off x="853876" y="5901411"/>
            <a:ext cx="4439891" cy="307777"/>
          </a:xfrm>
          <a:prstGeom prst="rect">
            <a:avLst/>
          </a:prstGeom>
          <a:noFill/>
        </p:spPr>
        <p:txBody>
          <a:bodyPr wrap="square" rtlCol="0">
            <a:spAutoFit/>
          </a:bodyPr>
          <a:lstStyle>
            <a:defPPr>
              <a:defRPr lang="es-ES"/>
            </a:defPPr>
            <a:lvl1pPr>
              <a:defRPr sz="700" b="0" i="1">
                <a:solidFill>
                  <a:schemeClr val="accent1"/>
                </a:solidFill>
                <a:effectLst/>
              </a:defRPr>
            </a:lvl1pPr>
          </a:lstStyle>
          <a:p>
            <a:pPr algn="ctr"/>
            <a:r>
              <a:rPr lang="en-US" dirty="0"/>
              <a:t>1. McEvoy JW, et al. 2024 ESC Guidelines for the management of elevated blood pressure and hypertension. </a:t>
            </a:r>
            <a:r>
              <a:rPr lang="en-US" dirty="0" err="1"/>
              <a:t>Eur</a:t>
            </a:r>
            <a:r>
              <a:rPr lang="en-US" dirty="0"/>
              <a:t> Heart J. 2024 Oct 7;45(38):3912-4018. </a:t>
            </a:r>
            <a:r>
              <a:rPr lang="en-US" dirty="0" err="1"/>
              <a:t>doi</a:t>
            </a:r>
            <a:r>
              <a:rPr lang="en-US" dirty="0"/>
              <a:t>: 10.1093/</a:t>
            </a:r>
            <a:r>
              <a:rPr lang="en-US" dirty="0" err="1"/>
              <a:t>eurheartj</a:t>
            </a:r>
            <a:r>
              <a:rPr lang="en-US" dirty="0"/>
              <a:t>/ehae178.</a:t>
            </a:r>
          </a:p>
        </p:txBody>
      </p:sp>
      <p:sp>
        <p:nvSpPr>
          <p:cNvPr id="10" name="CuadroTexto 9">
            <a:extLst>
              <a:ext uri="{FF2B5EF4-FFF2-40B4-BE49-F238E27FC236}">
                <a16:creationId xmlns:a16="http://schemas.microsoft.com/office/drawing/2014/main" id="{EC7E5931-35D5-DA94-4A87-0BFF96DBE358}"/>
              </a:ext>
            </a:extLst>
          </p:cNvPr>
          <p:cNvSpPr txBox="1"/>
          <p:nvPr/>
        </p:nvSpPr>
        <p:spPr>
          <a:xfrm>
            <a:off x="11095920" y="5901411"/>
            <a:ext cx="1049274" cy="307777"/>
          </a:xfrm>
          <a:prstGeom prst="rect">
            <a:avLst/>
          </a:prstGeom>
          <a:noFill/>
        </p:spPr>
        <p:txBody>
          <a:bodyPr wrap="square" rtlCol="0">
            <a:spAutoFit/>
          </a:bodyPr>
          <a:lstStyle>
            <a:defPPr>
              <a:defRPr lang="es-ES"/>
            </a:defPPr>
            <a:lvl1pPr algn="ctr">
              <a:defRPr sz="700" b="0" i="1">
                <a:solidFill>
                  <a:schemeClr val="accent1"/>
                </a:solidFill>
                <a:effectLst/>
              </a:defRPr>
            </a:lvl1pPr>
          </a:lstStyle>
          <a:p>
            <a:r>
              <a:rPr lang="en-US" dirty="0" err="1"/>
              <a:t>Eur</a:t>
            </a:r>
            <a:r>
              <a:rPr lang="en-US" dirty="0"/>
              <a:t> Heart J. 2024 Oct 7;45(38):3912-4018. </a:t>
            </a:r>
            <a:endParaRPr lang="es-ES" dirty="0"/>
          </a:p>
        </p:txBody>
      </p:sp>
      <p:sp>
        <p:nvSpPr>
          <p:cNvPr id="7" name="CuadroTexto 6">
            <a:extLst>
              <a:ext uri="{FF2B5EF4-FFF2-40B4-BE49-F238E27FC236}">
                <a16:creationId xmlns:a16="http://schemas.microsoft.com/office/drawing/2014/main" id="{9DB3A054-3866-D548-AADC-64D73A48F71D}"/>
              </a:ext>
            </a:extLst>
          </p:cNvPr>
          <p:cNvSpPr txBox="1"/>
          <p:nvPr/>
        </p:nvSpPr>
        <p:spPr>
          <a:xfrm rot="16200000">
            <a:off x="10633273" y="3376069"/>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15580981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710F47-7A69-2C34-CAEB-66FB3BB25130}"/>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E4F038BA-043D-4011-0363-6EFF17A99634}"/>
              </a:ext>
            </a:extLst>
          </p:cNvPr>
          <p:cNvSpPr>
            <a:spLocks noGrp="1"/>
          </p:cNvSpPr>
          <p:nvPr>
            <p:ph type="body" sz="quarter" idx="24"/>
          </p:nvPr>
        </p:nvSpPr>
        <p:spPr/>
        <p:txBody>
          <a:bodyPr/>
          <a:lstStyle/>
          <a:p>
            <a:endParaRPr lang="es-ES" dirty="0"/>
          </a:p>
        </p:txBody>
      </p:sp>
      <p:sp>
        <p:nvSpPr>
          <p:cNvPr id="6" name="Marcador de número de diapositiva 5">
            <a:extLst>
              <a:ext uri="{FF2B5EF4-FFF2-40B4-BE49-F238E27FC236}">
                <a16:creationId xmlns:a16="http://schemas.microsoft.com/office/drawing/2014/main" id="{81C5DFDD-DA76-F6B2-8825-CC72BC749162}"/>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sp>
        <p:nvSpPr>
          <p:cNvPr id="12" name="6 CuadroTexto">
            <a:extLst>
              <a:ext uri="{FF2B5EF4-FFF2-40B4-BE49-F238E27FC236}">
                <a16:creationId xmlns:a16="http://schemas.microsoft.com/office/drawing/2014/main" id="{C9CD9150-98C4-B782-4227-AC50A63194EC}"/>
              </a:ext>
            </a:extLst>
          </p:cNvPr>
          <p:cNvSpPr txBox="1"/>
          <p:nvPr/>
        </p:nvSpPr>
        <p:spPr>
          <a:xfrm>
            <a:off x="6528881" y="3754787"/>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2" name="Imagen 1">
            <a:extLst>
              <a:ext uri="{FF2B5EF4-FFF2-40B4-BE49-F238E27FC236}">
                <a16:creationId xmlns:a16="http://schemas.microsoft.com/office/drawing/2014/main" id="{1727E4F0-49C4-A06A-FFB3-CFF86261FCF0}"/>
              </a:ext>
            </a:extLst>
          </p:cNvPr>
          <p:cNvPicPr>
            <a:picLocks noChangeAspect="1"/>
          </p:cNvPicPr>
          <p:nvPr/>
        </p:nvPicPr>
        <p:blipFill>
          <a:blip r:embed="rId3"/>
          <a:stretch>
            <a:fillRect/>
          </a:stretch>
        </p:blipFill>
        <p:spPr>
          <a:xfrm>
            <a:off x="10623775" y="231972"/>
            <a:ext cx="1329043" cy="457240"/>
          </a:xfrm>
          <a:prstGeom prst="rect">
            <a:avLst/>
          </a:prstGeom>
        </p:spPr>
      </p:pic>
      <p:sp>
        <p:nvSpPr>
          <p:cNvPr id="9" name="Título 3">
            <a:extLst>
              <a:ext uri="{FF2B5EF4-FFF2-40B4-BE49-F238E27FC236}">
                <a16:creationId xmlns:a16="http://schemas.microsoft.com/office/drawing/2014/main" id="{E4EECE42-C775-65CF-87DD-EFA2E65F0ABF}"/>
              </a:ext>
            </a:extLst>
          </p:cNvPr>
          <p:cNvSpPr txBox="1">
            <a:spLocks/>
          </p:cNvSpPr>
          <p:nvPr/>
        </p:nvSpPr>
        <p:spPr>
          <a:xfrm>
            <a:off x="1140921" y="244592"/>
            <a:ext cx="5086143" cy="782258"/>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_tradnl" sz="2800" dirty="0"/>
              <a:t>Recomendaciones para evaluar LOD en hipertensión</a:t>
            </a:r>
            <a:endParaRPr lang="es-ES" sz="2800" dirty="0"/>
          </a:p>
        </p:txBody>
      </p:sp>
      <p:sp>
        <p:nvSpPr>
          <p:cNvPr id="16" name="CuadroTexto 15">
            <a:extLst>
              <a:ext uri="{FF2B5EF4-FFF2-40B4-BE49-F238E27FC236}">
                <a16:creationId xmlns:a16="http://schemas.microsoft.com/office/drawing/2014/main" id="{56BB30E7-D2C0-1998-C4FB-7881170EC696}"/>
              </a:ext>
            </a:extLst>
          </p:cNvPr>
          <p:cNvSpPr txBox="1"/>
          <p:nvPr/>
        </p:nvSpPr>
        <p:spPr>
          <a:xfrm>
            <a:off x="1773456" y="1187878"/>
            <a:ext cx="3874218" cy="276999"/>
          </a:xfrm>
          <a:prstGeom prst="rect">
            <a:avLst/>
          </a:prstGeom>
          <a:solidFill>
            <a:schemeClr val="accent2"/>
          </a:solidFill>
          <a:ln w="19050">
            <a:solidFill>
              <a:schemeClr val="accent4"/>
            </a:solidFill>
          </a:ln>
        </p:spPr>
        <p:txBody>
          <a:bodyPr wrap="square" rtlCol="0">
            <a:spAutoFit/>
          </a:bodyPr>
          <a:lstStyle/>
          <a:p>
            <a:pPr algn="ctr"/>
            <a:r>
              <a:rPr lang="es-ES" sz="1200" dirty="0">
                <a:solidFill>
                  <a:schemeClr val="accent1"/>
                </a:solidFill>
              </a:rPr>
              <a:t>LOD vascular</a:t>
            </a:r>
            <a:r>
              <a:rPr lang="es-ES_tradnl" sz="1200" baseline="30000" dirty="0"/>
              <a:t>1</a:t>
            </a:r>
            <a:endParaRPr lang="es-ES" sz="1200" dirty="0">
              <a:solidFill>
                <a:schemeClr val="accent1"/>
              </a:solidFill>
            </a:endParaRPr>
          </a:p>
        </p:txBody>
      </p:sp>
      <p:sp>
        <p:nvSpPr>
          <p:cNvPr id="3" name="CuadroTexto 2">
            <a:extLst>
              <a:ext uri="{FF2B5EF4-FFF2-40B4-BE49-F238E27FC236}">
                <a16:creationId xmlns:a16="http://schemas.microsoft.com/office/drawing/2014/main" id="{9FF09D29-FBCF-AB82-9F41-AE7400DF1B8B}"/>
              </a:ext>
            </a:extLst>
          </p:cNvPr>
          <p:cNvSpPr txBox="1"/>
          <p:nvPr/>
        </p:nvSpPr>
        <p:spPr>
          <a:xfrm>
            <a:off x="6622428" y="443091"/>
            <a:ext cx="3874218" cy="276999"/>
          </a:xfrm>
          <a:prstGeom prst="rect">
            <a:avLst/>
          </a:prstGeom>
          <a:solidFill>
            <a:schemeClr val="accent2"/>
          </a:solidFill>
          <a:ln w="19050">
            <a:solidFill>
              <a:schemeClr val="accent4"/>
            </a:solidFill>
          </a:ln>
        </p:spPr>
        <p:txBody>
          <a:bodyPr wrap="square" rtlCol="0">
            <a:spAutoFit/>
          </a:bodyPr>
          <a:lstStyle/>
          <a:p>
            <a:pPr algn="ctr"/>
            <a:r>
              <a:rPr lang="es-ES" sz="1200" dirty="0">
                <a:solidFill>
                  <a:schemeClr val="accent1"/>
                </a:solidFill>
              </a:rPr>
              <a:t>LOD de riñón</a:t>
            </a:r>
            <a:r>
              <a:rPr lang="es-ES_tradnl" sz="1200" baseline="30000" dirty="0"/>
              <a:t>1</a:t>
            </a:r>
            <a:endParaRPr lang="es-ES" sz="1200" dirty="0">
              <a:solidFill>
                <a:schemeClr val="accent1"/>
              </a:solidFill>
            </a:endParaRPr>
          </a:p>
        </p:txBody>
      </p:sp>
      <p:pic>
        <p:nvPicPr>
          <p:cNvPr id="7" name="Imagen 6">
            <a:extLst>
              <a:ext uri="{FF2B5EF4-FFF2-40B4-BE49-F238E27FC236}">
                <a16:creationId xmlns:a16="http://schemas.microsoft.com/office/drawing/2014/main" id="{F13CAF13-6E7B-6DBD-8051-42E8062B5783}"/>
              </a:ext>
            </a:extLst>
          </p:cNvPr>
          <p:cNvPicPr>
            <a:picLocks noChangeAspect="1"/>
          </p:cNvPicPr>
          <p:nvPr/>
        </p:nvPicPr>
        <p:blipFill>
          <a:blip r:embed="rId4"/>
          <a:stretch>
            <a:fillRect/>
          </a:stretch>
        </p:blipFill>
        <p:spPr>
          <a:xfrm>
            <a:off x="6564474" y="788075"/>
            <a:ext cx="3932172" cy="2947225"/>
          </a:xfrm>
          <a:prstGeom prst="rect">
            <a:avLst/>
          </a:prstGeom>
        </p:spPr>
      </p:pic>
      <p:sp>
        <p:nvSpPr>
          <p:cNvPr id="14" name="CuadroTexto 13">
            <a:extLst>
              <a:ext uri="{FF2B5EF4-FFF2-40B4-BE49-F238E27FC236}">
                <a16:creationId xmlns:a16="http://schemas.microsoft.com/office/drawing/2014/main" id="{34C3F9F7-B81A-5D15-BA9F-B6547CAAAF6B}"/>
              </a:ext>
            </a:extLst>
          </p:cNvPr>
          <p:cNvSpPr txBox="1"/>
          <p:nvPr/>
        </p:nvSpPr>
        <p:spPr>
          <a:xfrm>
            <a:off x="6593451" y="3985619"/>
            <a:ext cx="3874218" cy="276999"/>
          </a:xfrm>
          <a:prstGeom prst="rect">
            <a:avLst/>
          </a:prstGeom>
          <a:solidFill>
            <a:schemeClr val="accent2"/>
          </a:solidFill>
          <a:ln w="19050">
            <a:solidFill>
              <a:schemeClr val="accent4"/>
            </a:solidFill>
          </a:ln>
        </p:spPr>
        <p:txBody>
          <a:bodyPr wrap="square" rtlCol="0">
            <a:spAutoFit/>
          </a:bodyPr>
          <a:lstStyle/>
          <a:p>
            <a:pPr algn="ctr"/>
            <a:r>
              <a:rPr lang="es-ES" sz="1200" dirty="0">
                <a:solidFill>
                  <a:schemeClr val="accent1"/>
                </a:solidFill>
              </a:rPr>
              <a:t>LOD de corazón</a:t>
            </a:r>
            <a:r>
              <a:rPr lang="es-ES_tradnl" sz="1200" baseline="30000" dirty="0"/>
              <a:t>1</a:t>
            </a:r>
            <a:endParaRPr lang="es-ES" sz="1200" dirty="0">
              <a:solidFill>
                <a:schemeClr val="accent1"/>
              </a:solidFill>
            </a:endParaRPr>
          </a:p>
        </p:txBody>
      </p:sp>
      <p:grpSp>
        <p:nvGrpSpPr>
          <p:cNvPr id="26" name="Grupo 25">
            <a:extLst>
              <a:ext uri="{FF2B5EF4-FFF2-40B4-BE49-F238E27FC236}">
                <a16:creationId xmlns:a16="http://schemas.microsoft.com/office/drawing/2014/main" id="{BC183950-4827-D042-ACAD-883C91C33982}"/>
              </a:ext>
            </a:extLst>
          </p:cNvPr>
          <p:cNvGrpSpPr/>
          <p:nvPr/>
        </p:nvGrpSpPr>
        <p:grpSpPr>
          <a:xfrm>
            <a:off x="6564474" y="4397176"/>
            <a:ext cx="3932172" cy="1869388"/>
            <a:chOff x="5348607" y="1709648"/>
            <a:chExt cx="5524500" cy="2734056"/>
          </a:xfrm>
        </p:grpSpPr>
        <p:pic>
          <p:nvPicPr>
            <p:cNvPr id="21" name="Imagen 20">
              <a:extLst>
                <a:ext uri="{FF2B5EF4-FFF2-40B4-BE49-F238E27FC236}">
                  <a16:creationId xmlns:a16="http://schemas.microsoft.com/office/drawing/2014/main" id="{86F5FD67-10B2-7C50-D1EC-AF65CCFFE262}"/>
                </a:ext>
              </a:extLst>
            </p:cNvPr>
            <p:cNvPicPr>
              <a:picLocks noChangeAspect="1"/>
            </p:cNvPicPr>
            <p:nvPr/>
          </p:nvPicPr>
          <p:blipFill>
            <a:blip r:embed="rId5"/>
            <a:stretch>
              <a:fillRect/>
            </a:stretch>
          </p:blipFill>
          <p:spPr>
            <a:xfrm>
              <a:off x="5348607" y="1709648"/>
              <a:ext cx="5524500" cy="1085850"/>
            </a:xfrm>
            <a:prstGeom prst="rect">
              <a:avLst/>
            </a:prstGeom>
          </p:spPr>
        </p:pic>
        <p:pic>
          <p:nvPicPr>
            <p:cNvPr id="25" name="Imagen 24">
              <a:extLst>
                <a:ext uri="{FF2B5EF4-FFF2-40B4-BE49-F238E27FC236}">
                  <a16:creationId xmlns:a16="http://schemas.microsoft.com/office/drawing/2014/main" id="{0139CBDB-246F-1249-622F-9501B207C6D4}"/>
                </a:ext>
              </a:extLst>
            </p:cNvPr>
            <p:cNvPicPr>
              <a:picLocks noChangeAspect="1"/>
            </p:cNvPicPr>
            <p:nvPr/>
          </p:nvPicPr>
          <p:blipFill>
            <a:blip r:embed="rId6"/>
            <a:stretch>
              <a:fillRect/>
            </a:stretch>
          </p:blipFill>
          <p:spPr>
            <a:xfrm>
              <a:off x="5359656" y="2786354"/>
              <a:ext cx="5476875" cy="1657350"/>
            </a:xfrm>
            <a:prstGeom prst="rect">
              <a:avLst/>
            </a:prstGeom>
          </p:spPr>
        </p:pic>
      </p:grpSp>
      <p:grpSp>
        <p:nvGrpSpPr>
          <p:cNvPr id="33" name="Grupo 32">
            <a:extLst>
              <a:ext uri="{FF2B5EF4-FFF2-40B4-BE49-F238E27FC236}">
                <a16:creationId xmlns:a16="http://schemas.microsoft.com/office/drawing/2014/main" id="{F35A259A-078E-DCA0-AAFA-4A1F319E8FFC}"/>
              </a:ext>
            </a:extLst>
          </p:cNvPr>
          <p:cNvGrpSpPr/>
          <p:nvPr/>
        </p:nvGrpSpPr>
        <p:grpSpPr>
          <a:xfrm>
            <a:off x="1728425" y="1561335"/>
            <a:ext cx="3919249" cy="4261104"/>
            <a:chOff x="3343275" y="1695450"/>
            <a:chExt cx="5505450" cy="5092341"/>
          </a:xfrm>
        </p:grpSpPr>
        <p:pic>
          <p:nvPicPr>
            <p:cNvPr id="30" name="Imagen 29">
              <a:extLst>
                <a:ext uri="{FF2B5EF4-FFF2-40B4-BE49-F238E27FC236}">
                  <a16:creationId xmlns:a16="http://schemas.microsoft.com/office/drawing/2014/main" id="{339CBAD5-B73D-4172-AF2A-FAC0B37E5DF9}"/>
                </a:ext>
              </a:extLst>
            </p:cNvPr>
            <p:cNvPicPr>
              <a:picLocks noChangeAspect="1"/>
            </p:cNvPicPr>
            <p:nvPr/>
          </p:nvPicPr>
          <p:blipFill>
            <a:blip r:embed="rId7"/>
            <a:stretch>
              <a:fillRect/>
            </a:stretch>
          </p:blipFill>
          <p:spPr>
            <a:xfrm>
              <a:off x="3343275" y="1695450"/>
              <a:ext cx="5505450" cy="3467100"/>
            </a:xfrm>
            <a:prstGeom prst="rect">
              <a:avLst/>
            </a:prstGeom>
          </p:spPr>
        </p:pic>
        <p:pic>
          <p:nvPicPr>
            <p:cNvPr id="32" name="Imagen 31">
              <a:extLst>
                <a:ext uri="{FF2B5EF4-FFF2-40B4-BE49-F238E27FC236}">
                  <a16:creationId xmlns:a16="http://schemas.microsoft.com/office/drawing/2014/main" id="{B39B371C-1A31-DA9C-528D-04DE0BE53FD4}"/>
                </a:ext>
              </a:extLst>
            </p:cNvPr>
            <p:cNvPicPr>
              <a:picLocks noChangeAspect="1"/>
            </p:cNvPicPr>
            <p:nvPr/>
          </p:nvPicPr>
          <p:blipFill>
            <a:blip r:embed="rId8"/>
            <a:stretch>
              <a:fillRect/>
            </a:stretch>
          </p:blipFill>
          <p:spPr>
            <a:xfrm>
              <a:off x="3352800" y="5159017"/>
              <a:ext cx="5495925" cy="1628774"/>
            </a:xfrm>
            <a:prstGeom prst="rect">
              <a:avLst/>
            </a:prstGeom>
          </p:spPr>
        </p:pic>
      </p:grpSp>
      <p:grpSp>
        <p:nvGrpSpPr>
          <p:cNvPr id="37" name="Grupo 36">
            <a:extLst>
              <a:ext uri="{FF2B5EF4-FFF2-40B4-BE49-F238E27FC236}">
                <a16:creationId xmlns:a16="http://schemas.microsoft.com/office/drawing/2014/main" id="{CE102E55-4F42-324A-9A10-057303A5FA70}"/>
              </a:ext>
            </a:extLst>
          </p:cNvPr>
          <p:cNvGrpSpPr/>
          <p:nvPr/>
        </p:nvGrpSpPr>
        <p:grpSpPr>
          <a:xfrm>
            <a:off x="1687872" y="5784670"/>
            <a:ext cx="3941316" cy="1006655"/>
            <a:chOff x="10901259" y="2972558"/>
            <a:chExt cx="3941316" cy="1006655"/>
          </a:xfrm>
        </p:grpSpPr>
        <p:pic>
          <p:nvPicPr>
            <p:cNvPr id="10" name="Imagen 9">
              <a:extLst>
                <a:ext uri="{FF2B5EF4-FFF2-40B4-BE49-F238E27FC236}">
                  <a16:creationId xmlns:a16="http://schemas.microsoft.com/office/drawing/2014/main" id="{26B3FFAA-FCB9-BD65-E8C5-0DAD11C48AF6}"/>
                </a:ext>
              </a:extLst>
            </p:cNvPr>
            <p:cNvPicPr>
              <a:picLocks noChangeAspect="1"/>
            </p:cNvPicPr>
            <p:nvPr/>
          </p:nvPicPr>
          <p:blipFill>
            <a:blip r:embed="rId9"/>
            <a:srcRect b="49808"/>
            <a:stretch/>
          </p:blipFill>
          <p:spPr>
            <a:xfrm>
              <a:off x="10910403" y="3182467"/>
              <a:ext cx="3932172" cy="287260"/>
            </a:xfrm>
            <a:prstGeom prst="rect">
              <a:avLst/>
            </a:prstGeom>
          </p:spPr>
        </p:pic>
        <p:pic>
          <p:nvPicPr>
            <p:cNvPr id="28" name="Imagen 27">
              <a:extLst>
                <a:ext uri="{FF2B5EF4-FFF2-40B4-BE49-F238E27FC236}">
                  <a16:creationId xmlns:a16="http://schemas.microsoft.com/office/drawing/2014/main" id="{5DA8968B-A3AC-FBB8-AF85-74A0E82A32FB}"/>
                </a:ext>
              </a:extLst>
            </p:cNvPr>
            <p:cNvPicPr>
              <a:picLocks noChangeAspect="1"/>
            </p:cNvPicPr>
            <p:nvPr/>
          </p:nvPicPr>
          <p:blipFill>
            <a:blip r:embed="rId10"/>
            <a:srcRect t="10736"/>
            <a:stretch/>
          </p:blipFill>
          <p:spPr>
            <a:xfrm>
              <a:off x="10901259" y="3464277"/>
              <a:ext cx="3497264" cy="514936"/>
            </a:xfrm>
            <a:prstGeom prst="rect">
              <a:avLst/>
            </a:prstGeom>
          </p:spPr>
        </p:pic>
        <p:pic>
          <p:nvPicPr>
            <p:cNvPr id="36" name="Imagen 35">
              <a:extLst>
                <a:ext uri="{FF2B5EF4-FFF2-40B4-BE49-F238E27FC236}">
                  <a16:creationId xmlns:a16="http://schemas.microsoft.com/office/drawing/2014/main" id="{A06DBDAD-5727-257E-75E9-4F47D59AD22F}"/>
                </a:ext>
              </a:extLst>
            </p:cNvPr>
            <p:cNvPicPr>
              <a:picLocks noChangeAspect="1"/>
            </p:cNvPicPr>
            <p:nvPr/>
          </p:nvPicPr>
          <p:blipFill>
            <a:blip r:embed="rId11"/>
            <a:srcRect b="64205"/>
            <a:stretch/>
          </p:blipFill>
          <p:spPr>
            <a:xfrm>
              <a:off x="10926013" y="2972558"/>
              <a:ext cx="3898274" cy="208699"/>
            </a:xfrm>
            <a:prstGeom prst="rect">
              <a:avLst/>
            </a:prstGeom>
          </p:spPr>
        </p:pic>
      </p:grpSp>
      <p:sp>
        <p:nvSpPr>
          <p:cNvPr id="5" name="CuadroTexto 4">
            <a:extLst>
              <a:ext uri="{FF2B5EF4-FFF2-40B4-BE49-F238E27FC236}">
                <a16:creationId xmlns:a16="http://schemas.microsoft.com/office/drawing/2014/main" id="{5342BC34-47A6-4BAD-4B70-21B8EFBC899D}"/>
              </a:ext>
            </a:extLst>
          </p:cNvPr>
          <p:cNvSpPr txBox="1"/>
          <p:nvPr/>
        </p:nvSpPr>
        <p:spPr>
          <a:xfrm>
            <a:off x="3304880" y="6420447"/>
            <a:ext cx="6112764" cy="221536"/>
          </a:xfrm>
          <a:prstGeom prst="rect">
            <a:avLst/>
          </a:prstGeom>
        </p:spPr>
        <p:txBody>
          <a:bodyPr/>
          <a:lstStyle>
            <a:defPPr>
              <a:defRPr lang="es-ES"/>
            </a:defPPr>
            <a:lvl1pPr indent="0" algn="ctr" defTabSz="914377">
              <a:lnSpc>
                <a:spcPct val="90000"/>
              </a:lnSpc>
              <a:spcBef>
                <a:spcPts val="1000"/>
              </a:spcBef>
              <a:buFont typeface="Arial" panose="020B0604020202020204" pitchFamily="34" charset="0"/>
              <a:buNone/>
              <a:defRPr sz="1200">
                <a:solidFill>
                  <a:schemeClr val="accent1"/>
                </a:solidFill>
              </a:defRPr>
            </a:lvl1pPr>
            <a:lvl2pPr marL="685783" indent="-228594" defTabSz="914377">
              <a:lnSpc>
                <a:spcPct val="90000"/>
              </a:lnSpc>
              <a:spcBef>
                <a:spcPts val="500"/>
              </a:spcBef>
              <a:buFont typeface="Arial" panose="020B0604020202020204" pitchFamily="34" charset="0"/>
              <a:buChar char="•"/>
              <a:defRPr sz="2400"/>
            </a:lvl2pPr>
            <a:lvl3pPr marL="1142971" indent="-228594" defTabSz="914377">
              <a:lnSpc>
                <a:spcPct val="90000"/>
              </a:lnSpc>
              <a:spcBef>
                <a:spcPts val="500"/>
              </a:spcBef>
              <a:buFont typeface="Arial" panose="020B0604020202020204" pitchFamily="34" charset="0"/>
              <a:buChar char="•"/>
              <a:defRPr sz="2000"/>
            </a:lvl3pPr>
            <a:lvl4pPr marL="1600160" indent="-228594" defTabSz="914377">
              <a:lnSpc>
                <a:spcPct val="90000"/>
              </a:lnSpc>
              <a:spcBef>
                <a:spcPts val="500"/>
              </a:spcBef>
              <a:buFont typeface="Arial" panose="020B0604020202020204" pitchFamily="34" charset="0"/>
              <a:buChar char="•"/>
            </a:lvl4pPr>
            <a:lvl5pPr marL="2057349" indent="-228594" defTabSz="914377">
              <a:lnSpc>
                <a:spcPct val="90000"/>
              </a:lnSpc>
              <a:spcBef>
                <a:spcPts val="500"/>
              </a:spcBef>
              <a:buFont typeface="Arial" panose="020B0604020202020204" pitchFamily="34" charset="0"/>
              <a:buChar cha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r>
              <a:rPr lang="es-ES" sz="1000" dirty="0"/>
              <a:t>Guía ESC 2024 Presión arterial elevada e Hipertensión arterial</a:t>
            </a:r>
          </a:p>
        </p:txBody>
      </p:sp>
      <p:sp>
        <p:nvSpPr>
          <p:cNvPr id="11" name="CuadroTexto 10">
            <a:extLst>
              <a:ext uri="{FF2B5EF4-FFF2-40B4-BE49-F238E27FC236}">
                <a16:creationId xmlns:a16="http://schemas.microsoft.com/office/drawing/2014/main" id="{625F225A-E43F-F0AD-D2B3-61A16D1E3DA3}"/>
              </a:ext>
            </a:extLst>
          </p:cNvPr>
          <p:cNvSpPr txBox="1"/>
          <p:nvPr/>
        </p:nvSpPr>
        <p:spPr>
          <a:xfrm>
            <a:off x="2955665" y="6574797"/>
            <a:ext cx="7954738" cy="200055"/>
          </a:xfrm>
          <a:prstGeom prst="rect">
            <a:avLst/>
          </a:prstGeom>
          <a:noFill/>
        </p:spPr>
        <p:txBody>
          <a:bodyPr wrap="square" rtlCol="0">
            <a:spAutoFit/>
          </a:bodyPr>
          <a:lstStyle>
            <a:defPPr>
              <a:defRPr lang="es-ES"/>
            </a:defPPr>
            <a:lvl1pPr>
              <a:defRPr sz="700" b="0" i="1">
                <a:solidFill>
                  <a:schemeClr val="accent1"/>
                </a:solidFill>
                <a:effectLst/>
              </a:defRPr>
            </a:lvl1pPr>
          </a:lstStyle>
          <a:p>
            <a:pPr algn="ctr"/>
            <a:r>
              <a:rPr lang="en-US" dirty="0"/>
              <a:t>1. McEvoy JW, et al. 2024 ESC Guidelines for the management of elevated blood pressure and hypertension. </a:t>
            </a:r>
            <a:r>
              <a:rPr lang="en-US" dirty="0" err="1"/>
              <a:t>Eur</a:t>
            </a:r>
            <a:r>
              <a:rPr lang="en-US" dirty="0"/>
              <a:t> Heart J. 2024 Oct 7;45(38):3912-4018. </a:t>
            </a:r>
            <a:r>
              <a:rPr lang="en-US" dirty="0" err="1"/>
              <a:t>doi</a:t>
            </a:r>
            <a:r>
              <a:rPr lang="en-US" dirty="0"/>
              <a:t>: 10.1093/</a:t>
            </a:r>
            <a:r>
              <a:rPr lang="en-US" dirty="0" err="1"/>
              <a:t>eurheartj</a:t>
            </a:r>
            <a:r>
              <a:rPr lang="en-US" dirty="0"/>
              <a:t>/ehae178.</a:t>
            </a:r>
          </a:p>
        </p:txBody>
      </p:sp>
      <p:sp>
        <p:nvSpPr>
          <p:cNvPr id="15" name="CuadroTexto 14">
            <a:extLst>
              <a:ext uri="{FF2B5EF4-FFF2-40B4-BE49-F238E27FC236}">
                <a16:creationId xmlns:a16="http://schemas.microsoft.com/office/drawing/2014/main" id="{2A098EFF-3BC6-97A7-090D-062627009020}"/>
              </a:ext>
            </a:extLst>
          </p:cNvPr>
          <p:cNvSpPr txBox="1"/>
          <p:nvPr/>
        </p:nvSpPr>
        <p:spPr>
          <a:xfrm>
            <a:off x="3837486" y="5768862"/>
            <a:ext cx="1938337"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r>
              <a:rPr lang="en-US" dirty="0" err="1"/>
              <a:t>Eur</a:t>
            </a:r>
            <a:r>
              <a:rPr lang="en-US" dirty="0"/>
              <a:t> Heart J. 2024 Oct 7;45(38):3912-4018</a:t>
            </a:r>
            <a:endParaRPr lang="es-ES" dirty="0"/>
          </a:p>
        </p:txBody>
      </p:sp>
      <p:sp>
        <p:nvSpPr>
          <p:cNvPr id="17" name="CuadroTexto 16">
            <a:extLst>
              <a:ext uri="{FF2B5EF4-FFF2-40B4-BE49-F238E27FC236}">
                <a16:creationId xmlns:a16="http://schemas.microsoft.com/office/drawing/2014/main" id="{CCD2731F-F502-9A86-F7B5-29F64365674E}"/>
              </a:ext>
            </a:extLst>
          </p:cNvPr>
          <p:cNvSpPr txBox="1"/>
          <p:nvPr/>
        </p:nvSpPr>
        <p:spPr>
          <a:xfrm>
            <a:off x="8559537" y="3702552"/>
            <a:ext cx="1938337"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r>
              <a:rPr lang="en-US" dirty="0" err="1"/>
              <a:t>Eur</a:t>
            </a:r>
            <a:r>
              <a:rPr lang="en-US" dirty="0"/>
              <a:t> Heart J. 2024 Oct 7;45(38):3912-4018</a:t>
            </a:r>
            <a:endParaRPr lang="es-ES" dirty="0"/>
          </a:p>
        </p:txBody>
      </p:sp>
      <p:sp>
        <p:nvSpPr>
          <p:cNvPr id="18" name="CuadroTexto 17">
            <a:extLst>
              <a:ext uri="{FF2B5EF4-FFF2-40B4-BE49-F238E27FC236}">
                <a16:creationId xmlns:a16="http://schemas.microsoft.com/office/drawing/2014/main" id="{821F3527-CCD3-0BAF-46E4-24EF854AA629}"/>
              </a:ext>
            </a:extLst>
          </p:cNvPr>
          <p:cNvSpPr txBox="1"/>
          <p:nvPr/>
        </p:nvSpPr>
        <p:spPr>
          <a:xfrm>
            <a:off x="8565791" y="6207435"/>
            <a:ext cx="1938337"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r>
              <a:rPr lang="en-US" dirty="0" err="1"/>
              <a:t>Eur</a:t>
            </a:r>
            <a:r>
              <a:rPr lang="en-US" dirty="0"/>
              <a:t> Heart J. 2024 Oct 7;45(38):3912-4018</a:t>
            </a:r>
            <a:endParaRPr lang="es-ES" dirty="0"/>
          </a:p>
        </p:txBody>
      </p:sp>
      <p:sp>
        <p:nvSpPr>
          <p:cNvPr id="8" name="CuadroTexto 7">
            <a:extLst>
              <a:ext uri="{FF2B5EF4-FFF2-40B4-BE49-F238E27FC236}">
                <a16:creationId xmlns:a16="http://schemas.microsoft.com/office/drawing/2014/main" id="{48CAE894-72D1-40C2-0938-80B39912EF18}"/>
              </a:ext>
            </a:extLst>
          </p:cNvPr>
          <p:cNvSpPr txBox="1"/>
          <p:nvPr/>
        </p:nvSpPr>
        <p:spPr>
          <a:xfrm rot="16200000">
            <a:off x="10633273" y="3376069"/>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13672037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6D4711-DC6A-BD1A-E40D-95B6DF99297A}"/>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49299334-D24B-98C9-E89E-8E571C3756F5}"/>
              </a:ext>
            </a:extLst>
          </p:cNvPr>
          <p:cNvSpPr>
            <a:spLocks noGrp="1"/>
          </p:cNvSpPr>
          <p:nvPr>
            <p:ph type="body" sz="quarter" idx="24"/>
          </p:nvPr>
        </p:nvSpPr>
        <p:spPr/>
        <p:txBody>
          <a:bodyPr/>
          <a:lstStyle/>
          <a:p>
            <a:endParaRPr lang="es-ES" dirty="0"/>
          </a:p>
        </p:txBody>
      </p:sp>
      <p:sp>
        <p:nvSpPr>
          <p:cNvPr id="6" name="Marcador de número de diapositiva 5">
            <a:extLst>
              <a:ext uri="{FF2B5EF4-FFF2-40B4-BE49-F238E27FC236}">
                <a16:creationId xmlns:a16="http://schemas.microsoft.com/office/drawing/2014/main" id="{6E4B2387-36FE-C43E-C025-4ABE8512BA1A}"/>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sp>
        <p:nvSpPr>
          <p:cNvPr id="12" name="6 CuadroTexto">
            <a:extLst>
              <a:ext uri="{FF2B5EF4-FFF2-40B4-BE49-F238E27FC236}">
                <a16:creationId xmlns:a16="http://schemas.microsoft.com/office/drawing/2014/main" id="{B9D7EE2A-D58B-4B84-265E-0DDA3C85FD3F}"/>
              </a:ext>
            </a:extLst>
          </p:cNvPr>
          <p:cNvSpPr txBox="1"/>
          <p:nvPr/>
        </p:nvSpPr>
        <p:spPr>
          <a:xfrm>
            <a:off x="6885497" y="3562763"/>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2" name="Imagen 1">
            <a:extLst>
              <a:ext uri="{FF2B5EF4-FFF2-40B4-BE49-F238E27FC236}">
                <a16:creationId xmlns:a16="http://schemas.microsoft.com/office/drawing/2014/main" id="{BD252566-652B-21D0-37D4-FC3B7357BFCB}"/>
              </a:ext>
            </a:extLst>
          </p:cNvPr>
          <p:cNvPicPr>
            <a:picLocks noChangeAspect="1"/>
          </p:cNvPicPr>
          <p:nvPr/>
        </p:nvPicPr>
        <p:blipFill>
          <a:blip r:embed="rId3"/>
          <a:stretch>
            <a:fillRect/>
          </a:stretch>
        </p:blipFill>
        <p:spPr>
          <a:xfrm>
            <a:off x="10623775" y="231972"/>
            <a:ext cx="1329043" cy="457240"/>
          </a:xfrm>
          <a:prstGeom prst="rect">
            <a:avLst/>
          </a:prstGeom>
        </p:spPr>
      </p:pic>
      <p:sp>
        <p:nvSpPr>
          <p:cNvPr id="9" name="Título 3">
            <a:extLst>
              <a:ext uri="{FF2B5EF4-FFF2-40B4-BE49-F238E27FC236}">
                <a16:creationId xmlns:a16="http://schemas.microsoft.com/office/drawing/2014/main" id="{BE73E785-055D-93FC-9909-7F5A25880B3D}"/>
              </a:ext>
            </a:extLst>
          </p:cNvPr>
          <p:cNvSpPr txBox="1">
            <a:spLocks/>
          </p:cNvSpPr>
          <p:nvPr/>
        </p:nvSpPr>
        <p:spPr>
          <a:xfrm>
            <a:off x="1140921" y="189728"/>
            <a:ext cx="8707167" cy="625886"/>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_tradnl" sz="2800" dirty="0"/>
              <a:t>Estratificación y manejo de pacientes con PA elevada</a:t>
            </a:r>
            <a:r>
              <a:rPr lang="es-ES_tradnl" sz="2800" baseline="30000" dirty="0"/>
              <a:t>1</a:t>
            </a:r>
            <a:r>
              <a:rPr lang="es-ES_tradnl" sz="2800" dirty="0"/>
              <a:t> </a:t>
            </a:r>
            <a:endParaRPr lang="es-ES" sz="2800" dirty="0"/>
          </a:p>
        </p:txBody>
      </p:sp>
      <p:pic>
        <p:nvPicPr>
          <p:cNvPr id="7" name="Imagen 6">
            <a:extLst>
              <a:ext uri="{FF2B5EF4-FFF2-40B4-BE49-F238E27FC236}">
                <a16:creationId xmlns:a16="http://schemas.microsoft.com/office/drawing/2014/main" id="{D3FA4247-1D76-7E1C-5907-3958D2808A93}"/>
              </a:ext>
            </a:extLst>
          </p:cNvPr>
          <p:cNvPicPr>
            <a:picLocks noChangeAspect="1"/>
          </p:cNvPicPr>
          <p:nvPr/>
        </p:nvPicPr>
        <p:blipFill>
          <a:blip r:embed="rId4"/>
          <a:stretch>
            <a:fillRect/>
          </a:stretch>
        </p:blipFill>
        <p:spPr>
          <a:xfrm>
            <a:off x="1199714" y="1480838"/>
            <a:ext cx="5197944" cy="4536586"/>
          </a:xfrm>
          <a:prstGeom prst="rect">
            <a:avLst/>
          </a:prstGeom>
        </p:spPr>
      </p:pic>
      <p:pic>
        <p:nvPicPr>
          <p:cNvPr id="10" name="Imagen 9">
            <a:extLst>
              <a:ext uri="{FF2B5EF4-FFF2-40B4-BE49-F238E27FC236}">
                <a16:creationId xmlns:a16="http://schemas.microsoft.com/office/drawing/2014/main" id="{0A5706BA-AEF2-EA37-03CE-A3000CECDC9C}"/>
              </a:ext>
            </a:extLst>
          </p:cNvPr>
          <p:cNvPicPr>
            <a:picLocks noChangeAspect="1"/>
          </p:cNvPicPr>
          <p:nvPr/>
        </p:nvPicPr>
        <p:blipFill>
          <a:blip r:embed="rId5"/>
          <a:stretch>
            <a:fillRect/>
          </a:stretch>
        </p:blipFill>
        <p:spPr>
          <a:xfrm>
            <a:off x="6397658" y="1986778"/>
            <a:ext cx="5714636" cy="4208591"/>
          </a:xfrm>
          <a:prstGeom prst="rect">
            <a:avLst/>
          </a:prstGeom>
        </p:spPr>
      </p:pic>
      <p:sp>
        <p:nvSpPr>
          <p:cNvPr id="13" name="CuadroTexto 12">
            <a:extLst>
              <a:ext uri="{FF2B5EF4-FFF2-40B4-BE49-F238E27FC236}">
                <a16:creationId xmlns:a16="http://schemas.microsoft.com/office/drawing/2014/main" id="{74CB2783-0D9A-63FD-0D7B-0874A298E930}"/>
              </a:ext>
            </a:extLst>
          </p:cNvPr>
          <p:cNvSpPr txBox="1"/>
          <p:nvPr/>
        </p:nvSpPr>
        <p:spPr>
          <a:xfrm>
            <a:off x="6608153" y="743561"/>
            <a:ext cx="3518655" cy="830997"/>
          </a:xfrm>
          <a:prstGeom prst="rect">
            <a:avLst/>
          </a:prstGeom>
          <a:noFill/>
          <a:ln w="28575">
            <a:solidFill>
              <a:schemeClr val="accent4"/>
            </a:solidFill>
          </a:ln>
        </p:spPr>
        <p:txBody>
          <a:bodyPr wrap="square" rtlCol="0">
            <a:spAutoFit/>
          </a:bodyPr>
          <a:lstStyle/>
          <a:p>
            <a:pPr marL="228600" indent="-228600" algn="just">
              <a:buAutoNum type="arabicParenR"/>
            </a:pPr>
            <a:r>
              <a:rPr lang="es-ES" sz="1200" dirty="0">
                <a:solidFill>
                  <a:schemeClr val="accent1"/>
                </a:solidFill>
              </a:rPr>
              <a:t>Condiciones alto riesgo cardiovascular (RCV).</a:t>
            </a:r>
          </a:p>
          <a:p>
            <a:pPr marL="228600" indent="-228600" algn="just">
              <a:buAutoNum type="arabicParenR"/>
            </a:pPr>
            <a:r>
              <a:rPr lang="es-ES" sz="1200" dirty="0">
                <a:solidFill>
                  <a:schemeClr val="accent1"/>
                </a:solidFill>
              </a:rPr>
              <a:t>RCV a 10 años.</a:t>
            </a:r>
          </a:p>
          <a:p>
            <a:pPr marL="228600" indent="-228600" algn="just">
              <a:buAutoNum type="arabicParenR"/>
            </a:pPr>
            <a:r>
              <a:rPr lang="es-ES" sz="1200" dirty="0">
                <a:solidFill>
                  <a:schemeClr val="accent1"/>
                </a:solidFill>
              </a:rPr>
              <a:t>Factores modificadores de riesgo.</a:t>
            </a:r>
          </a:p>
          <a:p>
            <a:pPr marL="228600" indent="-228600" algn="just">
              <a:buAutoNum type="arabicParenR"/>
            </a:pPr>
            <a:r>
              <a:rPr lang="es-ES" sz="1200" dirty="0">
                <a:solidFill>
                  <a:schemeClr val="accent1"/>
                </a:solidFill>
              </a:rPr>
              <a:t>Considerar test de riesgo.  </a:t>
            </a:r>
          </a:p>
        </p:txBody>
      </p:sp>
      <p:sp>
        <p:nvSpPr>
          <p:cNvPr id="3" name="CuadroTexto 2">
            <a:extLst>
              <a:ext uri="{FF2B5EF4-FFF2-40B4-BE49-F238E27FC236}">
                <a16:creationId xmlns:a16="http://schemas.microsoft.com/office/drawing/2014/main" id="{71D7D1B4-E0F4-0745-108C-F5C28A744A9F}"/>
              </a:ext>
            </a:extLst>
          </p:cNvPr>
          <p:cNvSpPr txBox="1"/>
          <p:nvPr/>
        </p:nvSpPr>
        <p:spPr>
          <a:xfrm>
            <a:off x="1053127" y="669173"/>
            <a:ext cx="11100857" cy="276999"/>
          </a:xfrm>
          <a:prstGeom prst="rect">
            <a:avLst/>
          </a:prstGeom>
          <a:noFill/>
        </p:spPr>
        <p:txBody>
          <a:bodyPr wrap="square" rtlCol="0">
            <a:spAutoFit/>
          </a:bodyPr>
          <a:lstStyle/>
          <a:p>
            <a:pPr algn="just"/>
            <a:r>
              <a:rPr lang="es-ES" sz="1200" b="1" dirty="0">
                <a:solidFill>
                  <a:schemeClr val="accent1"/>
                </a:solidFill>
              </a:rPr>
              <a:t>¿Cuándo debemos tratar a un paciente del nuevo grupo de PA elevada</a:t>
            </a:r>
            <a:r>
              <a:rPr lang="es-ES" sz="1200" baseline="30000" dirty="0">
                <a:solidFill>
                  <a:schemeClr val="accent1"/>
                </a:solidFill>
              </a:rPr>
              <a:t>1</a:t>
            </a:r>
            <a:r>
              <a:rPr lang="es-ES" sz="1200" b="1" dirty="0">
                <a:solidFill>
                  <a:schemeClr val="accent1"/>
                </a:solidFill>
              </a:rPr>
              <a:t>?  </a:t>
            </a:r>
          </a:p>
        </p:txBody>
      </p:sp>
      <p:sp>
        <p:nvSpPr>
          <p:cNvPr id="17" name="CuadroTexto 16">
            <a:extLst>
              <a:ext uri="{FF2B5EF4-FFF2-40B4-BE49-F238E27FC236}">
                <a16:creationId xmlns:a16="http://schemas.microsoft.com/office/drawing/2014/main" id="{C29CF966-75D5-3181-C0F7-D8C327B7A4FB}"/>
              </a:ext>
            </a:extLst>
          </p:cNvPr>
          <p:cNvSpPr txBox="1"/>
          <p:nvPr/>
        </p:nvSpPr>
        <p:spPr>
          <a:xfrm>
            <a:off x="1912446" y="992243"/>
            <a:ext cx="6115050" cy="276999"/>
          </a:xfrm>
          <a:prstGeom prst="rect">
            <a:avLst/>
          </a:prstGeom>
          <a:noFill/>
        </p:spPr>
        <p:txBody>
          <a:bodyPr wrap="square">
            <a:sp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200" dirty="0">
                <a:solidFill>
                  <a:srgbClr val="002855"/>
                </a:solidFill>
                <a:latin typeface="Arial"/>
              </a:rPr>
              <a:t>Se debe </a:t>
            </a:r>
            <a:r>
              <a:rPr lang="es-ES" sz="1200" b="1" dirty="0">
                <a:solidFill>
                  <a:srgbClr val="002855"/>
                </a:solidFill>
                <a:latin typeface="Arial"/>
              </a:rPr>
              <a:t>estratificar el riesgo </a:t>
            </a:r>
            <a:r>
              <a:rPr lang="es-ES" sz="1200" dirty="0">
                <a:solidFill>
                  <a:srgbClr val="002855"/>
                </a:solidFill>
                <a:latin typeface="Arial"/>
              </a:rPr>
              <a:t>en este tipo de pacientes</a:t>
            </a:r>
            <a:r>
              <a:rPr lang="es-ES" sz="1200" baseline="30000" dirty="0">
                <a:solidFill>
                  <a:schemeClr val="accent1"/>
                </a:solidFill>
              </a:rPr>
              <a:t>1</a:t>
            </a:r>
            <a:r>
              <a:rPr lang="es-ES" sz="1200" dirty="0">
                <a:solidFill>
                  <a:srgbClr val="002855"/>
                </a:solidFill>
                <a:latin typeface="Arial"/>
              </a:rPr>
              <a:t>:</a:t>
            </a:r>
            <a:endParaRPr kumimoji="0" lang="es-ES" sz="1200" b="0" i="0" u="none" strike="noStrike" kern="1200" cap="none" spc="0" normalizeH="0" baseline="0" noProof="0" dirty="0">
              <a:ln>
                <a:noFill/>
              </a:ln>
              <a:solidFill>
                <a:srgbClr val="002855"/>
              </a:solidFill>
              <a:effectLst/>
              <a:uLnTx/>
              <a:uFillTx/>
              <a:latin typeface="Arial"/>
              <a:ea typeface="+mn-ea"/>
              <a:cs typeface="+mn-cs"/>
            </a:endParaRPr>
          </a:p>
        </p:txBody>
      </p:sp>
      <p:sp>
        <p:nvSpPr>
          <p:cNvPr id="18" name="Abrir llave 17">
            <a:extLst>
              <a:ext uri="{FF2B5EF4-FFF2-40B4-BE49-F238E27FC236}">
                <a16:creationId xmlns:a16="http://schemas.microsoft.com/office/drawing/2014/main" id="{E8AF1295-750B-2B7D-A19D-2FC86C1EF41A}"/>
              </a:ext>
            </a:extLst>
          </p:cNvPr>
          <p:cNvSpPr/>
          <p:nvPr/>
        </p:nvSpPr>
        <p:spPr>
          <a:xfrm rot="10800000">
            <a:off x="6211489" y="933979"/>
            <a:ext cx="164851" cy="470326"/>
          </a:xfrm>
          <a:prstGeom prst="leftBrace">
            <a:avLst/>
          </a:prstGeom>
          <a:ln w="1905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8" name="CuadroTexto 7">
            <a:extLst>
              <a:ext uri="{FF2B5EF4-FFF2-40B4-BE49-F238E27FC236}">
                <a16:creationId xmlns:a16="http://schemas.microsoft.com/office/drawing/2014/main" id="{1C6BA7E6-BACA-6089-F9EA-752EA2E6207C}"/>
              </a:ext>
            </a:extLst>
          </p:cNvPr>
          <p:cNvSpPr txBox="1"/>
          <p:nvPr/>
        </p:nvSpPr>
        <p:spPr>
          <a:xfrm>
            <a:off x="1403918" y="6259811"/>
            <a:ext cx="4972422" cy="461665"/>
          </a:xfrm>
          <a:prstGeom prst="rect">
            <a:avLst/>
          </a:prstGeom>
          <a:noFill/>
        </p:spPr>
        <p:txBody>
          <a:bodyPr wrap="square" rtlCol="0">
            <a:spAutoFit/>
          </a:bodyPr>
          <a:lstStyle/>
          <a:p>
            <a:r>
              <a:rPr lang="es-ES" sz="600" dirty="0">
                <a:solidFill>
                  <a:schemeClr val="accent1"/>
                </a:solidFill>
              </a:rPr>
              <a:t>ASCVD: </a:t>
            </a:r>
            <a:r>
              <a:rPr lang="es-ES" sz="600" dirty="0" err="1">
                <a:solidFill>
                  <a:schemeClr val="accent1"/>
                </a:solidFill>
              </a:rPr>
              <a:t>atherosclerotic</a:t>
            </a:r>
            <a:r>
              <a:rPr lang="es-ES" sz="600" dirty="0">
                <a:solidFill>
                  <a:schemeClr val="accent1"/>
                </a:solidFill>
              </a:rPr>
              <a:t> cardiovascular </a:t>
            </a:r>
            <a:r>
              <a:rPr lang="es-ES" sz="600" dirty="0" err="1">
                <a:solidFill>
                  <a:schemeClr val="accent1"/>
                </a:solidFill>
              </a:rPr>
              <a:t>disease</a:t>
            </a:r>
            <a:r>
              <a:rPr lang="es-ES" sz="600" dirty="0">
                <a:solidFill>
                  <a:schemeClr val="accent1"/>
                </a:solidFill>
              </a:rPr>
              <a:t>; BP: </a:t>
            </a:r>
            <a:r>
              <a:rPr lang="es-ES" sz="600" dirty="0" err="1">
                <a:solidFill>
                  <a:schemeClr val="accent1"/>
                </a:solidFill>
              </a:rPr>
              <a:t>blood</a:t>
            </a:r>
            <a:r>
              <a:rPr lang="es-ES" sz="600" dirty="0">
                <a:solidFill>
                  <a:schemeClr val="accent1"/>
                </a:solidFill>
              </a:rPr>
              <a:t> </a:t>
            </a:r>
            <a:r>
              <a:rPr lang="es-ES" sz="600" dirty="0" err="1">
                <a:solidFill>
                  <a:schemeClr val="accent1"/>
                </a:solidFill>
              </a:rPr>
              <a:t>pressure</a:t>
            </a:r>
            <a:r>
              <a:rPr lang="es-ES" sz="600" dirty="0">
                <a:solidFill>
                  <a:schemeClr val="accent1"/>
                </a:solidFill>
              </a:rPr>
              <a:t>; CAC: </a:t>
            </a:r>
            <a:r>
              <a:rPr lang="es-ES" sz="600" dirty="0" err="1">
                <a:solidFill>
                  <a:schemeClr val="accent1"/>
                </a:solidFill>
              </a:rPr>
              <a:t>coronary</a:t>
            </a:r>
            <a:r>
              <a:rPr lang="es-ES" sz="600" dirty="0">
                <a:solidFill>
                  <a:schemeClr val="accent1"/>
                </a:solidFill>
              </a:rPr>
              <a:t> </a:t>
            </a:r>
            <a:r>
              <a:rPr lang="es-ES" sz="600" dirty="0" err="1">
                <a:solidFill>
                  <a:schemeClr val="accent1"/>
                </a:solidFill>
              </a:rPr>
              <a:t>artery</a:t>
            </a:r>
            <a:r>
              <a:rPr lang="es-ES" sz="600" dirty="0">
                <a:solidFill>
                  <a:schemeClr val="accent1"/>
                </a:solidFill>
              </a:rPr>
              <a:t> </a:t>
            </a:r>
            <a:r>
              <a:rPr lang="es-ES" sz="600" dirty="0" err="1">
                <a:solidFill>
                  <a:schemeClr val="accent1"/>
                </a:solidFill>
              </a:rPr>
              <a:t>calcium</a:t>
            </a:r>
            <a:r>
              <a:rPr lang="es-ES" sz="600" dirty="0">
                <a:solidFill>
                  <a:schemeClr val="accent1"/>
                </a:solidFill>
              </a:rPr>
              <a:t>; CKD: </a:t>
            </a:r>
            <a:r>
              <a:rPr lang="es-ES" sz="600" dirty="0" err="1">
                <a:solidFill>
                  <a:schemeClr val="accent1"/>
                </a:solidFill>
              </a:rPr>
              <a:t>chronic</a:t>
            </a:r>
            <a:r>
              <a:rPr lang="es-ES" sz="600" dirty="0">
                <a:solidFill>
                  <a:schemeClr val="accent1"/>
                </a:solidFill>
              </a:rPr>
              <a:t> </a:t>
            </a:r>
            <a:r>
              <a:rPr lang="es-ES" sz="600" dirty="0" err="1">
                <a:solidFill>
                  <a:schemeClr val="accent1"/>
                </a:solidFill>
              </a:rPr>
              <a:t>kidney</a:t>
            </a:r>
            <a:r>
              <a:rPr lang="es-ES" sz="600" dirty="0">
                <a:solidFill>
                  <a:schemeClr val="accent1"/>
                </a:solidFill>
              </a:rPr>
              <a:t> </a:t>
            </a:r>
            <a:r>
              <a:rPr lang="es-ES" sz="600" dirty="0" err="1">
                <a:solidFill>
                  <a:schemeClr val="accent1"/>
                </a:solidFill>
              </a:rPr>
              <a:t>disease</a:t>
            </a:r>
            <a:r>
              <a:rPr lang="es-ES" sz="600" dirty="0">
                <a:solidFill>
                  <a:schemeClr val="accent1"/>
                </a:solidFill>
              </a:rPr>
              <a:t>; CVD: cardiovascular </a:t>
            </a:r>
            <a:r>
              <a:rPr lang="es-ES" sz="600" dirty="0" err="1">
                <a:solidFill>
                  <a:schemeClr val="accent1"/>
                </a:solidFill>
              </a:rPr>
              <a:t>disease</a:t>
            </a:r>
            <a:r>
              <a:rPr lang="es-ES" sz="600" dirty="0">
                <a:solidFill>
                  <a:schemeClr val="accent1"/>
                </a:solidFill>
              </a:rPr>
              <a:t>; DBP: </a:t>
            </a:r>
            <a:r>
              <a:rPr lang="es-ES" sz="600" dirty="0" err="1">
                <a:solidFill>
                  <a:schemeClr val="accent1"/>
                </a:solidFill>
              </a:rPr>
              <a:t>diastolic</a:t>
            </a:r>
            <a:r>
              <a:rPr lang="es-ES" sz="600" dirty="0">
                <a:solidFill>
                  <a:schemeClr val="accent1"/>
                </a:solidFill>
              </a:rPr>
              <a:t> </a:t>
            </a:r>
            <a:r>
              <a:rPr lang="es-ES" sz="600" dirty="0" err="1">
                <a:solidFill>
                  <a:schemeClr val="accent1"/>
                </a:solidFill>
              </a:rPr>
              <a:t>blood</a:t>
            </a:r>
            <a:r>
              <a:rPr lang="es-ES" sz="600" dirty="0">
                <a:solidFill>
                  <a:schemeClr val="accent1"/>
                </a:solidFill>
              </a:rPr>
              <a:t> </a:t>
            </a:r>
            <a:r>
              <a:rPr lang="es-ES" sz="600" dirty="0" err="1">
                <a:solidFill>
                  <a:schemeClr val="accent1"/>
                </a:solidFill>
              </a:rPr>
              <a:t>pressure</a:t>
            </a:r>
            <a:r>
              <a:rPr lang="es-ES" sz="600" dirty="0">
                <a:solidFill>
                  <a:schemeClr val="accent1"/>
                </a:solidFill>
              </a:rPr>
              <a:t>; DM: diabetes mellitus; FH: </a:t>
            </a:r>
            <a:r>
              <a:rPr lang="es-ES" sz="600" dirty="0" err="1">
                <a:solidFill>
                  <a:schemeClr val="accent1"/>
                </a:solidFill>
              </a:rPr>
              <a:t>familial</a:t>
            </a:r>
            <a:r>
              <a:rPr lang="es-ES" sz="600" dirty="0">
                <a:solidFill>
                  <a:schemeClr val="accent1"/>
                </a:solidFill>
              </a:rPr>
              <a:t> </a:t>
            </a:r>
            <a:r>
              <a:rPr lang="es-ES" sz="600" dirty="0" err="1">
                <a:solidFill>
                  <a:schemeClr val="accent1"/>
                </a:solidFill>
              </a:rPr>
              <a:t>hypercholesterolaemia</a:t>
            </a:r>
            <a:r>
              <a:rPr lang="es-ES" sz="600" dirty="0">
                <a:solidFill>
                  <a:schemeClr val="accent1"/>
                </a:solidFill>
              </a:rPr>
              <a:t>; HMOD: </a:t>
            </a:r>
            <a:r>
              <a:rPr lang="es-ES" sz="600" dirty="0" err="1">
                <a:solidFill>
                  <a:schemeClr val="accent1"/>
                </a:solidFill>
              </a:rPr>
              <a:t>hypertension-mediated</a:t>
            </a:r>
            <a:r>
              <a:rPr lang="es-ES" sz="600" dirty="0">
                <a:solidFill>
                  <a:schemeClr val="accent1"/>
                </a:solidFill>
              </a:rPr>
              <a:t> </a:t>
            </a:r>
            <a:r>
              <a:rPr lang="es-ES" sz="600" dirty="0" err="1">
                <a:solidFill>
                  <a:schemeClr val="accent1"/>
                </a:solidFill>
              </a:rPr>
              <a:t>organ</a:t>
            </a:r>
            <a:r>
              <a:rPr lang="es-ES" sz="600" dirty="0">
                <a:solidFill>
                  <a:schemeClr val="accent1"/>
                </a:solidFill>
              </a:rPr>
              <a:t> </a:t>
            </a:r>
            <a:r>
              <a:rPr lang="es-ES" sz="600" dirty="0" err="1">
                <a:solidFill>
                  <a:schemeClr val="accent1"/>
                </a:solidFill>
              </a:rPr>
              <a:t>damage</a:t>
            </a:r>
            <a:r>
              <a:rPr lang="es-ES" sz="600" dirty="0">
                <a:solidFill>
                  <a:schemeClr val="accent1"/>
                </a:solidFill>
              </a:rPr>
              <a:t>; NT-</a:t>
            </a:r>
            <a:r>
              <a:rPr lang="es-ES" sz="600" dirty="0" err="1">
                <a:solidFill>
                  <a:schemeClr val="accent1"/>
                </a:solidFill>
              </a:rPr>
              <a:t>proBNP</a:t>
            </a:r>
            <a:r>
              <a:rPr lang="es-ES" sz="600" dirty="0">
                <a:solidFill>
                  <a:schemeClr val="accent1"/>
                </a:solidFill>
              </a:rPr>
              <a:t>: N-terminal </a:t>
            </a:r>
            <a:r>
              <a:rPr lang="es-ES" sz="600" dirty="0" err="1">
                <a:solidFill>
                  <a:schemeClr val="accent1"/>
                </a:solidFill>
              </a:rPr>
              <a:t>pro-brain</a:t>
            </a:r>
            <a:r>
              <a:rPr lang="es-ES" sz="600" dirty="0">
                <a:solidFill>
                  <a:schemeClr val="accent1"/>
                </a:solidFill>
              </a:rPr>
              <a:t> </a:t>
            </a:r>
            <a:r>
              <a:rPr lang="es-ES" sz="600" dirty="0" err="1">
                <a:solidFill>
                  <a:schemeClr val="accent1"/>
                </a:solidFill>
              </a:rPr>
              <a:t>natriuretic</a:t>
            </a:r>
            <a:r>
              <a:rPr lang="es-ES" sz="600" dirty="0">
                <a:solidFill>
                  <a:schemeClr val="accent1"/>
                </a:solidFill>
              </a:rPr>
              <a:t> </a:t>
            </a:r>
            <a:r>
              <a:rPr lang="es-ES" sz="600" dirty="0" err="1">
                <a:solidFill>
                  <a:schemeClr val="accent1"/>
                </a:solidFill>
              </a:rPr>
              <a:t>peptide</a:t>
            </a:r>
            <a:r>
              <a:rPr lang="es-ES" sz="600" dirty="0">
                <a:solidFill>
                  <a:schemeClr val="accent1"/>
                </a:solidFill>
              </a:rPr>
              <a:t>; SBP: </a:t>
            </a:r>
            <a:r>
              <a:rPr lang="es-ES" sz="600" dirty="0" err="1">
                <a:solidFill>
                  <a:schemeClr val="accent1"/>
                </a:solidFill>
              </a:rPr>
              <a:t>systolic</a:t>
            </a:r>
            <a:r>
              <a:rPr lang="es-ES" sz="600" dirty="0">
                <a:solidFill>
                  <a:schemeClr val="accent1"/>
                </a:solidFill>
              </a:rPr>
              <a:t> </a:t>
            </a:r>
            <a:r>
              <a:rPr lang="es-ES" sz="600" dirty="0" err="1">
                <a:solidFill>
                  <a:schemeClr val="accent1"/>
                </a:solidFill>
              </a:rPr>
              <a:t>blood</a:t>
            </a:r>
            <a:r>
              <a:rPr lang="es-ES" sz="600" dirty="0">
                <a:solidFill>
                  <a:schemeClr val="accent1"/>
                </a:solidFill>
              </a:rPr>
              <a:t> </a:t>
            </a:r>
            <a:r>
              <a:rPr lang="es-ES" sz="600" dirty="0" err="1">
                <a:solidFill>
                  <a:schemeClr val="accent1"/>
                </a:solidFill>
              </a:rPr>
              <a:t>pressure</a:t>
            </a:r>
            <a:r>
              <a:rPr lang="es-ES" sz="600" dirty="0">
                <a:solidFill>
                  <a:schemeClr val="accent1"/>
                </a:solidFill>
              </a:rPr>
              <a:t>; SCORE2: </a:t>
            </a:r>
            <a:r>
              <a:rPr lang="es-ES" sz="600" dirty="0" err="1">
                <a:solidFill>
                  <a:schemeClr val="accent1"/>
                </a:solidFill>
              </a:rPr>
              <a:t>Systematic</a:t>
            </a:r>
            <a:r>
              <a:rPr lang="es-ES" sz="600" dirty="0">
                <a:solidFill>
                  <a:schemeClr val="accent1"/>
                </a:solidFill>
              </a:rPr>
              <a:t> </a:t>
            </a:r>
            <a:r>
              <a:rPr lang="es-ES" sz="600" dirty="0" err="1">
                <a:solidFill>
                  <a:schemeClr val="accent1"/>
                </a:solidFill>
              </a:rPr>
              <a:t>COronary</a:t>
            </a:r>
            <a:r>
              <a:rPr lang="es-ES" sz="600" dirty="0">
                <a:solidFill>
                  <a:schemeClr val="accent1"/>
                </a:solidFill>
              </a:rPr>
              <a:t> </a:t>
            </a:r>
            <a:r>
              <a:rPr lang="es-ES" sz="600" dirty="0" err="1">
                <a:solidFill>
                  <a:schemeClr val="accent1"/>
                </a:solidFill>
              </a:rPr>
              <a:t>Risk</a:t>
            </a:r>
            <a:r>
              <a:rPr lang="es-ES" sz="600" dirty="0">
                <a:solidFill>
                  <a:schemeClr val="accent1"/>
                </a:solidFill>
              </a:rPr>
              <a:t> </a:t>
            </a:r>
            <a:r>
              <a:rPr lang="es-ES" sz="600" dirty="0" err="1">
                <a:solidFill>
                  <a:schemeClr val="accent1"/>
                </a:solidFill>
              </a:rPr>
              <a:t>Evaluation</a:t>
            </a:r>
            <a:r>
              <a:rPr lang="es-ES" sz="600" dirty="0">
                <a:solidFill>
                  <a:schemeClr val="accent1"/>
                </a:solidFill>
              </a:rPr>
              <a:t> 2; SCORE2-OP: </a:t>
            </a:r>
            <a:r>
              <a:rPr lang="es-ES" sz="600" dirty="0" err="1">
                <a:solidFill>
                  <a:schemeClr val="accent1"/>
                </a:solidFill>
              </a:rPr>
              <a:t>Systematic</a:t>
            </a:r>
            <a:r>
              <a:rPr lang="es-ES" sz="600" dirty="0">
                <a:solidFill>
                  <a:schemeClr val="accent1"/>
                </a:solidFill>
              </a:rPr>
              <a:t> </a:t>
            </a:r>
            <a:r>
              <a:rPr lang="es-ES" sz="600" dirty="0" err="1">
                <a:solidFill>
                  <a:schemeClr val="accent1"/>
                </a:solidFill>
              </a:rPr>
              <a:t>COronary</a:t>
            </a:r>
            <a:r>
              <a:rPr lang="es-ES" sz="600" dirty="0">
                <a:solidFill>
                  <a:schemeClr val="accent1"/>
                </a:solidFill>
              </a:rPr>
              <a:t> </a:t>
            </a:r>
            <a:r>
              <a:rPr lang="es-ES" sz="600" dirty="0" err="1">
                <a:solidFill>
                  <a:schemeClr val="accent1"/>
                </a:solidFill>
              </a:rPr>
              <a:t>Risk</a:t>
            </a:r>
            <a:r>
              <a:rPr lang="es-ES" sz="600" dirty="0">
                <a:solidFill>
                  <a:schemeClr val="accent1"/>
                </a:solidFill>
              </a:rPr>
              <a:t> </a:t>
            </a:r>
            <a:r>
              <a:rPr lang="es-ES" sz="600" dirty="0" err="1">
                <a:solidFill>
                  <a:schemeClr val="accent1"/>
                </a:solidFill>
              </a:rPr>
              <a:t>Evaluation</a:t>
            </a:r>
            <a:r>
              <a:rPr lang="es-ES" sz="600" dirty="0">
                <a:solidFill>
                  <a:schemeClr val="accent1"/>
                </a:solidFill>
              </a:rPr>
              <a:t> 2–</a:t>
            </a:r>
            <a:r>
              <a:rPr lang="es-ES" sz="600" dirty="0" err="1">
                <a:solidFill>
                  <a:schemeClr val="accent1"/>
                </a:solidFill>
              </a:rPr>
              <a:t>Older</a:t>
            </a:r>
            <a:r>
              <a:rPr lang="es-ES" sz="600" dirty="0">
                <a:solidFill>
                  <a:schemeClr val="accent1"/>
                </a:solidFill>
              </a:rPr>
              <a:t> </a:t>
            </a:r>
            <a:r>
              <a:rPr lang="es-ES" sz="600" dirty="0" err="1">
                <a:solidFill>
                  <a:schemeClr val="accent1"/>
                </a:solidFill>
              </a:rPr>
              <a:t>Persons</a:t>
            </a:r>
            <a:r>
              <a:rPr lang="es-ES" sz="600" dirty="0">
                <a:solidFill>
                  <a:schemeClr val="accent1"/>
                </a:solidFill>
              </a:rPr>
              <a:t>.</a:t>
            </a:r>
          </a:p>
        </p:txBody>
      </p:sp>
      <p:sp>
        <p:nvSpPr>
          <p:cNvPr id="11" name="CuadroTexto 10">
            <a:extLst>
              <a:ext uri="{FF2B5EF4-FFF2-40B4-BE49-F238E27FC236}">
                <a16:creationId xmlns:a16="http://schemas.microsoft.com/office/drawing/2014/main" id="{920F1660-7D72-0C17-36F8-B6DC08394261}"/>
              </a:ext>
            </a:extLst>
          </p:cNvPr>
          <p:cNvSpPr txBox="1"/>
          <p:nvPr/>
        </p:nvSpPr>
        <p:spPr>
          <a:xfrm>
            <a:off x="6608153" y="6237888"/>
            <a:ext cx="5344665" cy="228410"/>
          </a:xfrm>
          <a:prstGeom prst="rect">
            <a:avLst/>
          </a:prstGeom>
        </p:spPr>
        <p:txBody>
          <a:bodyPr/>
          <a:lstStyle>
            <a:defPPr>
              <a:defRPr lang="es-ES"/>
            </a:defPPr>
            <a:lvl1pPr indent="0" algn="ctr" defTabSz="914377">
              <a:lnSpc>
                <a:spcPct val="90000"/>
              </a:lnSpc>
              <a:spcBef>
                <a:spcPts val="1000"/>
              </a:spcBef>
              <a:buFont typeface="Arial" panose="020B0604020202020204" pitchFamily="34" charset="0"/>
              <a:buNone/>
              <a:defRPr sz="1200">
                <a:solidFill>
                  <a:schemeClr val="accent1"/>
                </a:solidFill>
              </a:defRPr>
            </a:lvl1pPr>
            <a:lvl2pPr marL="685783" indent="-228594" defTabSz="914377">
              <a:lnSpc>
                <a:spcPct val="90000"/>
              </a:lnSpc>
              <a:spcBef>
                <a:spcPts val="500"/>
              </a:spcBef>
              <a:buFont typeface="Arial" panose="020B0604020202020204" pitchFamily="34" charset="0"/>
              <a:buChar char="•"/>
              <a:defRPr sz="2400"/>
            </a:lvl2pPr>
            <a:lvl3pPr marL="1142971" indent="-228594" defTabSz="914377">
              <a:lnSpc>
                <a:spcPct val="90000"/>
              </a:lnSpc>
              <a:spcBef>
                <a:spcPts val="500"/>
              </a:spcBef>
              <a:buFont typeface="Arial" panose="020B0604020202020204" pitchFamily="34" charset="0"/>
              <a:buChar char="•"/>
              <a:defRPr sz="2000"/>
            </a:lvl3pPr>
            <a:lvl4pPr marL="1600160" indent="-228594" defTabSz="914377">
              <a:lnSpc>
                <a:spcPct val="90000"/>
              </a:lnSpc>
              <a:spcBef>
                <a:spcPts val="500"/>
              </a:spcBef>
              <a:buFont typeface="Arial" panose="020B0604020202020204" pitchFamily="34" charset="0"/>
              <a:buChar char="•"/>
            </a:lvl4pPr>
            <a:lvl5pPr marL="2057349" indent="-228594" defTabSz="914377">
              <a:lnSpc>
                <a:spcPct val="90000"/>
              </a:lnSpc>
              <a:spcBef>
                <a:spcPts val="500"/>
              </a:spcBef>
              <a:buFont typeface="Arial" panose="020B0604020202020204" pitchFamily="34" charset="0"/>
              <a:buChar cha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r>
              <a:rPr lang="es-ES" sz="1000" dirty="0"/>
              <a:t>Guía ESC 2024 Presión arterial elevada e Hipertensión arterial</a:t>
            </a:r>
          </a:p>
        </p:txBody>
      </p:sp>
      <p:sp>
        <p:nvSpPr>
          <p:cNvPr id="15" name="CuadroTexto 14">
            <a:extLst>
              <a:ext uri="{FF2B5EF4-FFF2-40B4-BE49-F238E27FC236}">
                <a16:creationId xmlns:a16="http://schemas.microsoft.com/office/drawing/2014/main" id="{C1C0B897-3BC1-7821-C303-09AF0411AD9D}"/>
              </a:ext>
            </a:extLst>
          </p:cNvPr>
          <p:cNvSpPr txBox="1"/>
          <p:nvPr/>
        </p:nvSpPr>
        <p:spPr>
          <a:xfrm>
            <a:off x="6885497" y="6413699"/>
            <a:ext cx="4754065" cy="307777"/>
          </a:xfrm>
          <a:prstGeom prst="rect">
            <a:avLst/>
          </a:prstGeom>
          <a:noFill/>
        </p:spPr>
        <p:txBody>
          <a:bodyPr wrap="square" rtlCol="0">
            <a:spAutoFit/>
          </a:bodyPr>
          <a:lstStyle>
            <a:defPPr>
              <a:defRPr lang="es-ES"/>
            </a:defPPr>
            <a:lvl1pPr>
              <a:defRPr sz="700" b="0" i="1">
                <a:solidFill>
                  <a:schemeClr val="accent1"/>
                </a:solidFill>
                <a:effectLst/>
              </a:defRPr>
            </a:lvl1pPr>
          </a:lstStyle>
          <a:p>
            <a:pPr algn="ctr"/>
            <a:r>
              <a:rPr lang="en-US" dirty="0"/>
              <a:t>1. McEvoy JW, et al. 2024 ESC Guidelines for the management of elevated blood pressure and hypertension. </a:t>
            </a:r>
            <a:r>
              <a:rPr lang="en-US" dirty="0" err="1"/>
              <a:t>Eur</a:t>
            </a:r>
            <a:r>
              <a:rPr lang="en-US" dirty="0"/>
              <a:t> Heart J. 2024 Oct 7;45(38):3912-4018. </a:t>
            </a:r>
            <a:r>
              <a:rPr lang="en-US" dirty="0" err="1"/>
              <a:t>doi</a:t>
            </a:r>
            <a:r>
              <a:rPr lang="en-US" dirty="0"/>
              <a:t>: 10.1093/</a:t>
            </a:r>
            <a:r>
              <a:rPr lang="en-US" dirty="0" err="1"/>
              <a:t>eurheartj</a:t>
            </a:r>
            <a:r>
              <a:rPr lang="en-US" dirty="0"/>
              <a:t>/ehae178.</a:t>
            </a:r>
          </a:p>
        </p:txBody>
      </p:sp>
      <p:sp>
        <p:nvSpPr>
          <p:cNvPr id="14" name="CuadroTexto 13">
            <a:extLst>
              <a:ext uri="{FF2B5EF4-FFF2-40B4-BE49-F238E27FC236}">
                <a16:creationId xmlns:a16="http://schemas.microsoft.com/office/drawing/2014/main" id="{94B84407-E3D6-16B6-1E50-F73A71B2266F}"/>
              </a:ext>
            </a:extLst>
          </p:cNvPr>
          <p:cNvSpPr txBox="1"/>
          <p:nvPr/>
        </p:nvSpPr>
        <p:spPr>
          <a:xfrm>
            <a:off x="4700683" y="5786180"/>
            <a:ext cx="1213866" cy="307777"/>
          </a:xfrm>
          <a:prstGeom prst="rect">
            <a:avLst/>
          </a:prstGeom>
          <a:noFill/>
        </p:spPr>
        <p:txBody>
          <a:bodyPr wrap="square" rtlCol="0">
            <a:spAutoFit/>
          </a:bodyPr>
          <a:lstStyle>
            <a:defPPr>
              <a:defRPr lang="es-ES"/>
            </a:defPPr>
            <a:lvl1pPr algn="ctr">
              <a:defRPr sz="700" b="0" i="1">
                <a:solidFill>
                  <a:schemeClr val="accent1"/>
                </a:solidFill>
                <a:effectLst/>
              </a:defRPr>
            </a:lvl1pPr>
          </a:lstStyle>
          <a:p>
            <a:r>
              <a:rPr lang="en-US" dirty="0" err="1"/>
              <a:t>Eur</a:t>
            </a:r>
            <a:r>
              <a:rPr lang="en-US" dirty="0"/>
              <a:t> Heart J. 2024 Oct 7;45(38):3912-4018. </a:t>
            </a:r>
            <a:endParaRPr lang="es-ES" dirty="0"/>
          </a:p>
        </p:txBody>
      </p:sp>
      <p:sp>
        <p:nvSpPr>
          <p:cNvPr id="16" name="CuadroTexto 15">
            <a:extLst>
              <a:ext uri="{FF2B5EF4-FFF2-40B4-BE49-F238E27FC236}">
                <a16:creationId xmlns:a16="http://schemas.microsoft.com/office/drawing/2014/main" id="{8B26E20C-EBFC-CE98-171F-783624F064EF}"/>
              </a:ext>
            </a:extLst>
          </p:cNvPr>
          <p:cNvSpPr txBox="1"/>
          <p:nvPr/>
        </p:nvSpPr>
        <p:spPr>
          <a:xfrm>
            <a:off x="10303470" y="1940430"/>
            <a:ext cx="1213866" cy="307777"/>
          </a:xfrm>
          <a:prstGeom prst="rect">
            <a:avLst/>
          </a:prstGeom>
          <a:noFill/>
        </p:spPr>
        <p:txBody>
          <a:bodyPr wrap="square" rtlCol="0">
            <a:spAutoFit/>
          </a:bodyPr>
          <a:lstStyle>
            <a:defPPr>
              <a:defRPr lang="es-ES"/>
            </a:defPPr>
            <a:lvl1pPr algn="ctr">
              <a:defRPr sz="700" b="0" i="1">
                <a:solidFill>
                  <a:schemeClr val="accent1"/>
                </a:solidFill>
                <a:effectLst/>
              </a:defRPr>
            </a:lvl1pPr>
          </a:lstStyle>
          <a:p>
            <a:r>
              <a:rPr lang="en-US" dirty="0" err="1"/>
              <a:t>Eur</a:t>
            </a:r>
            <a:r>
              <a:rPr lang="en-US" dirty="0"/>
              <a:t> Heart J. 2024 Oct 7;45(38):3912-4018. </a:t>
            </a:r>
            <a:endParaRPr lang="es-ES" dirty="0"/>
          </a:p>
        </p:txBody>
      </p:sp>
      <p:sp>
        <p:nvSpPr>
          <p:cNvPr id="5" name="CuadroTexto 4">
            <a:extLst>
              <a:ext uri="{FF2B5EF4-FFF2-40B4-BE49-F238E27FC236}">
                <a16:creationId xmlns:a16="http://schemas.microsoft.com/office/drawing/2014/main" id="{690ADFC5-11DC-261F-9DE8-17AD91EC8E3B}"/>
              </a:ext>
            </a:extLst>
          </p:cNvPr>
          <p:cNvSpPr txBox="1"/>
          <p:nvPr/>
        </p:nvSpPr>
        <p:spPr>
          <a:xfrm rot="16200000">
            <a:off x="10807907" y="1889197"/>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3859931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6ABF9B-FEB6-48F6-2B2A-4A3BEAF2C64F}"/>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BB909D3A-FA86-0A0E-8FC7-DA78C112C83F}"/>
              </a:ext>
            </a:extLst>
          </p:cNvPr>
          <p:cNvSpPr>
            <a:spLocks noGrp="1"/>
          </p:cNvSpPr>
          <p:nvPr>
            <p:ph type="body" sz="quarter" idx="24"/>
          </p:nvPr>
        </p:nvSpPr>
        <p:spPr/>
        <p:txBody>
          <a:bodyPr/>
          <a:lstStyle/>
          <a:p>
            <a:endParaRPr lang="es-ES" dirty="0"/>
          </a:p>
        </p:txBody>
      </p:sp>
      <p:sp>
        <p:nvSpPr>
          <p:cNvPr id="6" name="Marcador de número de diapositiva 5">
            <a:extLst>
              <a:ext uri="{FF2B5EF4-FFF2-40B4-BE49-F238E27FC236}">
                <a16:creationId xmlns:a16="http://schemas.microsoft.com/office/drawing/2014/main" id="{1193216E-CE4C-55AE-FFC5-C16C55FB9E6E}"/>
              </a:ext>
            </a:extLst>
          </p:cNvPr>
          <p:cNvSpPr>
            <a:spLocks noGrp="1"/>
          </p:cNvSpPr>
          <p:nvPr>
            <p:ph type="sldNum" sz="quarter" idx="4"/>
          </p:nvPr>
        </p:nvSpPr>
        <p:spPr>
          <a:xfrm>
            <a:off x="10751784" y="6356351"/>
            <a:ext cx="1042415"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sp>
        <p:nvSpPr>
          <p:cNvPr id="12" name="6 CuadroTexto">
            <a:extLst>
              <a:ext uri="{FF2B5EF4-FFF2-40B4-BE49-F238E27FC236}">
                <a16:creationId xmlns:a16="http://schemas.microsoft.com/office/drawing/2014/main" id="{E8CE293B-8D64-310F-0FC4-0609AB645F0A}"/>
              </a:ext>
            </a:extLst>
          </p:cNvPr>
          <p:cNvSpPr txBox="1"/>
          <p:nvPr/>
        </p:nvSpPr>
        <p:spPr>
          <a:xfrm>
            <a:off x="6726878" y="3562763"/>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2" name="Imagen 1">
            <a:extLst>
              <a:ext uri="{FF2B5EF4-FFF2-40B4-BE49-F238E27FC236}">
                <a16:creationId xmlns:a16="http://schemas.microsoft.com/office/drawing/2014/main" id="{7356A02A-02CA-8528-1DE8-0673D6C34789}"/>
              </a:ext>
            </a:extLst>
          </p:cNvPr>
          <p:cNvPicPr>
            <a:picLocks noChangeAspect="1"/>
          </p:cNvPicPr>
          <p:nvPr/>
        </p:nvPicPr>
        <p:blipFill>
          <a:blip r:embed="rId3"/>
          <a:stretch>
            <a:fillRect/>
          </a:stretch>
        </p:blipFill>
        <p:spPr>
          <a:xfrm>
            <a:off x="10465156" y="231972"/>
            <a:ext cx="1329043" cy="457240"/>
          </a:xfrm>
          <a:prstGeom prst="rect">
            <a:avLst/>
          </a:prstGeom>
        </p:spPr>
      </p:pic>
      <p:sp>
        <p:nvSpPr>
          <p:cNvPr id="9" name="Título 3">
            <a:extLst>
              <a:ext uri="{FF2B5EF4-FFF2-40B4-BE49-F238E27FC236}">
                <a16:creationId xmlns:a16="http://schemas.microsoft.com/office/drawing/2014/main" id="{4663C464-2374-D677-3B97-6667B51A07A1}"/>
              </a:ext>
            </a:extLst>
          </p:cNvPr>
          <p:cNvSpPr txBox="1">
            <a:spLocks/>
          </p:cNvSpPr>
          <p:nvPr/>
        </p:nvSpPr>
        <p:spPr>
          <a:xfrm>
            <a:off x="922618" y="336607"/>
            <a:ext cx="2716321" cy="495374"/>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_tradnl" sz="2800" dirty="0"/>
              <a:t>Tratamiento (I)</a:t>
            </a:r>
            <a:endParaRPr lang="es-ES" sz="2800" dirty="0"/>
          </a:p>
        </p:txBody>
      </p:sp>
      <p:sp>
        <p:nvSpPr>
          <p:cNvPr id="3" name="Rectángulo 2">
            <a:extLst>
              <a:ext uri="{FF2B5EF4-FFF2-40B4-BE49-F238E27FC236}">
                <a16:creationId xmlns:a16="http://schemas.microsoft.com/office/drawing/2014/main" id="{ED1473A3-9509-C8EB-18D4-10AFF8D3E227}"/>
              </a:ext>
            </a:extLst>
          </p:cNvPr>
          <p:cNvSpPr/>
          <p:nvPr/>
        </p:nvSpPr>
        <p:spPr>
          <a:xfrm>
            <a:off x="937472" y="1004218"/>
            <a:ext cx="2180048" cy="45345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s-ES" dirty="0"/>
              <a:t>No farmacológico</a:t>
            </a:r>
            <a:r>
              <a:rPr lang="es-ES" sz="1800" b="1" baseline="30000" dirty="0">
                <a:solidFill>
                  <a:schemeClr val="bg1"/>
                </a:solidFill>
              </a:rPr>
              <a:t>1</a:t>
            </a:r>
            <a:endParaRPr lang="es-ES" dirty="0"/>
          </a:p>
        </p:txBody>
      </p:sp>
      <p:sp>
        <p:nvSpPr>
          <p:cNvPr id="7" name="Rectángulo 6">
            <a:extLst>
              <a:ext uri="{FF2B5EF4-FFF2-40B4-BE49-F238E27FC236}">
                <a16:creationId xmlns:a16="http://schemas.microsoft.com/office/drawing/2014/main" id="{9D2A53BD-D459-B941-FA92-357C9EAF3933}"/>
              </a:ext>
            </a:extLst>
          </p:cNvPr>
          <p:cNvSpPr/>
          <p:nvPr/>
        </p:nvSpPr>
        <p:spPr>
          <a:xfrm>
            <a:off x="4649210" y="1004218"/>
            <a:ext cx="2180048" cy="45345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s-ES" dirty="0"/>
              <a:t>Farmacológico</a:t>
            </a:r>
            <a:r>
              <a:rPr lang="es-ES" sz="1800" b="1" baseline="30000" dirty="0">
                <a:solidFill>
                  <a:schemeClr val="bg1"/>
                </a:solidFill>
              </a:rPr>
              <a:t>1</a:t>
            </a:r>
            <a:endParaRPr lang="es-ES" dirty="0">
              <a:solidFill>
                <a:schemeClr val="bg1"/>
              </a:solidFill>
            </a:endParaRPr>
          </a:p>
        </p:txBody>
      </p:sp>
      <p:sp>
        <p:nvSpPr>
          <p:cNvPr id="10" name="CuadroTexto 9">
            <a:extLst>
              <a:ext uri="{FF2B5EF4-FFF2-40B4-BE49-F238E27FC236}">
                <a16:creationId xmlns:a16="http://schemas.microsoft.com/office/drawing/2014/main" id="{33193B63-368C-00FC-07D6-5EE331592266}"/>
              </a:ext>
            </a:extLst>
          </p:cNvPr>
          <p:cNvSpPr txBox="1"/>
          <p:nvPr/>
        </p:nvSpPr>
        <p:spPr>
          <a:xfrm>
            <a:off x="947092" y="1563107"/>
            <a:ext cx="3216431" cy="1754326"/>
          </a:xfrm>
          <a:prstGeom prst="rect">
            <a:avLst/>
          </a:prstGeom>
          <a:noFill/>
          <a:ln>
            <a:solidFill>
              <a:schemeClr val="accent4"/>
            </a:solidFill>
          </a:ln>
        </p:spPr>
        <p:txBody>
          <a:bodyPr wrap="square" rtlCol="0">
            <a:spAutoFit/>
          </a:bodyPr>
          <a:lstStyle/>
          <a:p>
            <a:r>
              <a:rPr lang="es-ES" sz="1200" b="1" dirty="0">
                <a:solidFill>
                  <a:schemeClr val="accent1"/>
                </a:solidFill>
              </a:rPr>
              <a:t>Nuevas recomendaciones</a:t>
            </a:r>
            <a:r>
              <a:rPr lang="es-ES" sz="1200" b="1" baseline="30000" dirty="0">
                <a:solidFill>
                  <a:schemeClr val="accent1"/>
                </a:solidFill>
              </a:rPr>
              <a:t>1</a:t>
            </a:r>
            <a:r>
              <a:rPr lang="es-ES" sz="1200" b="1" dirty="0">
                <a:solidFill>
                  <a:schemeClr val="accent1"/>
                </a:solidFill>
              </a:rPr>
              <a:t>:</a:t>
            </a:r>
          </a:p>
          <a:p>
            <a:pPr algn="just"/>
            <a:endParaRPr lang="es-ES" sz="1200" b="1" dirty="0">
              <a:solidFill>
                <a:schemeClr val="accent1"/>
              </a:solidFill>
            </a:endParaRPr>
          </a:p>
          <a:p>
            <a:pPr marL="171450" indent="-171450" algn="just">
              <a:buFont typeface="Arial" panose="020B0604020202020204" pitchFamily="34" charset="0"/>
              <a:buChar char="•"/>
            </a:pPr>
            <a:r>
              <a:rPr lang="es-ES" sz="1200" b="1" dirty="0">
                <a:solidFill>
                  <a:schemeClr val="accent1"/>
                </a:solidFill>
              </a:rPr>
              <a:t>Ejercicio</a:t>
            </a:r>
            <a:r>
              <a:rPr lang="es-ES" sz="1200" dirty="0">
                <a:solidFill>
                  <a:schemeClr val="accent1"/>
                </a:solidFill>
              </a:rPr>
              <a:t> </a:t>
            </a:r>
            <a:r>
              <a:rPr lang="es-ES" sz="1200" b="1" dirty="0">
                <a:solidFill>
                  <a:schemeClr val="accent1"/>
                </a:solidFill>
              </a:rPr>
              <a:t>físico</a:t>
            </a:r>
            <a:r>
              <a:rPr lang="es-ES" sz="1200" dirty="0">
                <a:solidFill>
                  <a:schemeClr val="accent1"/>
                </a:solidFill>
              </a:rPr>
              <a:t> dinámico y isométrico.</a:t>
            </a:r>
          </a:p>
          <a:p>
            <a:pPr marL="171450" indent="-171450" algn="just">
              <a:buFont typeface="Arial" panose="020B0604020202020204" pitchFamily="34" charset="0"/>
              <a:buChar char="•"/>
            </a:pPr>
            <a:endParaRPr lang="es-ES" sz="1200" dirty="0">
              <a:solidFill>
                <a:schemeClr val="accent1"/>
              </a:solidFill>
            </a:endParaRPr>
          </a:p>
          <a:p>
            <a:pPr marL="171450" indent="-171450" algn="just">
              <a:buFont typeface="Arial" panose="020B0604020202020204" pitchFamily="34" charset="0"/>
              <a:buChar char="•"/>
            </a:pPr>
            <a:r>
              <a:rPr lang="es-ES" sz="1200" dirty="0">
                <a:solidFill>
                  <a:schemeClr val="accent1"/>
                </a:solidFill>
              </a:rPr>
              <a:t>Aumentar el consumo de </a:t>
            </a:r>
            <a:r>
              <a:rPr lang="es-ES" sz="1200" b="1" dirty="0">
                <a:solidFill>
                  <a:schemeClr val="accent1"/>
                </a:solidFill>
              </a:rPr>
              <a:t>K</a:t>
            </a:r>
            <a:r>
              <a:rPr lang="es-ES" sz="1200" b="1" baseline="30000" dirty="0">
                <a:solidFill>
                  <a:schemeClr val="accent1"/>
                </a:solidFill>
              </a:rPr>
              <a:t>+</a:t>
            </a:r>
            <a:r>
              <a:rPr lang="es-ES" sz="1200" dirty="0">
                <a:solidFill>
                  <a:schemeClr val="accent1"/>
                </a:solidFill>
              </a:rPr>
              <a:t> 0,5-1 g/día (ausencia de ERC moderada o grave).</a:t>
            </a:r>
          </a:p>
          <a:p>
            <a:pPr marL="171450" indent="-171450" algn="just">
              <a:buFont typeface="Arial" panose="020B0604020202020204" pitchFamily="34" charset="0"/>
              <a:buChar char="•"/>
            </a:pPr>
            <a:endParaRPr lang="es-ES" sz="1200" dirty="0">
              <a:solidFill>
                <a:schemeClr val="accent1"/>
              </a:solidFill>
            </a:endParaRPr>
          </a:p>
          <a:p>
            <a:pPr marL="171450" indent="-171450" algn="just">
              <a:buFont typeface="Arial" panose="020B0604020202020204" pitchFamily="34" charset="0"/>
              <a:buChar char="•"/>
            </a:pPr>
            <a:r>
              <a:rPr lang="es-ES" sz="1200" dirty="0">
                <a:solidFill>
                  <a:schemeClr val="accent1"/>
                </a:solidFill>
              </a:rPr>
              <a:t>Restricción de </a:t>
            </a:r>
            <a:r>
              <a:rPr lang="es-ES" sz="1200" b="1" dirty="0">
                <a:solidFill>
                  <a:schemeClr val="accent1"/>
                </a:solidFill>
              </a:rPr>
              <a:t>azúcares</a:t>
            </a:r>
            <a:r>
              <a:rPr lang="es-ES" sz="1200" dirty="0">
                <a:solidFill>
                  <a:schemeClr val="accent1"/>
                </a:solidFill>
              </a:rPr>
              <a:t> libres.</a:t>
            </a:r>
          </a:p>
          <a:p>
            <a:pPr algn="just"/>
            <a:r>
              <a:rPr lang="es-ES" sz="1200" dirty="0">
                <a:solidFill>
                  <a:schemeClr val="accent1"/>
                </a:solidFill>
              </a:rPr>
              <a:t>  </a:t>
            </a:r>
          </a:p>
        </p:txBody>
      </p:sp>
      <p:sp>
        <p:nvSpPr>
          <p:cNvPr id="11" name="CuadroTexto 10">
            <a:extLst>
              <a:ext uri="{FF2B5EF4-FFF2-40B4-BE49-F238E27FC236}">
                <a16:creationId xmlns:a16="http://schemas.microsoft.com/office/drawing/2014/main" id="{0789B2F9-BB56-3938-83BA-9248692ED156}"/>
              </a:ext>
            </a:extLst>
          </p:cNvPr>
          <p:cNvSpPr txBox="1"/>
          <p:nvPr/>
        </p:nvSpPr>
        <p:spPr>
          <a:xfrm>
            <a:off x="947092" y="3408865"/>
            <a:ext cx="3216431" cy="1754326"/>
          </a:xfrm>
          <a:prstGeom prst="rect">
            <a:avLst/>
          </a:prstGeom>
          <a:noFill/>
          <a:ln>
            <a:solidFill>
              <a:schemeClr val="accent4"/>
            </a:solidFill>
          </a:ln>
        </p:spPr>
        <p:txBody>
          <a:bodyPr wrap="square" rtlCol="0">
            <a:spAutoFit/>
          </a:bodyPr>
          <a:lstStyle/>
          <a:p>
            <a:r>
              <a:rPr lang="es-ES" sz="1200" b="1" dirty="0">
                <a:solidFill>
                  <a:schemeClr val="accent1"/>
                </a:solidFill>
              </a:rPr>
              <a:t>PA elevada</a:t>
            </a:r>
            <a:r>
              <a:rPr lang="es-ES" sz="1200" b="1" baseline="30000" dirty="0">
                <a:solidFill>
                  <a:schemeClr val="accent1"/>
                </a:solidFill>
              </a:rPr>
              <a:t>1</a:t>
            </a:r>
            <a:r>
              <a:rPr lang="es-ES" sz="1200" b="1" dirty="0">
                <a:solidFill>
                  <a:schemeClr val="accent1"/>
                </a:solidFill>
              </a:rPr>
              <a:t>:</a:t>
            </a:r>
          </a:p>
          <a:p>
            <a:pPr algn="just"/>
            <a:endParaRPr lang="es-ES" sz="1200" b="1" dirty="0">
              <a:solidFill>
                <a:schemeClr val="accent1"/>
              </a:solidFill>
            </a:endParaRPr>
          </a:p>
          <a:p>
            <a:pPr marL="171450" indent="-171450" algn="just">
              <a:buFont typeface="Arial" panose="020B0604020202020204" pitchFamily="34" charset="0"/>
              <a:buChar char="•"/>
            </a:pPr>
            <a:r>
              <a:rPr lang="es-ES" sz="1200" u="sng" dirty="0">
                <a:solidFill>
                  <a:schemeClr val="accent1"/>
                </a:solidFill>
              </a:rPr>
              <a:t>RCV bajo/medio </a:t>
            </a:r>
            <a:r>
              <a:rPr lang="es-ES" sz="1200" dirty="0">
                <a:solidFill>
                  <a:schemeClr val="accent1"/>
                </a:solidFill>
                <a:sym typeface="Wingdings" panose="05000000000000000000" pitchFamily="2" charset="2"/>
              </a:rPr>
              <a:t> Cambios en el estilo de vida.</a:t>
            </a:r>
          </a:p>
          <a:p>
            <a:pPr marL="171450" indent="-171450" algn="just">
              <a:buFont typeface="Arial" panose="020B0604020202020204" pitchFamily="34" charset="0"/>
              <a:buChar char="•"/>
            </a:pPr>
            <a:endParaRPr lang="es-ES" sz="1200" dirty="0">
              <a:solidFill>
                <a:schemeClr val="accent1"/>
              </a:solidFill>
              <a:sym typeface="Wingdings" panose="05000000000000000000" pitchFamily="2" charset="2"/>
            </a:endParaRPr>
          </a:p>
          <a:p>
            <a:pPr marL="171450" indent="-171450" algn="just">
              <a:buFont typeface="Arial" panose="020B0604020202020204" pitchFamily="34" charset="0"/>
              <a:buChar char="•"/>
            </a:pPr>
            <a:r>
              <a:rPr lang="es-ES" sz="1200" u="sng" dirty="0">
                <a:solidFill>
                  <a:schemeClr val="accent1"/>
                </a:solidFill>
                <a:sym typeface="Wingdings" panose="05000000000000000000" pitchFamily="2" charset="2"/>
              </a:rPr>
              <a:t>RCV alto </a:t>
            </a:r>
            <a:r>
              <a:rPr lang="es-ES" sz="1200" dirty="0">
                <a:solidFill>
                  <a:schemeClr val="accent1"/>
                </a:solidFill>
                <a:sym typeface="Wingdings" panose="05000000000000000000" pitchFamily="2" charset="2"/>
              </a:rPr>
              <a:t> 3 meses de cambios en el estilo de vida  Tratamiento farmacológico.</a:t>
            </a:r>
            <a:r>
              <a:rPr lang="es-ES" sz="1200" dirty="0">
                <a:solidFill>
                  <a:schemeClr val="accent1"/>
                </a:solidFill>
              </a:rPr>
              <a:t> </a:t>
            </a:r>
          </a:p>
          <a:p>
            <a:pPr marL="171450" indent="-171450" algn="just">
              <a:buFont typeface="Arial" panose="020B0604020202020204" pitchFamily="34" charset="0"/>
              <a:buChar char="•"/>
            </a:pPr>
            <a:endParaRPr lang="es-ES" sz="1200" dirty="0">
              <a:solidFill>
                <a:schemeClr val="accent1"/>
              </a:solidFill>
            </a:endParaRPr>
          </a:p>
        </p:txBody>
      </p:sp>
      <p:sp>
        <p:nvSpPr>
          <p:cNvPr id="13" name="CuadroTexto 12">
            <a:extLst>
              <a:ext uri="{FF2B5EF4-FFF2-40B4-BE49-F238E27FC236}">
                <a16:creationId xmlns:a16="http://schemas.microsoft.com/office/drawing/2014/main" id="{0DCDCDB1-EC8B-20CF-1C40-3CDEA8A0F9B9}"/>
              </a:ext>
            </a:extLst>
          </p:cNvPr>
          <p:cNvSpPr txBox="1"/>
          <p:nvPr/>
        </p:nvSpPr>
        <p:spPr>
          <a:xfrm>
            <a:off x="939271" y="5229548"/>
            <a:ext cx="3218400" cy="646331"/>
          </a:xfrm>
          <a:prstGeom prst="rect">
            <a:avLst/>
          </a:prstGeom>
          <a:noFill/>
          <a:ln>
            <a:solidFill>
              <a:schemeClr val="accent4"/>
            </a:solidFill>
          </a:ln>
        </p:spPr>
        <p:txBody>
          <a:bodyPr wrap="square" rtlCol="0">
            <a:spAutoFit/>
          </a:bodyPr>
          <a:lstStyle/>
          <a:p>
            <a:r>
              <a:rPr lang="es-ES" sz="1200" b="1" dirty="0">
                <a:solidFill>
                  <a:schemeClr val="accent1"/>
                </a:solidFill>
              </a:rPr>
              <a:t>HTA</a:t>
            </a:r>
            <a:r>
              <a:rPr lang="es-ES" sz="1200" b="1" baseline="30000" dirty="0">
                <a:solidFill>
                  <a:schemeClr val="accent1"/>
                </a:solidFill>
              </a:rPr>
              <a:t>1</a:t>
            </a:r>
            <a:r>
              <a:rPr lang="es-ES" sz="1200" b="1" dirty="0">
                <a:solidFill>
                  <a:schemeClr val="accent1"/>
                </a:solidFill>
              </a:rPr>
              <a:t>:</a:t>
            </a:r>
          </a:p>
          <a:p>
            <a:pPr algn="just"/>
            <a:endParaRPr lang="es-ES" sz="1200" b="1" dirty="0">
              <a:solidFill>
                <a:schemeClr val="accent1"/>
              </a:solidFill>
            </a:endParaRPr>
          </a:p>
          <a:p>
            <a:pPr marL="171450" indent="-171450" algn="just">
              <a:buFont typeface="Arial" panose="020B0604020202020204" pitchFamily="34" charset="0"/>
              <a:buChar char="•"/>
            </a:pPr>
            <a:r>
              <a:rPr lang="es-ES" sz="1200" dirty="0">
                <a:solidFill>
                  <a:schemeClr val="accent1"/>
                </a:solidFill>
              </a:rPr>
              <a:t>Cambios en el estilo de vida + Fármacos.</a:t>
            </a:r>
          </a:p>
        </p:txBody>
      </p:sp>
      <p:pic>
        <p:nvPicPr>
          <p:cNvPr id="17" name="Imagen 16">
            <a:extLst>
              <a:ext uri="{FF2B5EF4-FFF2-40B4-BE49-F238E27FC236}">
                <a16:creationId xmlns:a16="http://schemas.microsoft.com/office/drawing/2014/main" id="{761C7DF6-0678-D5FE-6693-566981925153}"/>
              </a:ext>
            </a:extLst>
          </p:cNvPr>
          <p:cNvPicPr>
            <a:picLocks noChangeAspect="1"/>
          </p:cNvPicPr>
          <p:nvPr/>
        </p:nvPicPr>
        <p:blipFill>
          <a:blip r:embed="rId4"/>
          <a:stretch>
            <a:fillRect/>
          </a:stretch>
        </p:blipFill>
        <p:spPr>
          <a:xfrm>
            <a:off x="7150576" y="197845"/>
            <a:ext cx="4804525" cy="6428381"/>
          </a:xfrm>
          <a:prstGeom prst="rect">
            <a:avLst/>
          </a:prstGeom>
        </p:spPr>
      </p:pic>
      <p:sp>
        <p:nvSpPr>
          <p:cNvPr id="14" name="CuadroTexto 13">
            <a:extLst>
              <a:ext uri="{FF2B5EF4-FFF2-40B4-BE49-F238E27FC236}">
                <a16:creationId xmlns:a16="http://schemas.microsoft.com/office/drawing/2014/main" id="{478FC8FD-5E57-BDD5-B2E4-68ED22838C0C}"/>
              </a:ext>
            </a:extLst>
          </p:cNvPr>
          <p:cNvSpPr txBox="1"/>
          <p:nvPr/>
        </p:nvSpPr>
        <p:spPr>
          <a:xfrm>
            <a:off x="4484841" y="5198770"/>
            <a:ext cx="2519280" cy="707886"/>
          </a:xfrm>
          <a:prstGeom prst="rect">
            <a:avLst/>
          </a:prstGeom>
          <a:noFill/>
        </p:spPr>
        <p:txBody>
          <a:bodyPr wrap="square">
            <a:spAutoFit/>
          </a:bodyPr>
          <a:lstStyle/>
          <a:p>
            <a:pPr algn="just"/>
            <a:r>
              <a:rPr lang="es-ES" sz="800" dirty="0" err="1">
                <a:solidFill>
                  <a:schemeClr val="accent1"/>
                </a:solidFill>
              </a:rPr>
              <a:t>ACEi</a:t>
            </a:r>
            <a:r>
              <a:rPr lang="es-ES" sz="800" dirty="0">
                <a:solidFill>
                  <a:schemeClr val="accent1"/>
                </a:solidFill>
              </a:rPr>
              <a:t>: </a:t>
            </a:r>
            <a:r>
              <a:rPr lang="es-ES" sz="800" dirty="0" err="1">
                <a:solidFill>
                  <a:schemeClr val="accent1"/>
                </a:solidFill>
              </a:rPr>
              <a:t>angiotensin-converting</a:t>
            </a:r>
            <a:r>
              <a:rPr lang="es-ES" sz="800" dirty="0">
                <a:solidFill>
                  <a:schemeClr val="accent1"/>
                </a:solidFill>
              </a:rPr>
              <a:t> </a:t>
            </a:r>
            <a:r>
              <a:rPr lang="es-ES" sz="800" dirty="0" err="1">
                <a:solidFill>
                  <a:schemeClr val="accent1"/>
                </a:solidFill>
              </a:rPr>
              <a:t>enzyme</a:t>
            </a:r>
            <a:r>
              <a:rPr lang="es-ES" sz="800" dirty="0">
                <a:solidFill>
                  <a:schemeClr val="accent1"/>
                </a:solidFill>
              </a:rPr>
              <a:t> </a:t>
            </a:r>
            <a:r>
              <a:rPr lang="es-ES" sz="800" dirty="0" err="1">
                <a:solidFill>
                  <a:schemeClr val="accent1"/>
                </a:solidFill>
              </a:rPr>
              <a:t>inhibitor</a:t>
            </a:r>
            <a:r>
              <a:rPr lang="es-ES" sz="800" dirty="0">
                <a:solidFill>
                  <a:schemeClr val="accent1"/>
                </a:solidFill>
              </a:rPr>
              <a:t>; ALARA: </a:t>
            </a:r>
            <a:r>
              <a:rPr lang="en-US" sz="800" dirty="0">
                <a:solidFill>
                  <a:schemeClr val="accent1"/>
                </a:solidFill>
              </a:rPr>
              <a:t>as low as reasonably achievable</a:t>
            </a:r>
            <a:r>
              <a:rPr lang="es-ES" sz="800" dirty="0">
                <a:solidFill>
                  <a:schemeClr val="accent1"/>
                </a:solidFill>
              </a:rPr>
              <a:t> ARB: </a:t>
            </a:r>
            <a:r>
              <a:rPr lang="es-ES" sz="800" dirty="0" err="1">
                <a:solidFill>
                  <a:schemeClr val="accent1"/>
                </a:solidFill>
              </a:rPr>
              <a:t>angiotensin</a:t>
            </a:r>
            <a:r>
              <a:rPr lang="es-ES" sz="800" dirty="0">
                <a:solidFill>
                  <a:schemeClr val="accent1"/>
                </a:solidFill>
              </a:rPr>
              <a:t> receptor </a:t>
            </a:r>
            <a:r>
              <a:rPr lang="es-ES" sz="800" dirty="0" err="1">
                <a:solidFill>
                  <a:schemeClr val="accent1"/>
                </a:solidFill>
              </a:rPr>
              <a:t>blocker</a:t>
            </a:r>
            <a:r>
              <a:rPr lang="es-ES" sz="800" dirty="0">
                <a:solidFill>
                  <a:schemeClr val="accent1"/>
                </a:solidFill>
              </a:rPr>
              <a:t>; BP: </a:t>
            </a:r>
            <a:r>
              <a:rPr lang="es-ES" sz="800" dirty="0" err="1">
                <a:solidFill>
                  <a:schemeClr val="accent1"/>
                </a:solidFill>
              </a:rPr>
              <a:t>blood</a:t>
            </a:r>
            <a:r>
              <a:rPr lang="es-ES" sz="800" dirty="0">
                <a:solidFill>
                  <a:schemeClr val="accent1"/>
                </a:solidFill>
              </a:rPr>
              <a:t> </a:t>
            </a:r>
            <a:r>
              <a:rPr lang="es-ES" sz="800" dirty="0" err="1">
                <a:solidFill>
                  <a:schemeClr val="accent1"/>
                </a:solidFill>
              </a:rPr>
              <a:t>pressure</a:t>
            </a:r>
            <a:r>
              <a:rPr lang="es-ES" sz="800" dirty="0">
                <a:solidFill>
                  <a:schemeClr val="accent1"/>
                </a:solidFill>
              </a:rPr>
              <a:t>; CCB: </a:t>
            </a:r>
            <a:r>
              <a:rPr lang="es-ES" sz="800" dirty="0" err="1">
                <a:solidFill>
                  <a:schemeClr val="accent1"/>
                </a:solidFill>
              </a:rPr>
              <a:t>calcium</a:t>
            </a:r>
            <a:r>
              <a:rPr lang="es-ES" sz="800" dirty="0">
                <a:solidFill>
                  <a:schemeClr val="accent1"/>
                </a:solidFill>
              </a:rPr>
              <a:t> </a:t>
            </a:r>
            <a:r>
              <a:rPr lang="es-ES" sz="800" dirty="0" err="1">
                <a:solidFill>
                  <a:schemeClr val="accent1"/>
                </a:solidFill>
              </a:rPr>
              <a:t>channel</a:t>
            </a:r>
            <a:r>
              <a:rPr lang="es-ES" sz="800" dirty="0">
                <a:solidFill>
                  <a:schemeClr val="accent1"/>
                </a:solidFill>
              </a:rPr>
              <a:t> </a:t>
            </a:r>
            <a:r>
              <a:rPr lang="es-ES" sz="800" dirty="0" err="1">
                <a:solidFill>
                  <a:schemeClr val="accent1"/>
                </a:solidFill>
              </a:rPr>
              <a:t>blocker</a:t>
            </a:r>
            <a:r>
              <a:rPr lang="es-ES" sz="800" dirty="0">
                <a:solidFill>
                  <a:schemeClr val="accent1"/>
                </a:solidFill>
              </a:rPr>
              <a:t>; FU: </a:t>
            </a:r>
            <a:r>
              <a:rPr lang="es-ES" sz="800" dirty="0" err="1">
                <a:solidFill>
                  <a:schemeClr val="accent1"/>
                </a:solidFill>
              </a:rPr>
              <a:t>follow</a:t>
            </a:r>
            <a:r>
              <a:rPr lang="es-ES" sz="800" dirty="0">
                <a:solidFill>
                  <a:schemeClr val="accent1"/>
                </a:solidFill>
              </a:rPr>
              <a:t>-up; K: </a:t>
            </a:r>
            <a:r>
              <a:rPr lang="es-ES" sz="800" dirty="0" err="1">
                <a:solidFill>
                  <a:schemeClr val="accent1"/>
                </a:solidFill>
              </a:rPr>
              <a:t>potassium</a:t>
            </a:r>
            <a:r>
              <a:rPr lang="es-ES" sz="800" dirty="0">
                <a:solidFill>
                  <a:schemeClr val="accent1"/>
                </a:solidFill>
              </a:rPr>
              <a:t>.</a:t>
            </a:r>
          </a:p>
        </p:txBody>
      </p:sp>
      <p:sp>
        <p:nvSpPr>
          <p:cNvPr id="8" name="Flecha: doblada hacia arriba 7">
            <a:extLst>
              <a:ext uri="{FF2B5EF4-FFF2-40B4-BE49-F238E27FC236}">
                <a16:creationId xmlns:a16="http://schemas.microsoft.com/office/drawing/2014/main" id="{A6F1D742-8131-C275-F87C-67764D9671CE}"/>
              </a:ext>
            </a:extLst>
          </p:cNvPr>
          <p:cNvSpPr/>
          <p:nvPr/>
        </p:nvSpPr>
        <p:spPr>
          <a:xfrm rot="5400000">
            <a:off x="6062239" y="1465978"/>
            <a:ext cx="728232" cy="862623"/>
          </a:xfrm>
          <a:prstGeom prst="bentUpArrow">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s-ES" dirty="0"/>
          </a:p>
        </p:txBody>
      </p:sp>
      <p:sp>
        <p:nvSpPr>
          <p:cNvPr id="18" name="CuadroTexto 17">
            <a:extLst>
              <a:ext uri="{FF2B5EF4-FFF2-40B4-BE49-F238E27FC236}">
                <a16:creationId xmlns:a16="http://schemas.microsoft.com/office/drawing/2014/main" id="{E08E6563-E42C-0E6A-913C-1DFBAB754B24}"/>
              </a:ext>
            </a:extLst>
          </p:cNvPr>
          <p:cNvSpPr txBox="1"/>
          <p:nvPr/>
        </p:nvSpPr>
        <p:spPr>
          <a:xfrm>
            <a:off x="4649210" y="2962598"/>
            <a:ext cx="2354911" cy="1200329"/>
          </a:xfrm>
          <a:prstGeom prst="rect">
            <a:avLst/>
          </a:prstGeom>
          <a:solidFill>
            <a:schemeClr val="accent2"/>
          </a:solidFill>
          <a:ln>
            <a:solidFill>
              <a:schemeClr val="accent4"/>
            </a:solidFill>
          </a:ln>
        </p:spPr>
        <p:txBody>
          <a:bodyPr wrap="square">
            <a:spAutoFit/>
          </a:bodyPr>
          <a:lstStyle/>
          <a:p>
            <a:pPr algn="ctr"/>
            <a:r>
              <a:rPr lang="es-ES" sz="1200" b="1" dirty="0">
                <a:solidFill>
                  <a:schemeClr val="accent1"/>
                </a:solidFill>
              </a:rPr>
              <a:t>Objetivo</a:t>
            </a:r>
            <a:r>
              <a:rPr lang="es-ES" sz="1200" b="1" baseline="30000" dirty="0">
                <a:solidFill>
                  <a:schemeClr val="accent1"/>
                </a:solidFill>
              </a:rPr>
              <a:t>1</a:t>
            </a:r>
            <a:endParaRPr lang="es-ES" sz="1200" b="1" dirty="0">
              <a:solidFill>
                <a:schemeClr val="accent1"/>
              </a:solidFill>
            </a:endParaRPr>
          </a:p>
          <a:p>
            <a:pPr algn="just"/>
            <a:endParaRPr lang="es-ES" sz="1200" b="1" dirty="0">
              <a:solidFill>
                <a:schemeClr val="accent1"/>
              </a:solidFill>
            </a:endParaRPr>
          </a:p>
          <a:p>
            <a:pPr algn="ctr"/>
            <a:r>
              <a:rPr lang="es-ES" sz="1200" dirty="0" err="1">
                <a:solidFill>
                  <a:schemeClr val="accent1"/>
                </a:solidFill>
              </a:rPr>
              <a:t>PASistólica</a:t>
            </a:r>
            <a:r>
              <a:rPr lang="es-ES" sz="1200" dirty="0">
                <a:solidFill>
                  <a:schemeClr val="accent1"/>
                </a:solidFill>
              </a:rPr>
              <a:t> de 120-129 </a:t>
            </a:r>
            <a:r>
              <a:rPr lang="es-ES" sz="1200" dirty="0" err="1">
                <a:solidFill>
                  <a:schemeClr val="accent1"/>
                </a:solidFill>
              </a:rPr>
              <a:t>mmHg</a:t>
            </a:r>
            <a:r>
              <a:rPr lang="es-ES" sz="1200" dirty="0">
                <a:solidFill>
                  <a:schemeClr val="accent1"/>
                </a:solidFill>
              </a:rPr>
              <a:t> o tan bajo como razonablemente alcanzable (“ALARA”)</a:t>
            </a:r>
          </a:p>
        </p:txBody>
      </p:sp>
      <p:sp>
        <p:nvSpPr>
          <p:cNvPr id="5" name="CuadroTexto 4">
            <a:extLst>
              <a:ext uri="{FF2B5EF4-FFF2-40B4-BE49-F238E27FC236}">
                <a16:creationId xmlns:a16="http://schemas.microsoft.com/office/drawing/2014/main" id="{957AF3D9-6E00-4221-7D81-B5C29E4EDAC7}"/>
              </a:ext>
            </a:extLst>
          </p:cNvPr>
          <p:cNvSpPr txBox="1"/>
          <p:nvPr/>
        </p:nvSpPr>
        <p:spPr>
          <a:xfrm>
            <a:off x="814744" y="6189509"/>
            <a:ext cx="5912133" cy="196656"/>
          </a:xfrm>
          <a:prstGeom prst="rect">
            <a:avLst/>
          </a:prstGeom>
        </p:spPr>
        <p:txBody>
          <a:bodyPr/>
          <a:lstStyle>
            <a:defPPr>
              <a:defRPr lang="es-ES"/>
            </a:defPPr>
            <a:lvl1pPr indent="0" algn="ctr" defTabSz="914377">
              <a:lnSpc>
                <a:spcPct val="90000"/>
              </a:lnSpc>
              <a:spcBef>
                <a:spcPts val="1000"/>
              </a:spcBef>
              <a:buFont typeface="Arial" panose="020B0604020202020204" pitchFamily="34" charset="0"/>
              <a:buNone/>
              <a:defRPr sz="1200">
                <a:solidFill>
                  <a:schemeClr val="accent1"/>
                </a:solidFill>
              </a:defRPr>
            </a:lvl1pPr>
            <a:lvl2pPr marL="685783" indent="-228594" defTabSz="914377">
              <a:lnSpc>
                <a:spcPct val="90000"/>
              </a:lnSpc>
              <a:spcBef>
                <a:spcPts val="500"/>
              </a:spcBef>
              <a:buFont typeface="Arial" panose="020B0604020202020204" pitchFamily="34" charset="0"/>
              <a:buChar char="•"/>
              <a:defRPr sz="2400"/>
            </a:lvl2pPr>
            <a:lvl3pPr marL="1142971" indent="-228594" defTabSz="914377">
              <a:lnSpc>
                <a:spcPct val="90000"/>
              </a:lnSpc>
              <a:spcBef>
                <a:spcPts val="500"/>
              </a:spcBef>
              <a:buFont typeface="Arial" panose="020B0604020202020204" pitchFamily="34" charset="0"/>
              <a:buChar char="•"/>
              <a:defRPr sz="2000"/>
            </a:lvl3pPr>
            <a:lvl4pPr marL="1600160" indent="-228594" defTabSz="914377">
              <a:lnSpc>
                <a:spcPct val="90000"/>
              </a:lnSpc>
              <a:spcBef>
                <a:spcPts val="500"/>
              </a:spcBef>
              <a:buFont typeface="Arial" panose="020B0604020202020204" pitchFamily="34" charset="0"/>
              <a:buChar char="•"/>
            </a:lvl4pPr>
            <a:lvl5pPr marL="2057349" indent="-228594" defTabSz="914377">
              <a:lnSpc>
                <a:spcPct val="90000"/>
              </a:lnSpc>
              <a:spcBef>
                <a:spcPts val="500"/>
              </a:spcBef>
              <a:buFont typeface="Arial" panose="020B0604020202020204" pitchFamily="34" charset="0"/>
              <a:buChar cha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r>
              <a:rPr lang="es-ES" sz="1000" dirty="0"/>
              <a:t>Guía ESC 2024 Presión arterial elevada e Hipertensión arterial</a:t>
            </a:r>
          </a:p>
        </p:txBody>
      </p:sp>
      <p:sp>
        <p:nvSpPr>
          <p:cNvPr id="15" name="CuadroTexto 14">
            <a:extLst>
              <a:ext uri="{FF2B5EF4-FFF2-40B4-BE49-F238E27FC236}">
                <a16:creationId xmlns:a16="http://schemas.microsoft.com/office/drawing/2014/main" id="{DF66C847-4D8B-5340-F848-965C13C73405}"/>
              </a:ext>
            </a:extLst>
          </p:cNvPr>
          <p:cNvSpPr txBox="1"/>
          <p:nvPr/>
        </p:nvSpPr>
        <p:spPr>
          <a:xfrm>
            <a:off x="1138594" y="6367504"/>
            <a:ext cx="5589992" cy="307777"/>
          </a:xfrm>
          <a:prstGeom prst="rect">
            <a:avLst/>
          </a:prstGeom>
          <a:noFill/>
        </p:spPr>
        <p:txBody>
          <a:bodyPr wrap="square" rtlCol="0">
            <a:spAutoFit/>
          </a:bodyPr>
          <a:lstStyle>
            <a:defPPr>
              <a:defRPr lang="es-ES"/>
            </a:defPPr>
            <a:lvl1pPr>
              <a:defRPr sz="700" b="0" i="1">
                <a:solidFill>
                  <a:schemeClr val="accent1"/>
                </a:solidFill>
                <a:effectLst/>
              </a:defRPr>
            </a:lvl1pPr>
          </a:lstStyle>
          <a:p>
            <a:pPr algn="ctr"/>
            <a:r>
              <a:rPr lang="en-US" dirty="0"/>
              <a:t>1. McEvoy JW, et al. 2024 ESC Guidelines for the management of elevated blood pressure and hypertension. </a:t>
            </a:r>
            <a:r>
              <a:rPr lang="en-US" dirty="0" err="1"/>
              <a:t>Eur</a:t>
            </a:r>
            <a:r>
              <a:rPr lang="en-US" dirty="0"/>
              <a:t> Heart J. 2024 Oct 7;45(38):3912-4018. </a:t>
            </a:r>
            <a:r>
              <a:rPr lang="en-US" dirty="0" err="1"/>
              <a:t>doi</a:t>
            </a:r>
            <a:r>
              <a:rPr lang="en-US" dirty="0"/>
              <a:t>: 10.1093/</a:t>
            </a:r>
            <a:r>
              <a:rPr lang="en-US" dirty="0" err="1"/>
              <a:t>eurheartj</a:t>
            </a:r>
            <a:r>
              <a:rPr lang="en-US" dirty="0"/>
              <a:t>/ehae178.</a:t>
            </a:r>
          </a:p>
        </p:txBody>
      </p:sp>
      <p:sp>
        <p:nvSpPr>
          <p:cNvPr id="20" name="CuadroTexto 19">
            <a:extLst>
              <a:ext uri="{FF2B5EF4-FFF2-40B4-BE49-F238E27FC236}">
                <a16:creationId xmlns:a16="http://schemas.microsoft.com/office/drawing/2014/main" id="{0FD60AD1-8386-464B-667D-0B9E55B15D23}"/>
              </a:ext>
            </a:extLst>
          </p:cNvPr>
          <p:cNvSpPr txBox="1"/>
          <p:nvPr/>
        </p:nvSpPr>
        <p:spPr>
          <a:xfrm>
            <a:off x="9495987" y="6573824"/>
            <a:ext cx="1938337"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r>
              <a:rPr lang="en-US" dirty="0" err="1"/>
              <a:t>Eur</a:t>
            </a:r>
            <a:r>
              <a:rPr lang="en-US" dirty="0"/>
              <a:t> Heart J. 2024 Oct 7;45(38):3912-4018</a:t>
            </a:r>
            <a:endParaRPr lang="es-ES" dirty="0"/>
          </a:p>
        </p:txBody>
      </p:sp>
      <p:sp>
        <p:nvSpPr>
          <p:cNvPr id="16" name="CuadroTexto 15">
            <a:extLst>
              <a:ext uri="{FF2B5EF4-FFF2-40B4-BE49-F238E27FC236}">
                <a16:creationId xmlns:a16="http://schemas.microsoft.com/office/drawing/2014/main" id="{A64A6E3F-6B4D-FBC2-4169-328DF3F83734}"/>
              </a:ext>
            </a:extLst>
          </p:cNvPr>
          <p:cNvSpPr txBox="1"/>
          <p:nvPr/>
        </p:nvSpPr>
        <p:spPr>
          <a:xfrm rot="16200000">
            <a:off x="10821116" y="2434237"/>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24661928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BEDCDA-8DD8-A402-DC8B-5463FBC4E92C}"/>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A01D4E71-C21C-0D05-9ACA-7078EAAF5AD6}"/>
              </a:ext>
            </a:extLst>
          </p:cNvPr>
          <p:cNvSpPr>
            <a:spLocks noGrp="1"/>
          </p:cNvSpPr>
          <p:nvPr>
            <p:ph type="body" sz="quarter" idx="24"/>
          </p:nvPr>
        </p:nvSpPr>
        <p:spPr/>
        <p:txBody>
          <a:bodyPr/>
          <a:lstStyle/>
          <a:p>
            <a:endParaRPr lang="es-ES" dirty="0"/>
          </a:p>
        </p:txBody>
      </p:sp>
      <p:sp>
        <p:nvSpPr>
          <p:cNvPr id="6" name="Marcador de número de diapositiva 5">
            <a:extLst>
              <a:ext uri="{FF2B5EF4-FFF2-40B4-BE49-F238E27FC236}">
                <a16:creationId xmlns:a16="http://schemas.microsoft.com/office/drawing/2014/main" id="{2C4D1899-2C23-180A-4045-98BE427A6402}"/>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sp>
        <p:nvSpPr>
          <p:cNvPr id="12" name="6 CuadroTexto">
            <a:extLst>
              <a:ext uri="{FF2B5EF4-FFF2-40B4-BE49-F238E27FC236}">
                <a16:creationId xmlns:a16="http://schemas.microsoft.com/office/drawing/2014/main" id="{766D1D9E-9148-93B6-0320-DA68A589F804}"/>
              </a:ext>
            </a:extLst>
          </p:cNvPr>
          <p:cNvSpPr txBox="1"/>
          <p:nvPr/>
        </p:nvSpPr>
        <p:spPr>
          <a:xfrm>
            <a:off x="6894515" y="3562764"/>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2" name="Imagen 1">
            <a:extLst>
              <a:ext uri="{FF2B5EF4-FFF2-40B4-BE49-F238E27FC236}">
                <a16:creationId xmlns:a16="http://schemas.microsoft.com/office/drawing/2014/main" id="{44B58D64-4CA5-1782-ED2E-1469069A291C}"/>
              </a:ext>
            </a:extLst>
          </p:cNvPr>
          <p:cNvPicPr>
            <a:picLocks noChangeAspect="1"/>
          </p:cNvPicPr>
          <p:nvPr/>
        </p:nvPicPr>
        <p:blipFill>
          <a:blip r:embed="rId3"/>
          <a:stretch>
            <a:fillRect/>
          </a:stretch>
        </p:blipFill>
        <p:spPr>
          <a:xfrm>
            <a:off x="10623775" y="231972"/>
            <a:ext cx="1329043" cy="457240"/>
          </a:xfrm>
          <a:prstGeom prst="rect">
            <a:avLst/>
          </a:prstGeom>
        </p:spPr>
      </p:pic>
      <p:sp>
        <p:nvSpPr>
          <p:cNvPr id="9" name="Título 3">
            <a:extLst>
              <a:ext uri="{FF2B5EF4-FFF2-40B4-BE49-F238E27FC236}">
                <a16:creationId xmlns:a16="http://schemas.microsoft.com/office/drawing/2014/main" id="{9158D893-ACE7-50A0-6D17-29A2D714424A}"/>
              </a:ext>
            </a:extLst>
          </p:cNvPr>
          <p:cNvSpPr txBox="1">
            <a:spLocks/>
          </p:cNvSpPr>
          <p:nvPr/>
        </p:nvSpPr>
        <p:spPr>
          <a:xfrm>
            <a:off x="1137226" y="245166"/>
            <a:ext cx="5327649" cy="420147"/>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_tradnl" sz="2800" dirty="0"/>
              <a:t>Tratamiento (II): farmacológico</a:t>
            </a:r>
            <a:endParaRPr lang="es-ES" sz="2800" dirty="0"/>
          </a:p>
        </p:txBody>
      </p:sp>
      <p:sp>
        <p:nvSpPr>
          <p:cNvPr id="3" name="Rectángulo: esquinas redondeadas 2">
            <a:extLst>
              <a:ext uri="{FF2B5EF4-FFF2-40B4-BE49-F238E27FC236}">
                <a16:creationId xmlns:a16="http://schemas.microsoft.com/office/drawing/2014/main" id="{5A691113-E5A1-B69A-CF6F-227EB5536381}"/>
              </a:ext>
            </a:extLst>
          </p:cNvPr>
          <p:cNvSpPr/>
          <p:nvPr/>
        </p:nvSpPr>
        <p:spPr>
          <a:xfrm>
            <a:off x="5126184" y="725955"/>
            <a:ext cx="2196815" cy="494517"/>
          </a:xfrm>
          <a:prstGeom prst="round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s-ES" dirty="0"/>
              <a:t>Recomendaciones</a:t>
            </a:r>
          </a:p>
        </p:txBody>
      </p:sp>
      <p:cxnSp>
        <p:nvCxnSpPr>
          <p:cNvPr id="8" name="Conector recto 7">
            <a:extLst>
              <a:ext uri="{FF2B5EF4-FFF2-40B4-BE49-F238E27FC236}">
                <a16:creationId xmlns:a16="http://schemas.microsoft.com/office/drawing/2014/main" id="{5A33D971-CA13-C0EB-25B7-EE2107DF1281}"/>
              </a:ext>
            </a:extLst>
          </p:cNvPr>
          <p:cNvCxnSpPr>
            <a:stCxn id="3" idx="2"/>
          </p:cNvCxnSpPr>
          <p:nvPr/>
        </p:nvCxnSpPr>
        <p:spPr>
          <a:xfrm>
            <a:off x="6224592" y="1220472"/>
            <a:ext cx="0" cy="26066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 name="Conector recto 10">
            <a:extLst>
              <a:ext uri="{FF2B5EF4-FFF2-40B4-BE49-F238E27FC236}">
                <a16:creationId xmlns:a16="http://schemas.microsoft.com/office/drawing/2014/main" id="{4FD136FE-BF5F-6EE0-D572-E36ECFD5E216}"/>
              </a:ext>
            </a:extLst>
          </p:cNvPr>
          <p:cNvCxnSpPr>
            <a:cxnSpLocks/>
          </p:cNvCxnSpPr>
          <p:nvPr/>
        </p:nvCxnSpPr>
        <p:spPr>
          <a:xfrm>
            <a:off x="1981200" y="1464947"/>
            <a:ext cx="8404860" cy="9525"/>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3" name="Conector recto 22">
            <a:extLst>
              <a:ext uri="{FF2B5EF4-FFF2-40B4-BE49-F238E27FC236}">
                <a16:creationId xmlns:a16="http://schemas.microsoft.com/office/drawing/2014/main" id="{EEC1F022-ADB5-E585-4406-FF347BC81152}"/>
              </a:ext>
            </a:extLst>
          </p:cNvPr>
          <p:cNvCxnSpPr/>
          <p:nvPr/>
        </p:nvCxnSpPr>
        <p:spPr>
          <a:xfrm>
            <a:off x="1992309" y="1464947"/>
            <a:ext cx="0" cy="26066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 name="Conector recto 24">
            <a:extLst>
              <a:ext uri="{FF2B5EF4-FFF2-40B4-BE49-F238E27FC236}">
                <a16:creationId xmlns:a16="http://schemas.microsoft.com/office/drawing/2014/main" id="{802B64CC-0F96-7FCC-708F-F5E0D8C4FB45}"/>
              </a:ext>
            </a:extLst>
          </p:cNvPr>
          <p:cNvCxnSpPr/>
          <p:nvPr/>
        </p:nvCxnSpPr>
        <p:spPr>
          <a:xfrm>
            <a:off x="10379390" y="1469715"/>
            <a:ext cx="0" cy="26066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7" name="Conector recto 26">
            <a:extLst>
              <a:ext uri="{FF2B5EF4-FFF2-40B4-BE49-F238E27FC236}">
                <a16:creationId xmlns:a16="http://schemas.microsoft.com/office/drawing/2014/main" id="{0D5FAE7C-3F86-0DB0-1D17-6C9FDE57A9B6}"/>
              </a:ext>
            </a:extLst>
          </p:cNvPr>
          <p:cNvCxnSpPr/>
          <p:nvPr/>
        </p:nvCxnSpPr>
        <p:spPr>
          <a:xfrm>
            <a:off x="6224592" y="1474472"/>
            <a:ext cx="0" cy="26066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8" name="Rectángulo: esquinas redondeadas 27">
            <a:extLst>
              <a:ext uri="{FF2B5EF4-FFF2-40B4-BE49-F238E27FC236}">
                <a16:creationId xmlns:a16="http://schemas.microsoft.com/office/drawing/2014/main" id="{E9360720-D879-88E5-68A6-3946DA9A4790}"/>
              </a:ext>
            </a:extLst>
          </p:cNvPr>
          <p:cNvSpPr/>
          <p:nvPr/>
        </p:nvSpPr>
        <p:spPr>
          <a:xfrm>
            <a:off x="910224" y="1714997"/>
            <a:ext cx="2196815" cy="494517"/>
          </a:xfrm>
          <a:prstGeom prst="roundRect">
            <a:avLst/>
          </a:prstGeom>
          <a:solidFill>
            <a:schemeClr val="accent2"/>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s-ES" sz="1200" b="1" dirty="0"/>
              <a:t>Tratamiento farmacológico de la hipertensión</a:t>
            </a:r>
            <a:r>
              <a:rPr lang="es-ES" sz="1200" b="1" baseline="30000" dirty="0"/>
              <a:t>1</a:t>
            </a:r>
          </a:p>
        </p:txBody>
      </p:sp>
      <p:sp>
        <p:nvSpPr>
          <p:cNvPr id="29" name="Rectángulo: esquinas redondeadas 28">
            <a:extLst>
              <a:ext uri="{FF2B5EF4-FFF2-40B4-BE49-F238E27FC236}">
                <a16:creationId xmlns:a16="http://schemas.microsoft.com/office/drawing/2014/main" id="{BB3A1F27-BB17-D9E7-D0BB-4EC5B4487D06}"/>
              </a:ext>
            </a:extLst>
          </p:cNvPr>
          <p:cNvSpPr/>
          <p:nvPr/>
        </p:nvSpPr>
        <p:spPr>
          <a:xfrm>
            <a:off x="5133803" y="1741617"/>
            <a:ext cx="2196815" cy="494517"/>
          </a:xfrm>
          <a:prstGeom prst="roundRect">
            <a:avLst/>
          </a:prstGeom>
          <a:solidFill>
            <a:schemeClr val="accent2"/>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s-ES" sz="1200" b="1" dirty="0"/>
              <a:t>Manejo de la hipertensión en pacientes con ERC</a:t>
            </a:r>
            <a:r>
              <a:rPr lang="es-ES" sz="1200" b="1" baseline="30000" dirty="0"/>
              <a:t>1</a:t>
            </a:r>
            <a:endParaRPr lang="es-ES" sz="1200" b="1" dirty="0"/>
          </a:p>
        </p:txBody>
      </p:sp>
      <p:sp>
        <p:nvSpPr>
          <p:cNvPr id="31" name="Rectángulo: esquinas redondeadas 30">
            <a:extLst>
              <a:ext uri="{FF2B5EF4-FFF2-40B4-BE49-F238E27FC236}">
                <a16:creationId xmlns:a16="http://schemas.microsoft.com/office/drawing/2014/main" id="{6DAD1883-C915-B80F-0BE1-52CFF0E3774E}"/>
              </a:ext>
            </a:extLst>
          </p:cNvPr>
          <p:cNvSpPr/>
          <p:nvPr/>
        </p:nvSpPr>
        <p:spPr>
          <a:xfrm>
            <a:off x="9069045" y="1729954"/>
            <a:ext cx="2615742" cy="593673"/>
          </a:xfrm>
          <a:prstGeom prst="roundRect">
            <a:avLst/>
          </a:prstGeom>
          <a:solidFill>
            <a:schemeClr val="accent2"/>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s-ES" sz="1200" b="1" dirty="0"/>
              <a:t>Manejo de la hipertensión en pacientes con enfermedad cardíaca</a:t>
            </a:r>
            <a:r>
              <a:rPr lang="es-ES" sz="1200" b="1" baseline="30000" dirty="0"/>
              <a:t>1</a:t>
            </a:r>
            <a:endParaRPr lang="es-ES" sz="1200" b="1" dirty="0"/>
          </a:p>
        </p:txBody>
      </p:sp>
      <p:pic>
        <p:nvPicPr>
          <p:cNvPr id="33" name="Imagen 32">
            <a:extLst>
              <a:ext uri="{FF2B5EF4-FFF2-40B4-BE49-F238E27FC236}">
                <a16:creationId xmlns:a16="http://schemas.microsoft.com/office/drawing/2014/main" id="{AE84C24C-6E67-380C-397B-3F2C94FD0870}"/>
              </a:ext>
            </a:extLst>
          </p:cNvPr>
          <p:cNvPicPr>
            <a:picLocks noChangeAspect="1"/>
          </p:cNvPicPr>
          <p:nvPr/>
        </p:nvPicPr>
        <p:blipFill>
          <a:blip r:embed="rId4"/>
          <a:stretch>
            <a:fillRect/>
          </a:stretch>
        </p:blipFill>
        <p:spPr>
          <a:xfrm>
            <a:off x="912253" y="2380127"/>
            <a:ext cx="3460031" cy="1471376"/>
          </a:xfrm>
          <a:prstGeom prst="rect">
            <a:avLst/>
          </a:prstGeom>
        </p:spPr>
      </p:pic>
      <p:pic>
        <p:nvPicPr>
          <p:cNvPr id="34" name="Imagen 33">
            <a:extLst>
              <a:ext uri="{FF2B5EF4-FFF2-40B4-BE49-F238E27FC236}">
                <a16:creationId xmlns:a16="http://schemas.microsoft.com/office/drawing/2014/main" id="{57886A36-4623-5F4D-9BD6-2AC8C6A80F87}"/>
              </a:ext>
            </a:extLst>
          </p:cNvPr>
          <p:cNvPicPr>
            <a:picLocks noChangeAspect="1"/>
          </p:cNvPicPr>
          <p:nvPr/>
        </p:nvPicPr>
        <p:blipFill>
          <a:blip r:embed="rId5"/>
          <a:stretch>
            <a:fillRect/>
          </a:stretch>
        </p:blipFill>
        <p:spPr>
          <a:xfrm>
            <a:off x="975715" y="3912145"/>
            <a:ext cx="3393086" cy="1950614"/>
          </a:xfrm>
          <a:prstGeom prst="rect">
            <a:avLst/>
          </a:prstGeom>
        </p:spPr>
      </p:pic>
      <p:pic>
        <p:nvPicPr>
          <p:cNvPr id="35" name="Imagen 34">
            <a:extLst>
              <a:ext uri="{FF2B5EF4-FFF2-40B4-BE49-F238E27FC236}">
                <a16:creationId xmlns:a16="http://schemas.microsoft.com/office/drawing/2014/main" id="{4BC4F99D-88D9-EB18-B6AC-D61BFFA072AE}"/>
              </a:ext>
            </a:extLst>
          </p:cNvPr>
          <p:cNvPicPr>
            <a:picLocks noChangeAspect="1"/>
          </p:cNvPicPr>
          <p:nvPr/>
        </p:nvPicPr>
        <p:blipFill>
          <a:blip r:embed="rId6"/>
          <a:stretch>
            <a:fillRect/>
          </a:stretch>
        </p:blipFill>
        <p:spPr>
          <a:xfrm>
            <a:off x="975715" y="5917165"/>
            <a:ext cx="3393087" cy="328639"/>
          </a:xfrm>
          <a:prstGeom prst="rect">
            <a:avLst/>
          </a:prstGeom>
        </p:spPr>
      </p:pic>
      <p:pic>
        <p:nvPicPr>
          <p:cNvPr id="36" name="Imagen 35">
            <a:extLst>
              <a:ext uri="{FF2B5EF4-FFF2-40B4-BE49-F238E27FC236}">
                <a16:creationId xmlns:a16="http://schemas.microsoft.com/office/drawing/2014/main" id="{9760A1E1-4035-AE3C-5650-7BE0E14A1A70}"/>
              </a:ext>
            </a:extLst>
          </p:cNvPr>
          <p:cNvPicPr>
            <a:picLocks noChangeAspect="1"/>
          </p:cNvPicPr>
          <p:nvPr/>
        </p:nvPicPr>
        <p:blipFill>
          <a:blip r:embed="rId7"/>
          <a:stretch>
            <a:fillRect/>
          </a:stretch>
        </p:blipFill>
        <p:spPr>
          <a:xfrm>
            <a:off x="4807835" y="3516635"/>
            <a:ext cx="3382455" cy="831568"/>
          </a:xfrm>
          <a:prstGeom prst="rect">
            <a:avLst/>
          </a:prstGeom>
        </p:spPr>
      </p:pic>
      <p:pic>
        <p:nvPicPr>
          <p:cNvPr id="38" name="Imagen 37">
            <a:extLst>
              <a:ext uri="{FF2B5EF4-FFF2-40B4-BE49-F238E27FC236}">
                <a16:creationId xmlns:a16="http://schemas.microsoft.com/office/drawing/2014/main" id="{969A955E-7621-DB12-2B45-42515B8958F7}"/>
              </a:ext>
            </a:extLst>
          </p:cNvPr>
          <p:cNvPicPr>
            <a:picLocks noChangeAspect="1"/>
          </p:cNvPicPr>
          <p:nvPr/>
        </p:nvPicPr>
        <p:blipFill>
          <a:blip r:embed="rId8"/>
          <a:stretch>
            <a:fillRect/>
          </a:stretch>
        </p:blipFill>
        <p:spPr>
          <a:xfrm>
            <a:off x="4768188" y="2336562"/>
            <a:ext cx="3513124" cy="320068"/>
          </a:xfrm>
          <a:prstGeom prst="rect">
            <a:avLst/>
          </a:prstGeom>
        </p:spPr>
      </p:pic>
      <p:pic>
        <p:nvPicPr>
          <p:cNvPr id="39" name="Imagen 38">
            <a:extLst>
              <a:ext uri="{FF2B5EF4-FFF2-40B4-BE49-F238E27FC236}">
                <a16:creationId xmlns:a16="http://schemas.microsoft.com/office/drawing/2014/main" id="{EA425C28-3656-050E-38F9-3B7AA2607F2A}"/>
              </a:ext>
            </a:extLst>
          </p:cNvPr>
          <p:cNvPicPr>
            <a:picLocks noChangeAspect="1"/>
          </p:cNvPicPr>
          <p:nvPr/>
        </p:nvPicPr>
        <p:blipFill>
          <a:blip r:embed="rId8"/>
          <a:stretch>
            <a:fillRect/>
          </a:stretch>
        </p:blipFill>
        <p:spPr>
          <a:xfrm>
            <a:off x="8629325" y="2355910"/>
            <a:ext cx="3513124" cy="320068"/>
          </a:xfrm>
          <a:prstGeom prst="rect">
            <a:avLst/>
          </a:prstGeom>
        </p:spPr>
      </p:pic>
      <p:pic>
        <p:nvPicPr>
          <p:cNvPr id="40" name="Imagen 39">
            <a:extLst>
              <a:ext uri="{FF2B5EF4-FFF2-40B4-BE49-F238E27FC236}">
                <a16:creationId xmlns:a16="http://schemas.microsoft.com/office/drawing/2014/main" id="{D78E75EC-231E-09DC-C203-99361F9EE897}"/>
              </a:ext>
            </a:extLst>
          </p:cNvPr>
          <p:cNvPicPr>
            <a:picLocks noChangeAspect="1"/>
          </p:cNvPicPr>
          <p:nvPr/>
        </p:nvPicPr>
        <p:blipFill>
          <a:blip r:embed="rId9"/>
          <a:stretch>
            <a:fillRect/>
          </a:stretch>
        </p:blipFill>
        <p:spPr>
          <a:xfrm>
            <a:off x="8629325" y="2780555"/>
            <a:ext cx="3500129" cy="1024790"/>
          </a:xfrm>
          <a:prstGeom prst="rect">
            <a:avLst/>
          </a:prstGeom>
        </p:spPr>
      </p:pic>
      <p:pic>
        <p:nvPicPr>
          <p:cNvPr id="41" name="Imagen 40">
            <a:extLst>
              <a:ext uri="{FF2B5EF4-FFF2-40B4-BE49-F238E27FC236}">
                <a16:creationId xmlns:a16="http://schemas.microsoft.com/office/drawing/2014/main" id="{624679C1-9145-6557-3A5F-09C61C409A0F}"/>
              </a:ext>
            </a:extLst>
          </p:cNvPr>
          <p:cNvPicPr>
            <a:picLocks noChangeAspect="1"/>
          </p:cNvPicPr>
          <p:nvPr/>
        </p:nvPicPr>
        <p:blipFill>
          <a:blip r:embed="rId10"/>
          <a:stretch>
            <a:fillRect/>
          </a:stretch>
        </p:blipFill>
        <p:spPr>
          <a:xfrm>
            <a:off x="8629325" y="3909922"/>
            <a:ext cx="3493885" cy="672970"/>
          </a:xfrm>
          <a:prstGeom prst="rect">
            <a:avLst/>
          </a:prstGeom>
        </p:spPr>
      </p:pic>
      <p:sp>
        <p:nvSpPr>
          <p:cNvPr id="7" name="CuadroTexto 6">
            <a:extLst>
              <a:ext uri="{FF2B5EF4-FFF2-40B4-BE49-F238E27FC236}">
                <a16:creationId xmlns:a16="http://schemas.microsoft.com/office/drawing/2014/main" id="{1573BEE2-668B-27A4-A64E-617C7E6706B4}"/>
              </a:ext>
            </a:extLst>
          </p:cNvPr>
          <p:cNvSpPr txBox="1"/>
          <p:nvPr/>
        </p:nvSpPr>
        <p:spPr>
          <a:xfrm>
            <a:off x="4768188" y="5253890"/>
            <a:ext cx="7052337" cy="415498"/>
          </a:xfrm>
          <a:prstGeom prst="rect">
            <a:avLst/>
          </a:prstGeom>
          <a:noFill/>
        </p:spPr>
        <p:txBody>
          <a:bodyPr wrap="square">
            <a:spAutoFit/>
          </a:bodyPr>
          <a:lstStyle/>
          <a:p>
            <a:pPr algn="just"/>
            <a:r>
              <a:rPr lang="es-ES" sz="700" dirty="0">
                <a:solidFill>
                  <a:schemeClr val="accent1"/>
                </a:solidFill>
              </a:rPr>
              <a:t>ACE </a:t>
            </a:r>
            <a:r>
              <a:rPr lang="es-ES" sz="700" dirty="0" err="1">
                <a:solidFill>
                  <a:schemeClr val="accent1"/>
                </a:solidFill>
              </a:rPr>
              <a:t>inhibitors</a:t>
            </a:r>
            <a:r>
              <a:rPr lang="es-ES" sz="700" dirty="0">
                <a:solidFill>
                  <a:schemeClr val="accent1"/>
                </a:solidFill>
              </a:rPr>
              <a:t>: </a:t>
            </a:r>
            <a:r>
              <a:rPr lang="es-ES" sz="700" dirty="0" err="1">
                <a:solidFill>
                  <a:schemeClr val="accent1"/>
                </a:solidFill>
              </a:rPr>
              <a:t>angiotensin-converting</a:t>
            </a:r>
            <a:r>
              <a:rPr lang="es-ES" sz="700" dirty="0">
                <a:solidFill>
                  <a:schemeClr val="accent1"/>
                </a:solidFill>
              </a:rPr>
              <a:t> </a:t>
            </a:r>
            <a:r>
              <a:rPr lang="es-ES" sz="700" dirty="0" err="1">
                <a:solidFill>
                  <a:schemeClr val="accent1"/>
                </a:solidFill>
              </a:rPr>
              <a:t>enzyme</a:t>
            </a:r>
            <a:r>
              <a:rPr lang="es-ES" sz="700" dirty="0">
                <a:solidFill>
                  <a:schemeClr val="accent1"/>
                </a:solidFill>
              </a:rPr>
              <a:t> </a:t>
            </a:r>
            <a:r>
              <a:rPr lang="es-ES" sz="700" dirty="0" err="1">
                <a:solidFill>
                  <a:schemeClr val="accent1"/>
                </a:solidFill>
              </a:rPr>
              <a:t>inhibitors</a:t>
            </a:r>
            <a:r>
              <a:rPr lang="es-ES" sz="700" dirty="0">
                <a:solidFill>
                  <a:schemeClr val="accent1"/>
                </a:solidFill>
              </a:rPr>
              <a:t>; ARB: </a:t>
            </a:r>
            <a:r>
              <a:rPr lang="es-ES" sz="700" dirty="0" err="1">
                <a:solidFill>
                  <a:schemeClr val="accent1"/>
                </a:solidFill>
              </a:rPr>
              <a:t>angiotensin</a:t>
            </a:r>
            <a:r>
              <a:rPr lang="es-ES" sz="700" dirty="0">
                <a:solidFill>
                  <a:schemeClr val="accent1"/>
                </a:solidFill>
              </a:rPr>
              <a:t> receptor </a:t>
            </a:r>
            <a:r>
              <a:rPr lang="es-ES" sz="700" dirty="0" err="1">
                <a:solidFill>
                  <a:schemeClr val="accent1"/>
                </a:solidFill>
              </a:rPr>
              <a:t>blocker</a:t>
            </a:r>
            <a:r>
              <a:rPr lang="es-ES" sz="700" dirty="0">
                <a:solidFill>
                  <a:schemeClr val="accent1"/>
                </a:solidFill>
              </a:rPr>
              <a:t>; </a:t>
            </a:r>
            <a:r>
              <a:rPr lang="es-ES" sz="700" dirty="0" err="1">
                <a:solidFill>
                  <a:schemeClr val="accent1"/>
                </a:solidFill>
              </a:rPr>
              <a:t>ARNi</a:t>
            </a:r>
            <a:r>
              <a:rPr lang="es-ES" sz="700" dirty="0">
                <a:solidFill>
                  <a:schemeClr val="accent1"/>
                </a:solidFill>
              </a:rPr>
              <a:t>: </a:t>
            </a:r>
            <a:r>
              <a:rPr lang="es-ES" sz="700" dirty="0" err="1">
                <a:solidFill>
                  <a:schemeClr val="accent1"/>
                </a:solidFill>
              </a:rPr>
              <a:t>angiotensin</a:t>
            </a:r>
            <a:r>
              <a:rPr lang="es-ES" sz="700" dirty="0">
                <a:solidFill>
                  <a:schemeClr val="accent1"/>
                </a:solidFill>
              </a:rPr>
              <a:t> receptor-</a:t>
            </a:r>
            <a:r>
              <a:rPr lang="es-ES" sz="700" dirty="0" err="1">
                <a:solidFill>
                  <a:schemeClr val="accent1"/>
                </a:solidFill>
              </a:rPr>
              <a:t>neprilysin</a:t>
            </a:r>
            <a:r>
              <a:rPr lang="es-ES" sz="700" dirty="0">
                <a:solidFill>
                  <a:schemeClr val="accent1"/>
                </a:solidFill>
              </a:rPr>
              <a:t> </a:t>
            </a:r>
            <a:r>
              <a:rPr lang="es-ES" sz="700" dirty="0" err="1">
                <a:solidFill>
                  <a:schemeClr val="accent1"/>
                </a:solidFill>
              </a:rPr>
              <a:t>inhibitor</a:t>
            </a:r>
            <a:r>
              <a:rPr lang="es-ES" sz="700" dirty="0">
                <a:solidFill>
                  <a:schemeClr val="accent1"/>
                </a:solidFill>
              </a:rPr>
              <a:t>; BP: </a:t>
            </a:r>
            <a:r>
              <a:rPr lang="es-ES" sz="700" dirty="0" err="1">
                <a:solidFill>
                  <a:schemeClr val="accent1"/>
                </a:solidFill>
              </a:rPr>
              <a:t>blood</a:t>
            </a:r>
            <a:r>
              <a:rPr lang="es-ES" sz="700" dirty="0">
                <a:solidFill>
                  <a:schemeClr val="accent1"/>
                </a:solidFill>
              </a:rPr>
              <a:t> </a:t>
            </a:r>
            <a:r>
              <a:rPr lang="es-ES" sz="700" dirty="0" err="1">
                <a:solidFill>
                  <a:schemeClr val="accent1"/>
                </a:solidFill>
              </a:rPr>
              <a:t>pressure</a:t>
            </a:r>
            <a:r>
              <a:rPr lang="es-ES" sz="700" dirty="0">
                <a:solidFill>
                  <a:schemeClr val="accent1"/>
                </a:solidFill>
              </a:rPr>
              <a:t>; CCB: </a:t>
            </a:r>
            <a:r>
              <a:rPr lang="es-ES" sz="700" dirty="0" err="1">
                <a:solidFill>
                  <a:schemeClr val="accent1"/>
                </a:solidFill>
              </a:rPr>
              <a:t>calcium</a:t>
            </a:r>
            <a:r>
              <a:rPr lang="es-ES" sz="700" dirty="0">
                <a:solidFill>
                  <a:schemeClr val="accent1"/>
                </a:solidFill>
              </a:rPr>
              <a:t> </a:t>
            </a:r>
            <a:r>
              <a:rPr lang="es-ES" sz="700" dirty="0" err="1">
                <a:solidFill>
                  <a:schemeClr val="accent1"/>
                </a:solidFill>
              </a:rPr>
              <a:t>channel</a:t>
            </a:r>
            <a:r>
              <a:rPr lang="es-ES" sz="700" dirty="0">
                <a:solidFill>
                  <a:schemeClr val="accent1"/>
                </a:solidFill>
              </a:rPr>
              <a:t> </a:t>
            </a:r>
            <a:r>
              <a:rPr lang="es-ES" sz="700" dirty="0" err="1">
                <a:solidFill>
                  <a:schemeClr val="accent1"/>
                </a:solidFill>
              </a:rPr>
              <a:t>blocker</a:t>
            </a:r>
            <a:r>
              <a:rPr lang="es-ES" sz="700" dirty="0">
                <a:solidFill>
                  <a:schemeClr val="accent1"/>
                </a:solidFill>
              </a:rPr>
              <a:t>; CKD: </a:t>
            </a:r>
            <a:r>
              <a:rPr lang="es-ES" sz="700" dirty="0" err="1">
                <a:solidFill>
                  <a:schemeClr val="accent1"/>
                </a:solidFill>
              </a:rPr>
              <a:t>chronic</a:t>
            </a:r>
            <a:r>
              <a:rPr lang="es-ES" sz="700" dirty="0">
                <a:solidFill>
                  <a:schemeClr val="accent1"/>
                </a:solidFill>
              </a:rPr>
              <a:t> </a:t>
            </a:r>
            <a:r>
              <a:rPr lang="es-ES" sz="700" dirty="0" err="1">
                <a:solidFill>
                  <a:schemeClr val="accent1"/>
                </a:solidFill>
              </a:rPr>
              <a:t>kidney</a:t>
            </a:r>
            <a:r>
              <a:rPr lang="es-ES" sz="700" dirty="0">
                <a:solidFill>
                  <a:schemeClr val="accent1"/>
                </a:solidFill>
              </a:rPr>
              <a:t> </a:t>
            </a:r>
            <a:r>
              <a:rPr lang="es-ES" sz="700" dirty="0" err="1">
                <a:solidFill>
                  <a:schemeClr val="accent1"/>
                </a:solidFill>
              </a:rPr>
              <a:t>disease</a:t>
            </a:r>
            <a:r>
              <a:rPr lang="es-ES" sz="700" dirty="0">
                <a:solidFill>
                  <a:schemeClr val="accent1"/>
                </a:solidFill>
              </a:rPr>
              <a:t>, CVD: cardiovascular; RAS: </a:t>
            </a:r>
            <a:r>
              <a:rPr lang="es-ES" sz="700" dirty="0" err="1">
                <a:solidFill>
                  <a:schemeClr val="accent1"/>
                </a:solidFill>
              </a:rPr>
              <a:t>renin</a:t>
            </a:r>
            <a:r>
              <a:rPr lang="es-ES" sz="700" dirty="0">
                <a:solidFill>
                  <a:schemeClr val="accent1"/>
                </a:solidFill>
              </a:rPr>
              <a:t>–</a:t>
            </a:r>
            <a:r>
              <a:rPr lang="es-ES" sz="700" dirty="0" err="1">
                <a:solidFill>
                  <a:schemeClr val="accent1"/>
                </a:solidFill>
              </a:rPr>
              <a:t>angiotensin</a:t>
            </a:r>
            <a:r>
              <a:rPr lang="es-ES" sz="700" dirty="0">
                <a:solidFill>
                  <a:schemeClr val="accent1"/>
                </a:solidFill>
              </a:rPr>
              <a:t> </a:t>
            </a:r>
            <a:r>
              <a:rPr lang="es-ES" sz="700" dirty="0" err="1">
                <a:solidFill>
                  <a:schemeClr val="accent1"/>
                </a:solidFill>
              </a:rPr>
              <a:t>system</a:t>
            </a:r>
            <a:r>
              <a:rPr lang="es-ES" sz="700" dirty="0">
                <a:solidFill>
                  <a:schemeClr val="accent1"/>
                </a:solidFill>
              </a:rPr>
              <a:t>; </a:t>
            </a:r>
            <a:r>
              <a:rPr lang="es-ES" sz="700" dirty="0" err="1">
                <a:solidFill>
                  <a:schemeClr val="accent1"/>
                </a:solidFill>
              </a:rPr>
              <a:t>HFpEF</a:t>
            </a:r>
            <a:r>
              <a:rPr lang="es-ES" sz="700" dirty="0">
                <a:solidFill>
                  <a:schemeClr val="accent1"/>
                </a:solidFill>
              </a:rPr>
              <a:t>: </a:t>
            </a:r>
            <a:r>
              <a:rPr lang="en-US" sz="700" dirty="0">
                <a:solidFill>
                  <a:schemeClr val="accent1"/>
                </a:solidFill>
              </a:rPr>
              <a:t>heart failure with preserved ejection fraction</a:t>
            </a:r>
            <a:r>
              <a:rPr lang="es-ES" sz="700" dirty="0">
                <a:solidFill>
                  <a:schemeClr val="accent1"/>
                </a:solidFill>
              </a:rPr>
              <a:t>; </a:t>
            </a:r>
            <a:r>
              <a:rPr lang="es-ES" sz="700" dirty="0" err="1">
                <a:solidFill>
                  <a:schemeClr val="accent1"/>
                </a:solidFill>
              </a:rPr>
              <a:t>HFrEF</a:t>
            </a:r>
            <a:r>
              <a:rPr lang="es-ES" sz="700" dirty="0">
                <a:solidFill>
                  <a:schemeClr val="accent1"/>
                </a:solidFill>
              </a:rPr>
              <a:t>: </a:t>
            </a:r>
            <a:r>
              <a:rPr lang="en-US" sz="700" dirty="0">
                <a:solidFill>
                  <a:schemeClr val="accent1"/>
                </a:solidFill>
              </a:rPr>
              <a:t>heart failure with reduced ejection; </a:t>
            </a:r>
            <a:r>
              <a:rPr lang="es-ES" sz="700" dirty="0" err="1">
                <a:solidFill>
                  <a:schemeClr val="accent1"/>
                </a:solidFill>
              </a:rPr>
              <a:t>HFmrEF</a:t>
            </a:r>
            <a:r>
              <a:rPr lang="es-ES" sz="700" dirty="0">
                <a:solidFill>
                  <a:schemeClr val="accent1"/>
                </a:solidFill>
              </a:rPr>
              <a:t>: h</a:t>
            </a:r>
            <a:r>
              <a:rPr lang="en-US" sz="700" dirty="0" err="1">
                <a:solidFill>
                  <a:schemeClr val="accent1"/>
                </a:solidFill>
              </a:rPr>
              <a:t>eart</a:t>
            </a:r>
            <a:r>
              <a:rPr lang="en-US" sz="700" dirty="0">
                <a:solidFill>
                  <a:schemeClr val="accent1"/>
                </a:solidFill>
              </a:rPr>
              <a:t> failure with mildly reduced ejection</a:t>
            </a:r>
            <a:r>
              <a:rPr lang="es-ES" sz="700" dirty="0">
                <a:solidFill>
                  <a:schemeClr val="accent1"/>
                </a:solidFill>
              </a:rPr>
              <a:t>; </a:t>
            </a:r>
            <a:r>
              <a:rPr lang="es-ES" sz="700" dirty="0" err="1">
                <a:solidFill>
                  <a:schemeClr val="accent1"/>
                </a:solidFill>
              </a:rPr>
              <a:t>MRAs</a:t>
            </a:r>
            <a:r>
              <a:rPr lang="es-ES" sz="700" dirty="0">
                <a:solidFill>
                  <a:schemeClr val="accent1"/>
                </a:solidFill>
              </a:rPr>
              <a:t>: </a:t>
            </a:r>
            <a:r>
              <a:rPr lang="es-ES" sz="700" dirty="0" err="1">
                <a:solidFill>
                  <a:schemeClr val="accent1"/>
                </a:solidFill>
              </a:rPr>
              <a:t>mineralocorticoid</a:t>
            </a:r>
            <a:r>
              <a:rPr lang="es-ES" sz="700" dirty="0">
                <a:solidFill>
                  <a:schemeClr val="accent1"/>
                </a:solidFill>
              </a:rPr>
              <a:t> receptor </a:t>
            </a:r>
            <a:r>
              <a:rPr lang="es-ES" sz="700" dirty="0" err="1">
                <a:solidFill>
                  <a:schemeClr val="accent1"/>
                </a:solidFill>
              </a:rPr>
              <a:t>antagonist</a:t>
            </a:r>
            <a:r>
              <a:rPr lang="es-ES" sz="700" dirty="0">
                <a:solidFill>
                  <a:schemeClr val="accent1"/>
                </a:solidFill>
              </a:rPr>
              <a:t>; SGLT2: </a:t>
            </a:r>
            <a:r>
              <a:rPr lang="es-ES" sz="700" dirty="0" err="1">
                <a:solidFill>
                  <a:schemeClr val="accent1"/>
                </a:solidFill>
              </a:rPr>
              <a:t>sodium</a:t>
            </a:r>
            <a:r>
              <a:rPr lang="es-ES" sz="700" dirty="0">
                <a:solidFill>
                  <a:schemeClr val="accent1"/>
                </a:solidFill>
              </a:rPr>
              <a:t>–</a:t>
            </a:r>
            <a:r>
              <a:rPr lang="es-ES" sz="700" dirty="0" err="1">
                <a:solidFill>
                  <a:schemeClr val="accent1"/>
                </a:solidFill>
              </a:rPr>
              <a:t>glucose</a:t>
            </a:r>
            <a:r>
              <a:rPr lang="es-ES" sz="700" dirty="0">
                <a:solidFill>
                  <a:schemeClr val="accent1"/>
                </a:solidFill>
              </a:rPr>
              <a:t> </a:t>
            </a:r>
            <a:r>
              <a:rPr lang="es-ES" sz="700" dirty="0" err="1">
                <a:solidFill>
                  <a:schemeClr val="accent1"/>
                </a:solidFill>
              </a:rPr>
              <a:t>co-transporter</a:t>
            </a:r>
            <a:r>
              <a:rPr lang="es-ES" sz="700" dirty="0">
                <a:solidFill>
                  <a:schemeClr val="accent1"/>
                </a:solidFill>
              </a:rPr>
              <a:t> 2.   </a:t>
            </a:r>
          </a:p>
        </p:txBody>
      </p:sp>
      <p:sp>
        <p:nvSpPr>
          <p:cNvPr id="5" name="CuadroTexto 4">
            <a:extLst>
              <a:ext uri="{FF2B5EF4-FFF2-40B4-BE49-F238E27FC236}">
                <a16:creationId xmlns:a16="http://schemas.microsoft.com/office/drawing/2014/main" id="{7DA0AED5-D8B9-6D71-6AD3-B7ABE6A04B11}"/>
              </a:ext>
            </a:extLst>
          </p:cNvPr>
          <p:cNvSpPr txBox="1"/>
          <p:nvPr/>
        </p:nvSpPr>
        <p:spPr>
          <a:xfrm>
            <a:off x="5716105" y="6084506"/>
            <a:ext cx="5068997" cy="243726"/>
          </a:xfrm>
          <a:prstGeom prst="rect">
            <a:avLst/>
          </a:prstGeom>
        </p:spPr>
        <p:txBody>
          <a:bodyPr/>
          <a:lstStyle>
            <a:defPPr>
              <a:defRPr lang="es-ES"/>
            </a:defPPr>
            <a:lvl1pPr indent="0" algn="ctr" defTabSz="914377">
              <a:lnSpc>
                <a:spcPct val="90000"/>
              </a:lnSpc>
              <a:spcBef>
                <a:spcPts val="1000"/>
              </a:spcBef>
              <a:buFont typeface="Arial" panose="020B0604020202020204" pitchFamily="34" charset="0"/>
              <a:buNone/>
              <a:defRPr sz="1200">
                <a:solidFill>
                  <a:schemeClr val="accent1"/>
                </a:solidFill>
              </a:defRPr>
            </a:lvl1pPr>
            <a:lvl2pPr marL="685783" indent="-228594" defTabSz="914377">
              <a:lnSpc>
                <a:spcPct val="90000"/>
              </a:lnSpc>
              <a:spcBef>
                <a:spcPts val="500"/>
              </a:spcBef>
              <a:buFont typeface="Arial" panose="020B0604020202020204" pitchFamily="34" charset="0"/>
              <a:buChar char="•"/>
              <a:defRPr sz="2400"/>
            </a:lvl2pPr>
            <a:lvl3pPr marL="1142971" indent="-228594" defTabSz="914377">
              <a:lnSpc>
                <a:spcPct val="90000"/>
              </a:lnSpc>
              <a:spcBef>
                <a:spcPts val="500"/>
              </a:spcBef>
              <a:buFont typeface="Arial" panose="020B0604020202020204" pitchFamily="34" charset="0"/>
              <a:buChar char="•"/>
              <a:defRPr sz="2000"/>
            </a:lvl3pPr>
            <a:lvl4pPr marL="1600160" indent="-228594" defTabSz="914377">
              <a:lnSpc>
                <a:spcPct val="90000"/>
              </a:lnSpc>
              <a:spcBef>
                <a:spcPts val="500"/>
              </a:spcBef>
              <a:buFont typeface="Arial" panose="020B0604020202020204" pitchFamily="34" charset="0"/>
              <a:buChar char="•"/>
            </a:lvl4pPr>
            <a:lvl5pPr marL="2057349" indent="-228594" defTabSz="914377">
              <a:lnSpc>
                <a:spcPct val="90000"/>
              </a:lnSpc>
              <a:spcBef>
                <a:spcPts val="500"/>
              </a:spcBef>
              <a:buFont typeface="Arial" panose="020B0604020202020204" pitchFamily="34" charset="0"/>
              <a:buChar cha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r>
              <a:rPr lang="es-ES" sz="1000" dirty="0"/>
              <a:t>Guía ESC 2024 Presión arterial elevada e Hipertensión arterial</a:t>
            </a:r>
          </a:p>
        </p:txBody>
      </p:sp>
      <p:pic>
        <p:nvPicPr>
          <p:cNvPr id="15" name="Imagen 14">
            <a:extLst>
              <a:ext uri="{FF2B5EF4-FFF2-40B4-BE49-F238E27FC236}">
                <a16:creationId xmlns:a16="http://schemas.microsoft.com/office/drawing/2014/main" id="{FC20F57E-D83B-16CA-97F9-6F181B5EC449}"/>
              </a:ext>
            </a:extLst>
          </p:cNvPr>
          <p:cNvPicPr>
            <a:picLocks noChangeAspect="1"/>
          </p:cNvPicPr>
          <p:nvPr/>
        </p:nvPicPr>
        <p:blipFill>
          <a:blip r:embed="rId11"/>
          <a:stretch>
            <a:fillRect/>
          </a:stretch>
        </p:blipFill>
        <p:spPr>
          <a:xfrm>
            <a:off x="4787967" y="2688001"/>
            <a:ext cx="3393086" cy="812868"/>
          </a:xfrm>
          <a:prstGeom prst="rect">
            <a:avLst/>
          </a:prstGeom>
        </p:spPr>
      </p:pic>
      <p:sp>
        <p:nvSpPr>
          <p:cNvPr id="10" name="CuadroTexto 9">
            <a:extLst>
              <a:ext uri="{FF2B5EF4-FFF2-40B4-BE49-F238E27FC236}">
                <a16:creationId xmlns:a16="http://schemas.microsoft.com/office/drawing/2014/main" id="{73FAE133-AB68-2F2C-A819-A0E029C39B63}"/>
              </a:ext>
            </a:extLst>
          </p:cNvPr>
          <p:cNvSpPr txBox="1"/>
          <p:nvPr/>
        </p:nvSpPr>
        <p:spPr>
          <a:xfrm>
            <a:off x="4208100" y="6262321"/>
            <a:ext cx="8172512" cy="200055"/>
          </a:xfrm>
          <a:prstGeom prst="rect">
            <a:avLst/>
          </a:prstGeom>
          <a:noFill/>
        </p:spPr>
        <p:txBody>
          <a:bodyPr wrap="square" rtlCol="0">
            <a:spAutoFit/>
          </a:bodyPr>
          <a:lstStyle>
            <a:defPPr>
              <a:defRPr lang="es-ES"/>
            </a:defPPr>
            <a:lvl1pPr>
              <a:defRPr sz="700" b="0" i="1">
                <a:solidFill>
                  <a:schemeClr val="accent1"/>
                </a:solidFill>
                <a:effectLst/>
              </a:defRPr>
            </a:lvl1pPr>
          </a:lstStyle>
          <a:p>
            <a:pPr algn="ctr"/>
            <a:r>
              <a:rPr lang="en-US" dirty="0"/>
              <a:t>1. McEvoy JW, et al. 2024 ESC Guidelines for the management of elevated blood pressure and hypertension. </a:t>
            </a:r>
            <a:r>
              <a:rPr lang="en-US" dirty="0" err="1"/>
              <a:t>Eur</a:t>
            </a:r>
            <a:r>
              <a:rPr lang="en-US" dirty="0"/>
              <a:t> Heart J. 2024 Oct 7;45(38):3912-4018. </a:t>
            </a:r>
            <a:r>
              <a:rPr lang="en-US" dirty="0" err="1"/>
              <a:t>doi</a:t>
            </a:r>
            <a:r>
              <a:rPr lang="en-US" dirty="0"/>
              <a:t>: 10.1093/</a:t>
            </a:r>
            <a:r>
              <a:rPr lang="en-US" dirty="0" err="1"/>
              <a:t>eurheartj</a:t>
            </a:r>
            <a:r>
              <a:rPr lang="en-US" dirty="0"/>
              <a:t>/ehae178.</a:t>
            </a:r>
          </a:p>
        </p:txBody>
      </p:sp>
      <p:sp>
        <p:nvSpPr>
          <p:cNvPr id="16" name="CuadroTexto 15">
            <a:extLst>
              <a:ext uri="{FF2B5EF4-FFF2-40B4-BE49-F238E27FC236}">
                <a16:creationId xmlns:a16="http://schemas.microsoft.com/office/drawing/2014/main" id="{E903CC21-AD62-3665-B102-A7C3376202AB}"/>
              </a:ext>
            </a:extLst>
          </p:cNvPr>
          <p:cNvSpPr txBox="1"/>
          <p:nvPr/>
        </p:nvSpPr>
        <p:spPr>
          <a:xfrm>
            <a:off x="2349795" y="6252384"/>
            <a:ext cx="2097128"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pPr algn="r"/>
            <a:r>
              <a:rPr lang="en-US" dirty="0" err="1"/>
              <a:t>Eur</a:t>
            </a:r>
            <a:r>
              <a:rPr lang="en-US" dirty="0"/>
              <a:t> Heart J. 2024 Oct 7;45(38):3912-4018</a:t>
            </a:r>
            <a:endParaRPr lang="es-ES" dirty="0"/>
          </a:p>
        </p:txBody>
      </p:sp>
      <p:sp>
        <p:nvSpPr>
          <p:cNvPr id="17" name="CuadroTexto 16">
            <a:extLst>
              <a:ext uri="{FF2B5EF4-FFF2-40B4-BE49-F238E27FC236}">
                <a16:creationId xmlns:a16="http://schemas.microsoft.com/office/drawing/2014/main" id="{39EB3F9C-26D5-FC89-7553-851910A44B56}"/>
              </a:ext>
            </a:extLst>
          </p:cNvPr>
          <p:cNvSpPr txBox="1"/>
          <p:nvPr/>
        </p:nvSpPr>
        <p:spPr>
          <a:xfrm>
            <a:off x="6153476" y="4360874"/>
            <a:ext cx="2097128"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pPr algn="r"/>
            <a:r>
              <a:rPr lang="en-US" dirty="0" err="1"/>
              <a:t>Eur</a:t>
            </a:r>
            <a:r>
              <a:rPr lang="en-US" dirty="0"/>
              <a:t> Heart J. 2024 Oct 7;45(38):3912-4018</a:t>
            </a:r>
            <a:endParaRPr lang="es-ES" dirty="0"/>
          </a:p>
        </p:txBody>
      </p:sp>
      <p:sp>
        <p:nvSpPr>
          <p:cNvPr id="18" name="CuadroTexto 17">
            <a:extLst>
              <a:ext uri="{FF2B5EF4-FFF2-40B4-BE49-F238E27FC236}">
                <a16:creationId xmlns:a16="http://schemas.microsoft.com/office/drawing/2014/main" id="{D7E8F6B6-0056-98D0-99CC-4090B68C3801}"/>
              </a:ext>
            </a:extLst>
          </p:cNvPr>
          <p:cNvSpPr txBox="1"/>
          <p:nvPr/>
        </p:nvSpPr>
        <p:spPr>
          <a:xfrm>
            <a:off x="10045321" y="4626291"/>
            <a:ext cx="2097128"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pPr algn="r"/>
            <a:r>
              <a:rPr lang="en-US" dirty="0" err="1"/>
              <a:t>Eur</a:t>
            </a:r>
            <a:r>
              <a:rPr lang="en-US" dirty="0"/>
              <a:t> Heart J. 2024 Oct 7;45(38):3912-4018</a:t>
            </a:r>
            <a:endParaRPr lang="es-ES" dirty="0"/>
          </a:p>
        </p:txBody>
      </p:sp>
      <p:sp>
        <p:nvSpPr>
          <p:cNvPr id="13" name="CuadroTexto 12">
            <a:extLst>
              <a:ext uri="{FF2B5EF4-FFF2-40B4-BE49-F238E27FC236}">
                <a16:creationId xmlns:a16="http://schemas.microsoft.com/office/drawing/2014/main" id="{DA050928-0EF5-19B8-BAA6-6AD02A5A98B6}"/>
              </a:ext>
            </a:extLst>
          </p:cNvPr>
          <p:cNvSpPr txBox="1"/>
          <p:nvPr/>
        </p:nvSpPr>
        <p:spPr>
          <a:xfrm>
            <a:off x="4917893" y="6559476"/>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13546708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9E26BC82-7F4B-8B8B-1292-37778CBC152C}"/>
              </a:ext>
            </a:extLst>
          </p:cNvPr>
          <p:cNvPicPr>
            <a:picLocks noChangeAspect="1"/>
          </p:cNvPicPr>
          <p:nvPr/>
        </p:nvPicPr>
        <p:blipFill>
          <a:blip r:embed="rId2"/>
          <a:stretch>
            <a:fillRect/>
          </a:stretch>
        </p:blipFill>
        <p:spPr>
          <a:xfrm>
            <a:off x="800100" y="0"/>
            <a:ext cx="10591800" cy="6858000"/>
          </a:xfrm>
          <a:prstGeom prst="rect">
            <a:avLst/>
          </a:prstGeom>
        </p:spPr>
      </p:pic>
      <p:sp>
        <p:nvSpPr>
          <p:cNvPr id="2" name="CuadroTexto 1">
            <a:extLst>
              <a:ext uri="{FF2B5EF4-FFF2-40B4-BE49-F238E27FC236}">
                <a16:creationId xmlns:a16="http://schemas.microsoft.com/office/drawing/2014/main" id="{0875C433-2DA4-3EA0-3443-5458C9CF0DFC}"/>
              </a:ext>
            </a:extLst>
          </p:cNvPr>
          <p:cNvSpPr txBox="1"/>
          <p:nvPr/>
        </p:nvSpPr>
        <p:spPr>
          <a:xfrm rot="16200000">
            <a:off x="10633273" y="3376069"/>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5138190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0F755D-E32F-C9AA-EF73-C2A0C42386DF}"/>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3E2ADEB7-0D99-5373-1B86-094728E086D4}"/>
              </a:ext>
            </a:extLst>
          </p:cNvPr>
          <p:cNvSpPr>
            <a:spLocks noGrp="1"/>
          </p:cNvSpPr>
          <p:nvPr>
            <p:ph type="body" sz="quarter" idx="24"/>
          </p:nvPr>
        </p:nvSpPr>
        <p:spPr/>
        <p:txBody>
          <a:bodyPr/>
          <a:lstStyle/>
          <a:p>
            <a:endParaRPr lang="es-ES" dirty="0"/>
          </a:p>
        </p:txBody>
      </p:sp>
      <p:sp>
        <p:nvSpPr>
          <p:cNvPr id="6" name="Marcador de número de diapositiva 5">
            <a:extLst>
              <a:ext uri="{FF2B5EF4-FFF2-40B4-BE49-F238E27FC236}">
                <a16:creationId xmlns:a16="http://schemas.microsoft.com/office/drawing/2014/main" id="{5F5487B5-B857-CA34-0948-3266696FB517}"/>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sp>
        <p:nvSpPr>
          <p:cNvPr id="12" name="6 CuadroTexto">
            <a:extLst>
              <a:ext uri="{FF2B5EF4-FFF2-40B4-BE49-F238E27FC236}">
                <a16:creationId xmlns:a16="http://schemas.microsoft.com/office/drawing/2014/main" id="{64D318B3-81A0-2813-EEDE-D60A89FCB4D4}"/>
              </a:ext>
            </a:extLst>
          </p:cNvPr>
          <p:cNvSpPr txBox="1"/>
          <p:nvPr/>
        </p:nvSpPr>
        <p:spPr>
          <a:xfrm>
            <a:off x="6894515" y="3562764"/>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2" name="Imagen 1">
            <a:extLst>
              <a:ext uri="{FF2B5EF4-FFF2-40B4-BE49-F238E27FC236}">
                <a16:creationId xmlns:a16="http://schemas.microsoft.com/office/drawing/2014/main" id="{F5BAFAC6-520E-5F2E-73B1-B5B6E3C3E93C}"/>
              </a:ext>
            </a:extLst>
          </p:cNvPr>
          <p:cNvPicPr>
            <a:picLocks noChangeAspect="1"/>
          </p:cNvPicPr>
          <p:nvPr/>
        </p:nvPicPr>
        <p:blipFill>
          <a:blip r:embed="rId3"/>
          <a:stretch>
            <a:fillRect/>
          </a:stretch>
        </p:blipFill>
        <p:spPr>
          <a:xfrm>
            <a:off x="10623775" y="231972"/>
            <a:ext cx="1329043" cy="457240"/>
          </a:xfrm>
          <a:prstGeom prst="rect">
            <a:avLst/>
          </a:prstGeom>
        </p:spPr>
      </p:pic>
      <p:sp>
        <p:nvSpPr>
          <p:cNvPr id="9" name="Título 3">
            <a:extLst>
              <a:ext uri="{FF2B5EF4-FFF2-40B4-BE49-F238E27FC236}">
                <a16:creationId xmlns:a16="http://schemas.microsoft.com/office/drawing/2014/main" id="{9992E199-DAC9-4D06-9210-DE367ED89C35}"/>
              </a:ext>
            </a:extLst>
          </p:cNvPr>
          <p:cNvSpPr txBox="1">
            <a:spLocks/>
          </p:cNvSpPr>
          <p:nvPr/>
        </p:nvSpPr>
        <p:spPr>
          <a:xfrm>
            <a:off x="1137226" y="245166"/>
            <a:ext cx="5327649" cy="420147"/>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_tradnl" sz="2800" dirty="0"/>
              <a:t>Tratamiento (y III): farmacológico</a:t>
            </a:r>
            <a:endParaRPr lang="es-ES" sz="2800" dirty="0"/>
          </a:p>
        </p:txBody>
      </p:sp>
      <p:sp>
        <p:nvSpPr>
          <p:cNvPr id="3" name="Rectángulo: esquinas redondeadas 2">
            <a:extLst>
              <a:ext uri="{FF2B5EF4-FFF2-40B4-BE49-F238E27FC236}">
                <a16:creationId xmlns:a16="http://schemas.microsoft.com/office/drawing/2014/main" id="{F68D94AE-68E7-9184-6371-E6AFF2B0C622}"/>
              </a:ext>
            </a:extLst>
          </p:cNvPr>
          <p:cNvSpPr/>
          <p:nvPr/>
        </p:nvSpPr>
        <p:spPr>
          <a:xfrm>
            <a:off x="5126184" y="725955"/>
            <a:ext cx="2196815" cy="494517"/>
          </a:xfrm>
          <a:prstGeom prst="round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s-ES" dirty="0"/>
              <a:t>Recomendaciones</a:t>
            </a:r>
          </a:p>
        </p:txBody>
      </p:sp>
      <p:cxnSp>
        <p:nvCxnSpPr>
          <p:cNvPr id="8" name="Conector recto 7">
            <a:extLst>
              <a:ext uri="{FF2B5EF4-FFF2-40B4-BE49-F238E27FC236}">
                <a16:creationId xmlns:a16="http://schemas.microsoft.com/office/drawing/2014/main" id="{4C501829-BF70-1417-EAC1-F69945AC19E8}"/>
              </a:ext>
            </a:extLst>
          </p:cNvPr>
          <p:cNvCxnSpPr>
            <a:stCxn id="3" idx="2"/>
          </p:cNvCxnSpPr>
          <p:nvPr/>
        </p:nvCxnSpPr>
        <p:spPr>
          <a:xfrm>
            <a:off x="6224592" y="1220472"/>
            <a:ext cx="0" cy="26066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 name="Conector recto 10">
            <a:extLst>
              <a:ext uri="{FF2B5EF4-FFF2-40B4-BE49-F238E27FC236}">
                <a16:creationId xmlns:a16="http://schemas.microsoft.com/office/drawing/2014/main" id="{1E35D878-6A05-07C1-9FA2-47FBD15B8A3D}"/>
              </a:ext>
            </a:extLst>
          </p:cNvPr>
          <p:cNvCxnSpPr>
            <a:cxnSpLocks/>
          </p:cNvCxnSpPr>
          <p:nvPr/>
        </p:nvCxnSpPr>
        <p:spPr>
          <a:xfrm>
            <a:off x="1981200" y="1464947"/>
            <a:ext cx="8404860" cy="9525"/>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3" name="Conector recto 22">
            <a:extLst>
              <a:ext uri="{FF2B5EF4-FFF2-40B4-BE49-F238E27FC236}">
                <a16:creationId xmlns:a16="http://schemas.microsoft.com/office/drawing/2014/main" id="{993BE561-6EA3-1DD6-A7FA-9C262C883354}"/>
              </a:ext>
            </a:extLst>
          </p:cNvPr>
          <p:cNvCxnSpPr/>
          <p:nvPr/>
        </p:nvCxnSpPr>
        <p:spPr>
          <a:xfrm>
            <a:off x="1992309" y="1464947"/>
            <a:ext cx="0" cy="26066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 name="Conector recto 24">
            <a:extLst>
              <a:ext uri="{FF2B5EF4-FFF2-40B4-BE49-F238E27FC236}">
                <a16:creationId xmlns:a16="http://schemas.microsoft.com/office/drawing/2014/main" id="{F930CE97-572D-A667-262C-2C538D72F657}"/>
              </a:ext>
            </a:extLst>
          </p:cNvPr>
          <p:cNvCxnSpPr/>
          <p:nvPr/>
        </p:nvCxnSpPr>
        <p:spPr>
          <a:xfrm>
            <a:off x="10379390" y="1469715"/>
            <a:ext cx="0" cy="26066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7" name="Conector recto 26">
            <a:extLst>
              <a:ext uri="{FF2B5EF4-FFF2-40B4-BE49-F238E27FC236}">
                <a16:creationId xmlns:a16="http://schemas.microsoft.com/office/drawing/2014/main" id="{2EE6DB5A-4BCD-88EE-6B2F-9B45BA7FB42B}"/>
              </a:ext>
            </a:extLst>
          </p:cNvPr>
          <p:cNvCxnSpPr/>
          <p:nvPr/>
        </p:nvCxnSpPr>
        <p:spPr>
          <a:xfrm>
            <a:off x="6224592" y="1474472"/>
            <a:ext cx="0" cy="26066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8" name="Rectángulo: esquinas redondeadas 27">
            <a:extLst>
              <a:ext uri="{FF2B5EF4-FFF2-40B4-BE49-F238E27FC236}">
                <a16:creationId xmlns:a16="http://schemas.microsoft.com/office/drawing/2014/main" id="{F36D59C0-6A8A-CFF0-40C7-F74D4A27BE97}"/>
              </a:ext>
            </a:extLst>
          </p:cNvPr>
          <p:cNvSpPr/>
          <p:nvPr/>
        </p:nvSpPr>
        <p:spPr>
          <a:xfrm>
            <a:off x="910224" y="1714997"/>
            <a:ext cx="2196815" cy="656071"/>
          </a:xfrm>
          <a:prstGeom prst="roundRect">
            <a:avLst/>
          </a:prstGeom>
          <a:solidFill>
            <a:schemeClr val="accent2"/>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s-ES" sz="1200" b="1" dirty="0"/>
              <a:t>Manejo de la hipertensión en embarazadas</a:t>
            </a:r>
            <a:r>
              <a:rPr lang="es-ES" sz="1200" b="1" baseline="30000" dirty="0"/>
              <a:t>1</a:t>
            </a:r>
            <a:endParaRPr lang="es-ES" sz="1200" b="1" dirty="0"/>
          </a:p>
        </p:txBody>
      </p:sp>
      <p:sp>
        <p:nvSpPr>
          <p:cNvPr id="29" name="Rectángulo: esquinas redondeadas 28">
            <a:extLst>
              <a:ext uri="{FF2B5EF4-FFF2-40B4-BE49-F238E27FC236}">
                <a16:creationId xmlns:a16="http://schemas.microsoft.com/office/drawing/2014/main" id="{C7BD7177-F0FD-073C-3207-C921AE65FCA1}"/>
              </a:ext>
            </a:extLst>
          </p:cNvPr>
          <p:cNvSpPr/>
          <p:nvPr/>
        </p:nvSpPr>
        <p:spPr>
          <a:xfrm>
            <a:off x="5133803" y="1741617"/>
            <a:ext cx="2196815" cy="494517"/>
          </a:xfrm>
          <a:prstGeom prst="roundRect">
            <a:avLst/>
          </a:prstGeom>
          <a:solidFill>
            <a:schemeClr val="accent2"/>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s-ES" sz="1200" b="1" dirty="0"/>
              <a:t>Manejo de la hipertensión en pacientes con DM2</a:t>
            </a:r>
            <a:r>
              <a:rPr lang="es-ES" sz="1200" b="1" baseline="30000" dirty="0"/>
              <a:t>1</a:t>
            </a:r>
            <a:endParaRPr lang="es-ES" sz="1200" b="1" dirty="0"/>
          </a:p>
        </p:txBody>
      </p:sp>
      <p:sp>
        <p:nvSpPr>
          <p:cNvPr id="31" name="Rectángulo: esquinas redondeadas 30">
            <a:extLst>
              <a:ext uri="{FF2B5EF4-FFF2-40B4-BE49-F238E27FC236}">
                <a16:creationId xmlns:a16="http://schemas.microsoft.com/office/drawing/2014/main" id="{627AA834-55CF-673A-9513-7AB31FC25633}"/>
              </a:ext>
            </a:extLst>
          </p:cNvPr>
          <p:cNvSpPr/>
          <p:nvPr/>
        </p:nvSpPr>
        <p:spPr>
          <a:xfrm>
            <a:off x="9069045" y="1729954"/>
            <a:ext cx="2615742" cy="593673"/>
          </a:xfrm>
          <a:prstGeom prst="roundRect">
            <a:avLst/>
          </a:prstGeom>
          <a:solidFill>
            <a:schemeClr val="accent2"/>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s-ES" sz="1200" b="1" dirty="0"/>
              <a:t>Manejo de la hipertensión en pacientes con ictus</a:t>
            </a:r>
            <a:r>
              <a:rPr lang="es-ES" sz="1200" b="1" baseline="30000" dirty="0"/>
              <a:t>1</a:t>
            </a:r>
            <a:endParaRPr lang="es-ES" sz="1200" b="1" dirty="0"/>
          </a:p>
        </p:txBody>
      </p:sp>
      <p:pic>
        <p:nvPicPr>
          <p:cNvPr id="14" name="Imagen 13">
            <a:extLst>
              <a:ext uri="{FF2B5EF4-FFF2-40B4-BE49-F238E27FC236}">
                <a16:creationId xmlns:a16="http://schemas.microsoft.com/office/drawing/2014/main" id="{B4C0C831-F98A-84B1-83D7-128CF348F1D5}"/>
              </a:ext>
            </a:extLst>
          </p:cNvPr>
          <p:cNvPicPr>
            <a:picLocks noChangeAspect="1"/>
          </p:cNvPicPr>
          <p:nvPr/>
        </p:nvPicPr>
        <p:blipFill>
          <a:blip r:embed="rId4"/>
          <a:stretch>
            <a:fillRect/>
          </a:stretch>
        </p:blipFill>
        <p:spPr>
          <a:xfrm>
            <a:off x="920230" y="2956273"/>
            <a:ext cx="3389468" cy="964896"/>
          </a:xfrm>
          <a:prstGeom prst="rect">
            <a:avLst/>
          </a:prstGeom>
        </p:spPr>
      </p:pic>
      <p:pic>
        <p:nvPicPr>
          <p:cNvPr id="17" name="Imagen 16">
            <a:extLst>
              <a:ext uri="{FF2B5EF4-FFF2-40B4-BE49-F238E27FC236}">
                <a16:creationId xmlns:a16="http://schemas.microsoft.com/office/drawing/2014/main" id="{70360890-810C-9272-4277-9148D1F20928}"/>
              </a:ext>
            </a:extLst>
          </p:cNvPr>
          <p:cNvPicPr>
            <a:picLocks noChangeAspect="1"/>
          </p:cNvPicPr>
          <p:nvPr/>
        </p:nvPicPr>
        <p:blipFill>
          <a:blip r:embed="rId5"/>
          <a:stretch>
            <a:fillRect/>
          </a:stretch>
        </p:blipFill>
        <p:spPr>
          <a:xfrm>
            <a:off x="901506" y="3897249"/>
            <a:ext cx="3416582" cy="1160605"/>
          </a:xfrm>
          <a:prstGeom prst="rect">
            <a:avLst/>
          </a:prstGeom>
        </p:spPr>
      </p:pic>
      <p:pic>
        <p:nvPicPr>
          <p:cNvPr id="18" name="Imagen 17">
            <a:extLst>
              <a:ext uri="{FF2B5EF4-FFF2-40B4-BE49-F238E27FC236}">
                <a16:creationId xmlns:a16="http://schemas.microsoft.com/office/drawing/2014/main" id="{481B554D-1341-2D03-BBF3-8DD7E9784DA0}"/>
              </a:ext>
            </a:extLst>
          </p:cNvPr>
          <p:cNvPicPr>
            <a:picLocks noChangeAspect="1"/>
          </p:cNvPicPr>
          <p:nvPr/>
        </p:nvPicPr>
        <p:blipFill>
          <a:blip r:embed="rId6"/>
          <a:stretch>
            <a:fillRect/>
          </a:stretch>
        </p:blipFill>
        <p:spPr>
          <a:xfrm>
            <a:off x="910224" y="2524156"/>
            <a:ext cx="3513124" cy="320068"/>
          </a:xfrm>
          <a:prstGeom prst="rect">
            <a:avLst/>
          </a:prstGeom>
        </p:spPr>
      </p:pic>
      <p:pic>
        <p:nvPicPr>
          <p:cNvPr id="19" name="Imagen 18">
            <a:extLst>
              <a:ext uri="{FF2B5EF4-FFF2-40B4-BE49-F238E27FC236}">
                <a16:creationId xmlns:a16="http://schemas.microsoft.com/office/drawing/2014/main" id="{1C44D9D2-F23E-2C4F-DF9B-13A5653B43EB}"/>
              </a:ext>
            </a:extLst>
          </p:cNvPr>
          <p:cNvPicPr>
            <a:picLocks noChangeAspect="1"/>
          </p:cNvPicPr>
          <p:nvPr/>
        </p:nvPicPr>
        <p:blipFill>
          <a:blip r:embed="rId6"/>
          <a:stretch>
            <a:fillRect/>
          </a:stretch>
        </p:blipFill>
        <p:spPr>
          <a:xfrm>
            <a:off x="4757669" y="2526698"/>
            <a:ext cx="3513124" cy="320068"/>
          </a:xfrm>
          <a:prstGeom prst="rect">
            <a:avLst/>
          </a:prstGeom>
        </p:spPr>
      </p:pic>
      <p:pic>
        <p:nvPicPr>
          <p:cNvPr id="21" name="Imagen 20">
            <a:extLst>
              <a:ext uri="{FF2B5EF4-FFF2-40B4-BE49-F238E27FC236}">
                <a16:creationId xmlns:a16="http://schemas.microsoft.com/office/drawing/2014/main" id="{DDB54EAE-0ACA-5FA0-D38A-FE17A5A2A8C5}"/>
              </a:ext>
            </a:extLst>
          </p:cNvPr>
          <p:cNvPicPr>
            <a:picLocks noChangeAspect="1"/>
          </p:cNvPicPr>
          <p:nvPr/>
        </p:nvPicPr>
        <p:blipFill>
          <a:blip r:embed="rId7"/>
          <a:srcRect l="654"/>
          <a:stretch/>
        </p:blipFill>
        <p:spPr>
          <a:xfrm>
            <a:off x="4784359" y="2912476"/>
            <a:ext cx="3389468" cy="1904456"/>
          </a:xfrm>
          <a:prstGeom prst="rect">
            <a:avLst/>
          </a:prstGeom>
        </p:spPr>
      </p:pic>
      <p:pic>
        <p:nvPicPr>
          <p:cNvPr id="22" name="Imagen 21">
            <a:extLst>
              <a:ext uri="{FF2B5EF4-FFF2-40B4-BE49-F238E27FC236}">
                <a16:creationId xmlns:a16="http://schemas.microsoft.com/office/drawing/2014/main" id="{207D3B7F-DFFA-5973-07D4-591ED4A29356}"/>
              </a:ext>
            </a:extLst>
          </p:cNvPr>
          <p:cNvPicPr>
            <a:picLocks noChangeAspect="1"/>
          </p:cNvPicPr>
          <p:nvPr/>
        </p:nvPicPr>
        <p:blipFill>
          <a:blip r:embed="rId6"/>
          <a:stretch>
            <a:fillRect/>
          </a:stretch>
        </p:blipFill>
        <p:spPr>
          <a:xfrm>
            <a:off x="8595862" y="2545540"/>
            <a:ext cx="3513124" cy="320068"/>
          </a:xfrm>
          <a:prstGeom prst="rect">
            <a:avLst/>
          </a:prstGeom>
        </p:spPr>
      </p:pic>
      <p:pic>
        <p:nvPicPr>
          <p:cNvPr id="26" name="Imagen 25">
            <a:extLst>
              <a:ext uri="{FF2B5EF4-FFF2-40B4-BE49-F238E27FC236}">
                <a16:creationId xmlns:a16="http://schemas.microsoft.com/office/drawing/2014/main" id="{2D021896-1ADE-E55E-517D-9715FC88C1AF}"/>
              </a:ext>
            </a:extLst>
          </p:cNvPr>
          <p:cNvPicPr>
            <a:picLocks noChangeAspect="1"/>
          </p:cNvPicPr>
          <p:nvPr/>
        </p:nvPicPr>
        <p:blipFill>
          <a:blip r:embed="rId8"/>
          <a:stretch>
            <a:fillRect/>
          </a:stretch>
        </p:blipFill>
        <p:spPr>
          <a:xfrm>
            <a:off x="8645235" y="2963683"/>
            <a:ext cx="3366101" cy="623020"/>
          </a:xfrm>
          <a:prstGeom prst="rect">
            <a:avLst/>
          </a:prstGeom>
        </p:spPr>
      </p:pic>
      <p:sp>
        <p:nvSpPr>
          <p:cNvPr id="7" name="CuadroTexto 6">
            <a:extLst>
              <a:ext uri="{FF2B5EF4-FFF2-40B4-BE49-F238E27FC236}">
                <a16:creationId xmlns:a16="http://schemas.microsoft.com/office/drawing/2014/main" id="{B38E79CB-7C41-6DE8-B7B5-024F4708DEB7}"/>
              </a:ext>
            </a:extLst>
          </p:cNvPr>
          <p:cNvSpPr txBox="1"/>
          <p:nvPr/>
        </p:nvSpPr>
        <p:spPr>
          <a:xfrm>
            <a:off x="928164" y="5566769"/>
            <a:ext cx="7717071" cy="200055"/>
          </a:xfrm>
          <a:prstGeom prst="rect">
            <a:avLst/>
          </a:prstGeom>
          <a:noFill/>
        </p:spPr>
        <p:txBody>
          <a:bodyPr wrap="square">
            <a:spAutoFit/>
          </a:bodyPr>
          <a:lstStyle/>
          <a:p>
            <a:pPr algn="just"/>
            <a:r>
              <a:rPr lang="es-ES" sz="700" dirty="0">
                <a:solidFill>
                  <a:schemeClr val="accent1"/>
                </a:solidFill>
              </a:rPr>
              <a:t>BP: </a:t>
            </a:r>
            <a:r>
              <a:rPr lang="es-ES" sz="700" dirty="0" err="1">
                <a:solidFill>
                  <a:schemeClr val="accent1"/>
                </a:solidFill>
              </a:rPr>
              <a:t>blood</a:t>
            </a:r>
            <a:r>
              <a:rPr lang="es-ES" sz="700" dirty="0">
                <a:solidFill>
                  <a:schemeClr val="accent1"/>
                </a:solidFill>
              </a:rPr>
              <a:t> </a:t>
            </a:r>
            <a:r>
              <a:rPr lang="es-ES" sz="700" dirty="0" err="1">
                <a:solidFill>
                  <a:schemeClr val="accent1"/>
                </a:solidFill>
              </a:rPr>
              <a:t>pressure</a:t>
            </a:r>
            <a:r>
              <a:rPr lang="es-ES" sz="700" dirty="0">
                <a:solidFill>
                  <a:schemeClr val="accent1"/>
                </a:solidFill>
              </a:rPr>
              <a:t>; CVD: cardiovascular; </a:t>
            </a:r>
            <a:r>
              <a:rPr lang="es-ES_tradnl" sz="700" dirty="0">
                <a:solidFill>
                  <a:schemeClr val="accent1"/>
                </a:solidFill>
              </a:rPr>
              <a:t>TIA: </a:t>
            </a:r>
            <a:r>
              <a:rPr lang="es-ES_tradnl" sz="700" dirty="0" err="1">
                <a:solidFill>
                  <a:schemeClr val="accent1"/>
                </a:solidFill>
              </a:rPr>
              <a:t>transient</a:t>
            </a:r>
            <a:r>
              <a:rPr lang="es-ES_tradnl" sz="700" dirty="0">
                <a:solidFill>
                  <a:schemeClr val="accent1"/>
                </a:solidFill>
              </a:rPr>
              <a:t> </a:t>
            </a:r>
            <a:r>
              <a:rPr lang="es-ES_tradnl" sz="700" dirty="0" err="1">
                <a:solidFill>
                  <a:schemeClr val="accent1"/>
                </a:solidFill>
              </a:rPr>
              <a:t>ischaemic</a:t>
            </a:r>
            <a:r>
              <a:rPr lang="es-ES_tradnl" sz="700" dirty="0">
                <a:solidFill>
                  <a:schemeClr val="accent1"/>
                </a:solidFill>
              </a:rPr>
              <a:t> </a:t>
            </a:r>
            <a:r>
              <a:rPr lang="es-ES_tradnl" sz="700" dirty="0" err="1">
                <a:solidFill>
                  <a:schemeClr val="accent1"/>
                </a:solidFill>
              </a:rPr>
              <a:t>attack</a:t>
            </a:r>
            <a:r>
              <a:rPr lang="es-ES_tradnl" sz="700" dirty="0">
                <a:solidFill>
                  <a:schemeClr val="accent1"/>
                </a:solidFill>
              </a:rPr>
              <a:t> </a:t>
            </a:r>
            <a:endParaRPr lang="es-ES" sz="700" dirty="0">
              <a:solidFill>
                <a:schemeClr val="accent1"/>
              </a:solidFill>
            </a:endParaRPr>
          </a:p>
        </p:txBody>
      </p:sp>
      <p:sp>
        <p:nvSpPr>
          <p:cNvPr id="10" name="CuadroTexto 9">
            <a:extLst>
              <a:ext uri="{FF2B5EF4-FFF2-40B4-BE49-F238E27FC236}">
                <a16:creationId xmlns:a16="http://schemas.microsoft.com/office/drawing/2014/main" id="{B653FCF6-37FD-D9B6-8616-E04E481CD54B}"/>
              </a:ext>
            </a:extLst>
          </p:cNvPr>
          <p:cNvSpPr txBox="1"/>
          <p:nvPr/>
        </p:nvSpPr>
        <p:spPr>
          <a:xfrm>
            <a:off x="2326220" y="5046097"/>
            <a:ext cx="2097128"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pPr algn="r"/>
            <a:r>
              <a:rPr lang="en-US" dirty="0" err="1"/>
              <a:t>Eur</a:t>
            </a:r>
            <a:r>
              <a:rPr lang="en-US" dirty="0"/>
              <a:t> Heart J. 2024 Oct 7;45(38):3912-4018</a:t>
            </a:r>
            <a:endParaRPr lang="es-ES" dirty="0"/>
          </a:p>
        </p:txBody>
      </p:sp>
      <p:sp>
        <p:nvSpPr>
          <p:cNvPr id="15" name="CuadroTexto 14">
            <a:extLst>
              <a:ext uri="{FF2B5EF4-FFF2-40B4-BE49-F238E27FC236}">
                <a16:creationId xmlns:a16="http://schemas.microsoft.com/office/drawing/2014/main" id="{7B50D982-955A-9D54-04EB-64D2CEFA9F4F}"/>
              </a:ext>
            </a:extLst>
          </p:cNvPr>
          <p:cNvSpPr txBox="1"/>
          <p:nvPr/>
        </p:nvSpPr>
        <p:spPr>
          <a:xfrm>
            <a:off x="6173665" y="4802189"/>
            <a:ext cx="2097128"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pPr algn="r"/>
            <a:r>
              <a:rPr lang="en-US" dirty="0" err="1"/>
              <a:t>Eur</a:t>
            </a:r>
            <a:r>
              <a:rPr lang="en-US" dirty="0"/>
              <a:t> Heart J. 2024 Oct 7;45(38):3912-4018</a:t>
            </a:r>
            <a:endParaRPr lang="es-ES" dirty="0"/>
          </a:p>
        </p:txBody>
      </p:sp>
      <p:sp>
        <p:nvSpPr>
          <p:cNvPr id="16" name="CuadroTexto 15">
            <a:extLst>
              <a:ext uri="{FF2B5EF4-FFF2-40B4-BE49-F238E27FC236}">
                <a16:creationId xmlns:a16="http://schemas.microsoft.com/office/drawing/2014/main" id="{F066776B-836D-4153-AB78-80727AED9117}"/>
              </a:ext>
            </a:extLst>
          </p:cNvPr>
          <p:cNvSpPr txBox="1"/>
          <p:nvPr/>
        </p:nvSpPr>
        <p:spPr>
          <a:xfrm>
            <a:off x="10011858" y="3608423"/>
            <a:ext cx="2097128"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pPr algn="r"/>
            <a:r>
              <a:rPr lang="en-US" dirty="0" err="1"/>
              <a:t>Eur</a:t>
            </a:r>
            <a:r>
              <a:rPr lang="en-US" dirty="0"/>
              <a:t> Heart J. 2024 Oct 7;45(38):3912-4018</a:t>
            </a:r>
            <a:endParaRPr lang="es-ES" dirty="0"/>
          </a:p>
        </p:txBody>
      </p:sp>
      <p:sp>
        <p:nvSpPr>
          <p:cNvPr id="20" name="CuadroTexto 19">
            <a:extLst>
              <a:ext uri="{FF2B5EF4-FFF2-40B4-BE49-F238E27FC236}">
                <a16:creationId xmlns:a16="http://schemas.microsoft.com/office/drawing/2014/main" id="{E20BB851-E2D3-7E7F-8378-12E55413430D}"/>
              </a:ext>
            </a:extLst>
          </p:cNvPr>
          <p:cNvSpPr txBox="1"/>
          <p:nvPr/>
        </p:nvSpPr>
        <p:spPr>
          <a:xfrm>
            <a:off x="4360016" y="6331348"/>
            <a:ext cx="5068997" cy="217177"/>
          </a:xfrm>
          <a:prstGeom prst="rect">
            <a:avLst/>
          </a:prstGeom>
        </p:spPr>
        <p:txBody>
          <a:bodyPr/>
          <a:lstStyle>
            <a:defPPr>
              <a:defRPr lang="es-ES"/>
            </a:defPPr>
            <a:lvl1pPr indent="0" algn="ctr" defTabSz="914377">
              <a:lnSpc>
                <a:spcPct val="90000"/>
              </a:lnSpc>
              <a:spcBef>
                <a:spcPts val="1000"/>
              </a:spcBef>
              <a:buFont typeface="Arial" panose="020B0604020202020204" pitchFamily="34" charset="0"/>
              <a:buNone/>
              <a:defRPr sz="1200">
                <a:solidFill>
                  <a:schemeClr val="accent1"/>
                </a:solidFill>
              </a:defRPr>
            </a:lvl1pPr>
            <a:lvl2pPr marL="685783" indent="-228594" defTabSz="914377">
              <a:lnSpc>
                <a:spcPct val="90000"/>
              </a:lnSpc>
              <a:spcBef>
                <a:spcPts val="500"/>
              </a:spcBef>
              <a:buFont typeface="Arial" panose="020B0604020202020204" pitchFamily="34" charset="0"/>
              <a:buChar char="•"/>
              <a:defRPr sz="2400"/>
            </a:lvl2pPr>
            <a:lvl3pPr marL="1142971" indent="-228594" defTabSz="914377">
              <a:lnSpc>
                <a:spcPct val="90000"/>
              </a:lnSpc>
              <a:spcBef>
                <a:spcPts val="500"/>
              </a:spcBef>
              <a:buFont typeface="Arial" panose="020B0604020202020204" pitchFamily="34" charset="0"/>
              <a:buChar char="•"/>
              <a:defRPr sz="2000"/>
            </a:lvl3pPr>
            <a:lvl4pPr marL="1600160" indent="-228594" defTabSz="914377">
              <a:lnSpc>
                <a:spcPct val="90000"/>
              </a:lnSpc>
              <a:spcBef>
                <a:spcPts val="500"/>
              </a:spcBef>
              <a:buFont typeface="Arial" panose="020B0604020202020204" pitchFamily="34" charset="0"/>
              <a:buChar char="•"/>
            </a:lvl4pPr>
            <a:lvl5pPr marL="2057349" indent="-228594" defTabSz="914377">
              <a:lnSpc>
                <a:spcPct val="90000"/>
              </a:lnSpc>
              <a:spcBef>
                <a:spcPts val="500"/>
              </a:spcBef>
              <a:buFont typeface="Arial" panose="020B0604020202020204" pitchFamily="34" charset="0"/>
              <a:buChar cha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r>
              <a:rPr lang="es-ES" sz="1000" dirty="0"/>
              <a:t>Guía ESC 2024 Presión arterial elevada e Hipertensión arterial</a:t>
            </a:r>
          </a:p>
        </p:txBody>
      </p:sp>
      <p:sp>
        <p:nvSpPr>
          <p:cNvPr id="24" name="CuadroTexto 23">
            <a:extLst>
              <a:ext uri="{FF2B5EF4-FFF2-40B4-BE49-F238E27FC236}">
                <a16:creationId xmlns:a16="http://schemas.microsoft.com/office/drawing/2014/main" id="{FBA155EE-40E4-DE76-AB01-689FB3E5FCB3}"/>
              </a:ext>
            </a:extLst>
          </p:cNvPr>
          <p:cNvSpPr txBox="1"/>
          <p:nvPr/>
        </p:nvSpPr>
        <p:spPr>
          <a:xfrm>
            <a:off x="2991959" y="6519951"/>
            <a:ext cx="8172512" cy="200055"/>
          </a:xfrm>
          <a:prstGeom prst="rect">
            <a:avLst/>
          </a:prstGeom>
          <a:noFill/>
        </p:spPr>
        <p:txBody>
          <a:bodyPr wrap="square" rtlCol="0">
            <a:spAutoFit/>
          </a:bodyPr>
          <a:lstStyle>
            <a:defPPr>
              <a:defRPr lang="es-ES"/>
            </a:defPPr>
            <a:lvl1pPr>
              <a:defRPr sz="700" b="0" i="1">
                <a:solidFill>
                  <a:schemeClr val="accent1"/>
                </a:solidFill>
                <a:effectLst/>
              </a:defRPr>
            </a:lvl1pPr>
          </a:lstStyle>
          <a:p>
            <a:pPr algn="ctr"/>
            <a:r>
              <a:rPr lang="en-US" dirty="0"/>
              <a:t>1. McEvoy JW, et al. 2024 ESC Guidelines for the management of elevated blood pressure and hypertension. </a:t>
            </a:r>
            <a:r>
              <a:rPr lang="en-US" dirty="0" err="1"/>
              <a:t>Eur</a:t>
            </a:r>
            <a:r>
              <a:rPr lang="en-US" dirty="0"/>
              <a:t> Heart J. 2024 Oct 7;45(38):3912-4018. </a:t>
            </a:r>
            <a:r>
              <a:rPr lang="en-US" dirty="0" err="1"/>
              <a:t>doi</a:t>
            </a:r>
            <a:r>
              <a:rPr lang="en-US" dirty="0"/>
              <a:t>: 10.1093/</a:t>
            </a:r>
            <a:r>
              <a:rPr lang="en-US" dirty="0" err="1"/>
              <a:t>eurheartj</a:t>
            </a:r>
            <a:r>
              <a:rPr lang="en-US" dirty="0"/>
              <a:t>/ehae178.</a:t>
            </a:r>
          </a:p>
        </p:txBody>
      </p:sp>
      <p:sp>
        <p:nvSpPr>
          <p:cNvPr id="5" name="CuadroTexto 4">
            <a:extLst>
              <a:ext uri="{FF2B5EF4-FFF2-40B4-BE49-F238E27FC236}">
                <a16:creationId xmlns:a16="http://schemas.microsoft.com/office/drawing/2014/main" id="{6142CBA4-2BA9-5A1D-50C4-58B330593D86}"/>
              </a:ext>
            </a:extLst>
          </p:cNvPr>
          <p:cNvSpPr txBox="1"/>
          <p:nvPr/>
        </p:nvSpPr>
        <p:spPr>
          <a:xfrm rot="16200000">
            <a:off x="10717235" y="4766014"/>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29378893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092E22-7462-C67F-A1DE-DD99DAD4DB2F}"/>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85B19111-E5A7-1FBC-BDDF-B2FBCC22FC63}"/>
              </a:ext>
            </a:extLst>
          </p:cNvPr>
          <p:cNvSpPr>
            <a:spLocks noGrp="1"/>
          </p:cNvSpPr>
          <p:nvPr>
            <p:ph type="body" sz="quarter" idx="24"/>
          </p:nvPr>
        </p:nvSpPr>
        <p:spPr/>
        <p:txBody>
          <a:bodyPr/>
          <a:lstStyle/>
          <a:p>
            <a:endParaRPr lang="es-ES" dirty="0"/>
          </a:p>
        </p:txBody>
      </p:sp>
      <p:sp>
        <p:nvSpPr>
          <p:cNvPr id="6" name="Marcador de número de diapositiva 5">
            <a:extLst>
              <a:ext uri="{FF2B5EF4-FFF2-40B4-BE49-F238E27FC236}">
                <a16:creationId xmlns:a16="http://schemas.microsoft.com/office/drawing/2014/main" id="{D1018DE2-B898-A598-28A9-1E4C01AF0235}"/>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sp>
        <p:nvSpPr>
          <p:cNvPr id="12" name="6 CuadroTexto">
            <a:extLst>
              <a:ext uri="{FF2B5EF4-FFF2-40B4-BE49-F238E27FC236}">
                <a16:creationId xmlns:a16="http://schemas.microsoft.com/office/drawing/2014/main" id="{32D4FFE4-6E7A-0812-8B70-CE29F30731E4}"/>
              </a:ext>
            </a:extLst>
          </p:cNvPr>
          <p:cNvSpPr txBox="1"/>
          <p:nvPr/>
        </p:nvSpPr>
        <p:spPr>
          <a:xfrm>
            <a:off x="6885497" y="3562763"/>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2" name="Imagen 1">
            <a:extLst>
              <a:ext uri="{FF2B5EF4-FFF2-40B4-BE49-F238E27FC236}">
                <a16:creationId xmlns:a16="http://schemas.microsoft.com/office/drawing/2014/main" id="{CE1FA270-E446-77F1-D2D1-9B7CA06C1769}"/>
              </a:ext>
            </a:extLst>
          </p:cNvPr>
          <p:cNvPicPr>
            <a:picLocks noChangeAspect="1"/>
          </p:cNvPicPr>
          <p:nvPr/>
        </p:nvPicPr>
        <p:blipFill>
          <a:blip r:embed="rId3"/>
          <a:stretch>
            <a:fillRect/>
          </a:stretch>
        </p:blipFill>
        <p:spPr>
          <a:xfrm>
            <a:off x="10623775" y="231972"/>
            <a:ext cx="1329043" cy="457240"/>
          </a:xfrm>
          <a:prstGeom prst="rect">
            <a:avLst/>
          </a:prstGeom>
        </p:spPr>
      </p:pic>
      <p:sp>
        <p:nvSpPr>
          <p:cNvPr id="9" name="Título 3">
            <a:extLst>
              <a:ext uri="{FF2B5EF4-FFF2-40B4-BE49-F238E27FC236}">
                <a16:creationId xmlns:a16="http://schemas.microsoft.com/office/drawing/2014/main" id="{BAD428C0-7293-6B62-A63E-46A5B11E33F9}"/>
              </a:ext>
            </a:extLst>
          </p:cNvPr>
          <p:cNvSpPr txBox="1">
            <a:spLocks/>
          </p:cNvSpPr>
          <p:nvPr/>
        </p:nvSpPr>
        <p:spPr>
          <a:xfrm>
            <a:off x="1137226" y="336607"/>
            <a:ext cx="5327649" cy="1469134"/>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_tradnl" sz="2800" dirty="0"/>
              <a:t>Comparación guías ESC y ESH</a:t>
            </a:r>
            <a:endParaRPr lang="es-ES" sz="2800" dirty="0"/>
          </a:p>
        </p:txBody>
      </p:sp>
      <p:sp>
        <p:nvSpPr>
          <p:cNvPr id="8" name="CuadroTexto 7">
            <a:extLst>
              <a:ext uri="{FF2B5EF4-FFF2-40B4-BE49-F238E27FC236}">
                <a16:creationId xmlns:a16="http://schemas.microsoft.com/office/drawing/2014/main" id="{C0759C1E-BDEC-D41D-B857-2E8A4E265824}"/>
              </a:ext>
            </a:extLst>
          </p:cNvPr>
          <p:cNvSpPr txBox="1"/>
          <p:nvPr/>
        </p:nvSpPr>
        <p:spPr>
          <a:xfrm>
            <a:off x="1148245" y="840341"/>
            <a:ext cx="7393436" cy="4893647"/>
          </a:xfrm>
          <a:prstGeom prst="rect">
            <a:avLst/>
          </a:prstGeom>
          <a:noFill/>
        </p:spPr>
        <p:txBody>
          <a:bodyPr wrap="square" rtlCol="0">
            <a:spAutoFit/>
          </a:bodyPr>
          <a:lstStyle/>
          <a:p>
            <a:pPr algn="just"/>
            <a:r>
              <a:rPr lang="es-ES" sz="1200" dirty="0">
                <a:solidFill>
                  <a:schemeClr val="accent1"/>
                </a:solidFill>
              </a:rPr>
              <a:t>Veamos </a:t>
            </a:r>
            <a:r>
              <a:rPr lang="es-ES" sz="1200" b="1" u="sng" dirty="0">
                <a:solidFill>
                  <a:schemeClr val="accent1"/>
                </a:solidFill>
              </a:rPr>
              <a:t>similitudes clave </a:t>
            </a:r>
            <a:r>
              <a:rPr lang="es-ES" sz="1200" dirty="0">
                <a:solidFill>
                  <a:schemeClr val="accent1"/>
                </a:solidFill>
              </a:rPr>
              <a:t>entre ambas guías</a:t>
            </a:r>
            <a:r>
              <a:rPr lang="es-ES" sz="1200" baseline="30000" dirty="0">
                <a:solidFill>
                  <a:schemeClr val="accent1"/>
                </a:solidFill>
              </a:rPr>
              <a:t>1,2</a:t>
            </a:r>
            <a:r>
              <a:rPr lang="es-ES" sz="1200" dirty="0">
                <a:solidFill>
                  <a:schemeClr val="accent1"/>
                </a:solidFill>
              </a:rPr>
              <a:t>:</a:t>
            </a:r>
          </a:p>
          <a:p>
            <a:pPr algn="just"/>
            <a:endParaRPr lang="es-ES" sz="1200" dirty="0">
              <a:solidFill>
                <a:schemeClr val="accent1"/>
              </a:solidFill>
            </a:endParaRPr>
          </a:p>
          <a:p>
            <a:pPr marL="171450" indent="-171450" algn="just">
              <a:buFont typeface="Arial" panose="020B0604020202020204" pitchFamily="34" charset="0"/>
              <a:buChar char="•"/>
            </a:pPr>
            <a:r>
              <a:rPr lang="es-ES" sz="1200" b="1" dirty="0">
                <a:solidFill>
                  <a:schemeClr val="accent1"/>
                </a:solidFill>
              </a:rPr>
              <a:t>Umbral diagnóstico</a:t>
            </a:r>
            <a:r>
              <a:rPr lang="es-ES" sz="1200" baseline="30000" dirty="0">
                <a:solidFill>
                  <a:schemeClr val="accent1"/>
                </a:solidFill>
              </a:rPr>
              <a:t>1,2</a:t>
            </a:r>
            <a:r>
              <a:rPr lang="es-ES" sz="1200" b="1" dirty="0">
                <a:solidFill>
                  <a:schemeClr val="accent1"/>
                </a:solidFill>
              </a:rPr>
              <a:t>:</a:t>
            </a:r>
          </a:p>
          <a:p>
            <a:pPr marL="628650" lvl="1" indent="-171450" algn="just">
              <a:buFont typeface="Courier New" panose="02070309020205020404" pitchFamily="49" charset="0"/>
              <a:buChar char="o"/>
            </a:pPr>
            <a:r>
              <a:rPr lang="es-ES" sz="1200" dirty="0">
                <a:solidFill>
                  <a:schemeClr val="accent1"/>
                </a:solidFill>
              </a:rPr>
              <a:t>140/90 </a:t>
            </a:r>
            <a:r>
              <a:rPr lang="es-ES" sz="1200" dirty="0" err="1">
                <a:solidFill>
                  <a:schemeClr val="accent1"/>
                </a:solidFill>
              </a:rPr>
              <a:t>mmHg</a:t>
            </a:r>
            <a:r>
              <a:rPr lang="es-ES" sz="1200" dirty="0">
                <a:solidFill>
                  <a:schemeClr val="accent1"/>
                </a:solidFill>
              </a:rPr>
              <a:t>.</a:t>
            </a:r>
          </a:p>
          <a:p>
            <a:pPr marL="171450" indent="-171450" algn="just">
              <a:buFont typeface="Arial" panose="020B0604020202020204" pitchFamily="34" charset="0"/>
              <a:buChar char="•"/>
            </a:pPr>
            <a:endParaRPr lang="es-ES" sz="1200" b="1" dirty="0">
              <a:solidFill>
                <a:schemeClr val="accent1"/>
              </a:solidFill>
            </a:endParaRPr>
          </a:p>
          <a:p>
            <a:pPr marL="171450" indent="-171450" algn="just">
              <a:buFont typeface="Arial" panose="020B0604020202020204" pitchFamily="34" charset="0"/>
              <a:buChar char="•"/>
            </a:pPr>
            <a:r>
              <a:rPr lang="es-ES" sz="1200" b="1" dirty="0">
                <a:solidFill>
                  <a:schemeClr val="accent1"/>
                </a:solidFill>
              </a:rPr>
              <a:t>Medición de la PA</a:t>
            </a:r>
            <a:r>
              <a:rPr lang="es-ES" sz="1200" baseline="30000" dirty="0">
                <a:solidFill>
                  <a:schemeClr val="accent1"/>
                </a:solidFill>
              </a:rPr>
              <a:t>1,2</a:t>
            </a:r>
            <a:r>
              <a:rPr lang="es-ES" sz="1200" b="1" dirty="0">
                <a:solidFill>
                  <a:schemeClr val="accent1"/>
                </a:solidFill>
              </a:rPr>
              <a:t>:</a:t>
            </a:r>
          </a:p>
          <a:p>
            <a:pPr marL="628650" lvl="1" indent="-171450" algn="just">
              <a:buFont typeface="Courier New" panose="02070309020205020404" pitchFamily="49" charset="0"/>
              <a:buChar char="o"/>
            </a:pPr>
            <a:r>
              <a:rPr lang="es-ES" sz="1200" dirty="0">
                <a:solidFill>
                  <a:schemeClr val="accent1"/>
                </a:solidFill>
              </a:rPr>
              <a:t>Medición</a:t>
            </a:r>
            <a:r>
              <a:rPr lang="es-ES" sz="1200" b="1" dirty="0">
                <a:solidFill>
                  <a:schemeClr val="accent1"/>
                </a:solidFill>
              </a:rPr>
              <a:t> </a:t>
            </a:r>
            <a:r>
              <a:rPr lang="es-ES" sz="1200" dirty="0">
                <a:solidFill>
                  <a:schemeClr val="accent1"/>
                </a:solidFill>
              </a:rPr>
              <a:t>en consultorio.</a:t>
            </a:r>
          </a:p>
          <a:p>
            <a:pPr marL="628650" lvl="1" indent="-171450" algn="just">
              <a:buFont typeface="Courier New" panose="02070309020205020404" pitchFamily="49" charset="0"/>
              <a:buChar char="o"/>
            </a:pPr>
            <a:r>
              <a:rPr lang="es-ES" sz="1200" dirty="0">
                <a:solidFill>
                  <a:schemeClr val="accent1"/>
                </a:solidFill>
              </a:rPr>
              <a:t>Hincapié en la monitorización fuera del consultorio para confirmar el diagnóstico.</a:t>
            </a:r>
          </a:p>
          <a:p>
            <a:pPr marL="628650" lvl="1" indent="-171450" algn="just">
              <a:buFont typeface="Courier New" panose="02070309020205020404" pitchFamily="49" charset="0"/>
              <a:buChar char="o"/>
            </a:pPr>
            <a:r>
              <a:rPr lang="es-ES" sz="1200" dirty="0" err="1">
                <a:solidFill>
                  <a:schemeClr val="accent1"/>
                </a:solidFill>
              </a:rPr>
              <a:t>Automedición</a:t>
            </a:r>
            <a:r>
              <a:rPr lang="es-ES" sz="1200" dirty="0">
                <a:solidFill>
                  <a:schemeClr val="accent1"/>
                </a:solidFill>
              </a:rPr>
              <a:t> o la medición domiciliaria para la monitorización a largo plazo. </a:t>
            </a:r>
          </a:p>
          <a:p>
            <a:pPr marL="171450" indent="-171450" algn="just">
              <a:buFont typeface="Arial" panose="020B0604020202020204" pitchFamily="34" charset="0"/>
              <a:buChar char="•"/>
            </a:pPr>
            <a:endParaRPr lang="es-ES" sz="1200" b="1" dirty="0">
              <a:solidFill>
                <a:schemeClr val="accent1"/>
              </a:solidFill>
            </a:endParaRPr>
          </a:p>
          <a:p>
            <a:pPr marL="171450" indent="-171450" algn="just">
              <a:buFont typeface="Arial" panose="020B0604020202020204" pitchFamily="34" charset="0"/>
              <a:buChar char="•"/>
            </a:pPr>
            <a:r>
              <a:rPr lang="es-ES" sz="1200" b="1" dirty="0">
                <a:solidFill>
                  <a:schemeClr val="accent1"/>
                </a:solidFill>
              </a:rPr>
              <a:t>Inicio del tratamiento hipotensor</a:t>
            </a:r>
            <a:r>
              <a:rPr lang="es-ES" sz="1200" baseline="30000" dirty="0">
                <a:solidFill>
                  <a:schemeClr val="accent1"/>
                </a:solidFill>
              </a:rPr>
              <a:t>1,2</a:t>
            </a:r>
            <a:r>
              <a:rPr lang="es-ES" sz="1200" b="1" dirty="0">
                <a:solidFill>
                  <a:schemeClr val="accent1"/>
                </a:solidFill>
              </a:rPr>
              <a:t>:</a:t>
            </a:r>
          </a:p>
          <a:p>
            <a:pPr marL="628650" lvl="1" indent="-171450" algn="just">
              <a:buFont typeface="Courier New" panose="02070309020205020404" pitchFamily="49" charset="0"/>
              <a:buChar char="o"/>
            </a:pPr>
            <a:r>
              <a:rPr lang="es-ES" sz="1200" dirty="0">
                <a:solidFill>
                  <a:schemeClr val="accent1"/>
                </a:solidFill>
              </a:rPr>
              <a:t>Evaluar el riesgo cardiovascular, pero no se basan solo en este para iniciar el tratamiento.</a:t>
            </a:r>
          </a:p>
          <a:p>
            <a:pPr marL="628650" lvl="1" indent="-171450" algn="just">
              <a:buFont typeface="Courier New" panose="02070309020205020404" pitchFamily="49" charset="0"/>
              <a:buChar char="o"/>
            </a:pPr>
            <a:r>
              <a:rPr lang="es-ES" sz="1200" dirty="0">
                <a:solidFill>
                  <a:schemeClr val="accent1"/>
                </a:solidFill>
              </a:rPr>
              <a:t>Intervención en el estilo de vida y tratamiento farmacológico para pacientes con &gt;140/90 </a:t>
            </a:r>
            <a:r>
              <a:rPr lang="es-ES" sz="1200" dirty="0" err="1">
                <a:solidFill>
                  <a:schemeClr val="accent1"/>
                </a:solidFill>
              </a:rPr>
              <a:t>mmHg</a:t>
            </a:r>
            <a:r>
              <a:rPr lang="es-ES" sz="1200" dirty="0">
                <a:solidFill>
                  <a:schemeClr val="accent1"/>
                </a:solidFill>
              </a:rPr>
              <a:t>.</a:t>
            </a:r>
          </a:p>
          <a:p>
            <a:pPr marL="628650" lvl="1" indent="-171450" algn="just">
              <a:buFont typeface="Courier New" panose="02070309020205020404" pitchFamily="49" charset="0"/>
              <a:buChar char="o"/>
            </a:pPr>
            <a:r>
              <a:rPr lang="es-ES" sz="1200" dirty="0">
                <a:solidFill>
                  <a:schemeClr val="accent1"/>
                </a:solidFill>
              </a:rPr>
              <a:t>Tratamiento combinado de dos fármacos en un solo comprimido como tratamiento inicial.</a:t>
            </a:r>
          </a:p>
          <a:p>
            <a:pPr marL="171450" indent="-171450" algn="just">
              <a:buFont typeface="Arial" panose="020B0604020202020204" pitchFamily="34" charset="0"/>
              <a:buChar char="•"/>
            </a:pPr>
            <a:endParaRPr lang="es-ES" sz="1200" b="1" dirty="0">
              <a:solidFill>
                <a:schemeClr val="accent1"/>
              </a:solidFill>
            </a:endParaRPr>
          </a:p>
          <a:p>
            <a:pPr marL="171450" indent="-171450" algn="just">
              <a:buFont typeface="Arial" panose="020B0604020202020204" pitchFamily="34" charset="0"/>
              <a:buChar char="•"/>
            </a:pPr>
            <a:r>
              <a:rPr lang="es-ES" sz="1200" b="1" dirty="0">
                <a:solidFill>
                  <a:schemeClr val="accent1"/>
                </a:solidFill>
              </a:rPr>
              <a:t>Objetivos del tratamiento</a:t>
            </a:r>
            <a:r>
              <a:rPr lang="es-ES" sz="1200" baseline="30000" dirty="0">
                <a:solidFill>
                  <a:schemeClr val="accent1"/>
                </a:solidFill>
              </a:rPr>
              <a:t>1,2</a:t>
            </a:r>
            <a:r>
              <a:rPr lang="es-ES" sz="1200" b="1" dirty="0">
                <a:solidFill>
                  <a:schemeClr val="accent1"/>
                </a:solidFill>
              </a:rPr>
              <a:t>:</a:t>
            </a:r>
          </a:p>
          <a:p>
            <a:pPr marL="628650" lvl="1" indent="-171450" algn="just">
              <a:buFont typeface="Courier New" panose="02070309020205020404" pitchFamily="49" charset="0"/>
              <a:buChar char="o"/>
            </a:pPr>
            <a:r>
              <a:rPr lang="es-ES" sz="1200" dirty="0">
                <a:solidFill>
                  <a:schemeClr val="accent1"/>
                </a:solidFill>
              </a:rPr>
              <a:t>&lt;130/80 </a:t>
            </a:r>
            <a:r>
              <a:rPr lang="es-ES" sz="1200" dirty="0" err="1">
                <a:solidFill>
                  <a:schemeClr val="accent1"/>
                </a:solidFill>
              </a:rPr>
              <a:t>mmHg</a:t>
            </a:r>
            <a:r>
              <a:rPr lang="es-ES" sz="1200" dirty="0">
                <a:solidFill>
                  <a:schemeClr val="accent1"/>
                </a:solidFill>
              </a:rPr>
              <a:t> para la mayoría de los pacientes, si se tolera.</a:t>
            </a:r>
          </a:p>
          <a:p>
            <a:pPr marL="171450" indent="-171450" algn="just">
              <a:buFont typeface="Arial" panose="020B0604020202020204" pitchFamily="34" charset="0"/>
              <a:buChar char="•"/>
            </a:pPr>
            <a:endParaRPr lang="es-ES" sz="1200" b="1" dirty="0">
              <a:solidFill>
                <a:schemeClr val="accent1"/>
              </a:solidFill>
            </a:endParaRPr>
          </a:p>
          <a:p>
            <a:pPr marL="171450" indent="-171450" algn="just">
              <a:buFont typeface="Arial" panose="020B0604020202020204" pitchFamily="34" charset="0"/>
              <a:buChar char="•"/>
            </a:pPr>
            <a:r>
              <a:rPr lang="es-ES" sz="1200" b="1" dirty="0">
                <a:solidFill>
                  <a:schemeClr val="accent1"/>
                </a:solidFill>
              </a:rPr>
              <a:t>Seguimiento</a:t>
            </a:r>
            <a:r>
              <a:rPr lang="es-ES" sz="1200" baseline="30000" dirty="0">
                <a:solidFill>
                  <a:schemeClr val="accent1"/>
                </a:solidFill>
              </a:rPr>
              <a:t>1,2</a:t>
            </a:r>
            <a:r>
              <a:rPr lang="es-ES" sz="1200" b="1" dirty="0">
                <a:solidFill>
                  <a:schemeClr val="accent1"/>
                </a:solidFill>
              </a:rPr>
              <a:t>:</a:t>
            </a:r>
          </a:p>
          <a:p>
            <a:pPr marL="628650" lvl="1" indent="-171450" algn="just">
              <a:buFont typeface="Courier New" panose="02070309020205020404" pitchFamily="49" charset="0"/>
              <a:buChar char="o"/>
            </a:pPr>
            <a:r>
              <a:rPr lang="es-ES" sz="1200" dirty="0">
                <a:solidFill>
                  <a:schemeClr val="accent1"/>
                </a:solidFill>
              </a:rPr>
              <a:t>Seguimiento frecuente (aprox.1 vez al mes) para conseguir el objetivo en 3 meses.</a:t>
            </a:r>
          </a:p>
          <a:p>
            <a:pPr marL="171450" indent="-171450" algn="just">
              <a:buFont typeface="Arial" panose="020B0604020202020204" pitchFamily="34" charset="0"/>
              <a:buChar char="•"/>
            </a:pPr>
            <a:endParaRPr lang="es-ES" sz="1200" b="1" dirty="0">
              <a:solidFill>
                <a:schemeClr val="accent1"/>
              </a:solidFill>
            </a:endParaRPr>
          </a:p>
          <a:p>
            <a:pPr marL="171450" indent="-171450" algn="just">
              <a:buFont typeface="Arial" panose="020B0604020202020204" pitchFamily="34" charset="0"/>
              <a:buChar char="•"/>
            </a:pPr>
            <a:r>
              <a:rPr lang="es-ES" sz="1200" b="1" dirty="0">
                <a:solidFill>
                  <a:schemeClr val="accent1"/>
                </a:solidFill>
              </a:rPr>
              <a:t>Otros puntos importantes</a:t>
            </a:r>
            <a:r>
              <a:rPr lang="es-ES" sz="1200" baseline="30000" dirty="0">
                <a:solidFill>
                  <a:schemeClr val="accent1"/>
                </a:solidFill>
              </a:rPr>
              <a:t>1,2</a:t>
            </a:r>
            <a:r>
              <a:rPr lang="es-ES" sz="1200" b="1" dirty="0">
                <a:solidFill>
                  <a:schemeClr val="accent1"/>
                </a:solidFill>
              </a:rPr>
              <a:t>:</a:t>
            </a:r>
            <a:r>
              <a:rPr lang="es-ES" sz="1200" dirty="0">
                <a:solidFill>
                  <a:schemeClr val="accent1"/>
                </a:solidFill>
              </a:rPr>
              <a:t> </a:t>
            </a:r>
          </a:p>
          <a:p>
            <a:pPr marL="628650" lvl="1" indent="-171450" algn="just">
              <a:buFont typeface="Courier New" panose="02070309020205020404" pitchFamily="49" charset="0"/>
              <a:buChar char="o"/>
            </a:pPr>
            <a:r>
              <a:rPr lang="es-ES" sz="1200" dirty="0">
                <a:solidFill>
                  <a:schemeClr val="accent1"/>
                </a:solidFill>
              </a:rPr>
              <a:t>Uso de sal enriquecida con K</a:t>
            </a:r>
            <a:r>
              <a:rPr lang="es-ES" sz="1200" baseline="30000" dirty="0">
                <a:solidFill>
                  <a:schemeClr val="accent1"/>
                </a:solidFill>
              </a:rPr>
              <a:t>+</a:t>
            </a:r>
            <a:r>
              <a:rPr lang="es-ES" sz="1200" dirty="0">
                <a:solidFill>
                  <a:schemeClr val="accent1"/>
                </a:solidFill>
              </a:rPr>
              <a:t>.</a:t>
            </a:r>
          </a:p>
          <a:p>
            <a:pPr marL="628650" lvl="1" indent="-171450" algn="just">
              <a:buFont typeface="Courier New" panose="02070309020205020404" pitchFamily="49" charset="0"/>
              <a:buChar char="o"/>
            </a:pPr>
            <a:r>
              <a:rPr lang="es-ES" sz="1200" dirty="0">
                <a:solidFill>
                  <a:schemeClr val="accent1"/>
                </a:solidFill>
              </a:rPr>
              <a:t>Uso de inhibidores SGLT2 para pacientes con ERC e insuficiencia cardiaca.</a:t>
            </a:r>
          </a:p>
          <a:p>
            <a:pPr marL="628650" lvl="1" indent="-171450" algn="just">
              <a:buFont typeface="Courier New" panose="02070309020205020404" pitchFamily="49" charset="0"/>
              <a:buChar char="o"/>
            </a:pPr>
            <a:r>
              <a:rPr lang="es-ES" sz="1200" dirty="0">
                <a:solidFill>
                  <a:schemeClr val="accent1"/>
                </a:solidFill>
              </a:rPr>
              <a:t>Denervación renal como tratamiento complementario para la hipertensión resistente o no controlada en pacientes de alto riesgo cardiovascular.</a:t>
            </a:r>
          </a:p>
        </p:txBody>
      </p:sp>
      <p:pic>
        <p:nvPicPr>
          <p:cNvPr id="3" name="Imagen 2">
            <a:extLst>
              <a:ext uri="{FF2B5EF4-FFF2-40B4-BE49-F238E27FC236}">
                <a16:creationId xmlns:a16="http://schemas.microsoft.com/office/drawing/2014/main" id="{47472B03-BAD1-4863-E6EF-EE2D1B9195E9}"/>
              </a:ext>
            </a:extLst>
          </p:cNvPr>
          <p:cNvPicPr>
            <a:picLocks noChangeAspect="1"/>
          </p:cNvPicPr>
          <p:nvPr/>
        </p:nvPicPr>
        <p:blipFill>
          <a:blip r:embed="rId4"/>
          <a:stretch>
            <a:fillRect/>
          </a:stretch>
        </p:blipFill>
        <p:spPr>
          <a:xfrm>
            <a:off x="8680403" y="3622738"/>
            <a:ext cx="3272415" cy="2551512"/>
          </a:xfrm>
          <a:prstGeom prst="rect">
            <a:avLst/>
          </a:prstGeom>
        </p:spPr>
      </p:pic>
      <p:pic>
        <p:nvPicPr>
          <p:cNvPr id="10" name="Imagen 9">
            <a:extLst>
              <a:ext uri="{FF2B5EF4-FFF2-40B4-BE49-F238E27FC236}">
                <a16:creationId xmlns:a16="http://schemas.microsoft.com/office/drawing/2014/main" id="{2230D834-EBF2-C113-CD74-C1DF4AD34D4B}"/>
              </a:ext>
            </a:extLst>
          </p:cNvPr>
          <p:cNvPicPr>
            <a:picLocks noChangeAspect="1"/>
          </p:cNvPicPr>
          <p:nvPr/>
        </p:nvPicPr>
        <p:blipFill>
          <a:blip r:embed="rId5"/>
          <a:srcRect l="5825"/>
          <a:stretch/>
        </p:blipFill>
        <p:spPr>
          <a:xfrm>
            <a:off x="8541681" y="871313"/>
            <a:ext cx="3488164" cy="2551512"/>
          </a:xfrm>
          <a:prstGeom prst="rect">
            <a:avLst/>
          </a:prstGeom>
        </p:spPr>
      </p:pic>
      <p:sp>
        <p:nvSpPr>
          <p:cNvPr id="16" name="CuadroTexto 15">
            <a:extLst>
              <a:ext uri="{FF2B5EF4-FFF2-40B4-BE49-F238E27FC236}">
                <a16:creationId xmlns:a16="http://schemas.microsoft.com/office/drawing/2014/main" id="{2A877599-E626-0607-10C4-16C3FC18C9DE}"/>
              </a:ext>
            </a:extLst>
          </p:cNvPr>
          <p:cNvSpPr txBox="1"/>
          <p:nvPr/>
        </p:nvSpPr>
        <p:spPr>
          <a:xfrm>
            <a:off x="1488227" y="5951945"/>
            <a:ext cx="6108404" cy="523220"/>
          </a:xfrm>
          <a:prstGeom prst="rect">
            <a:avLst/>
          </a:prstGeom>
          <a:noFill/>
        </p:spPr>
        <p:txBody>
          <a:bodyPr wrap="square" rtlCol="0">
            <a:spAutoFit/>
          </a:bodyPr>
          <a:lstStyle>
            <a:defPPr>
              <a:defRPr lang="es-ES"/>
            </a:defPPr>
            <a:lvl1pPr algn="ctr">
              <a:defRPr sz="700" b="0" i="1">
                <a:solidFill>
                  <a:schemeClr val="accent1"/>
                </a:solidFill>
                <a:effectLst/>
              </a:defRPr>
            </a:lvl1pPr>
          </a:lstStyle>
          <a:p>
            <a:r>
              <a:rPr lang="es-ES" dirty="0"/>
              <a:t>1. </a:t>
            </a:r>
            <a:r>
              <a:rPr lang="es-ES" dirty="0" err="1"/>
              <a:t>Mancia</a:t>
            </a:r>
            <a:r>
              <a:rPr lang="es-ES" dirty="0"/>
              <a:t> G, et al. 2023 ESH </a:t>
            </a:r>
            <a:r>
              <a:rPr lang="es-ES" dirty="0" err="1"/>
              <a:t>Guidelines</a:t>
            </a:r>
            <a:r>
              <a:rPr lang="es-ES" dirty="0"/>
              <a:t> </a:t>
            </a:r>
            <a:r>
              <a:rPr lang="es-ES" dirty="0" err="1"/>
              <a:t>for</a:t>
            </a:r>
            <a:r>
              <a:rPr lang="es-ES" dirty="0"/>
              <a:t> </a:t>
            </a:r>
            <a:r>
              <a:rPr lang="es-ES" dirty="0" err="1"/>
              <a:t>the</a:t>
            </a:r>
            <a:r>
              <a:rPr lang="es-ES" dirty="0"/>
              <a:t> </a:t>
            </a:r>
            <a:r>
              <a:rPr lang="es-ES" dirty="0" err="1"/>
              <a:t>management</a:t>
            </a:r>
            <a:r>
              <a:rPr lang="es-ES" dirty="0"/>
              <a:t> </a:t>
            </a:r>
            <a:r>
              <a:rPr lang="es-ES" dirty="0" err="1"/>
              <a:t>of</a:t>
            </a:r>
            <a:r>
              <a:rPr lang="es-ES" dirty="0"/>
              <a:t> arterial </a:t>
            </a:r>
            <a:r>
              <a:rPr lang="es-ES" dirty="0" err="1"/>
              <a:t>hypertension</a:t>
            </a:r>
            <a:r>
              <a:rPr lang="es-ES" dirty="0"/>
              <a:t> </a:t>
            </a:r>
            <a:r>
              <a:rPr lang="es-ES" dirty="0" err="1"/>
              <a:t>The</a:t>
            </a:r>
            <a:r>
              <a:rPr lang="es-ES" dirty="0"/>
              <a:t> </a:t>
            </a:r>
            <a:r>
              <a:rPr lang="es-ES" dirty="0" err="1"/>
              <a:t>Task</a:t>
            </a:r>
            <a:r>
              <a:rPr lang="es-ES" dirty="0"/>
              <a:t> </a:t>
            </a:r>
            <a:r>
              <a:rPr lang="es-ES" dirty="0" err="1"/>
              <a:t>Force</a:t>
            </a:r>
            <a:r>
              <a:rPr lang="es-ES" dirty="0"/>
              <a:t> </a:t>
            </a:r>
            <a:r>
              <a:rPr lang="es-ES" dirty="0" err="1"/>
              <a:t>for</a:t>
            </a:r>
            <a:r>
              <a:rPr lang="es-ES" dirty="0"/>
              <a:t> </a:t>
            </a:r>
            <a:r>
              <a:rPr lang="es-ES" dirty="0" err="1"/>
              <a:t>the</a:t>
            </a:r>
            <a:r>
              <a:rPr lang="es-ES" dirty="0"/>
              <a:t> </a:t>
            </a:r>
            <a:r>
              <a:rPr lang="es-ES" dirty="0" err="1"/>
              <a:t>management</a:t>
            </a:r>
            <a:r>
              <a:rPr lang="es-ES" dirty="0"/>
              <a:t> </a:t>
            </a:r>
            <a:r>
              <a:rPr lang="es-ES" dirty="0" err="1"/>
              <a:t>of</a:t>
            </a:r>
            <a:r>
              <a:rPr lang="es-ES" dirty="0"/>
              <a:t> arterial </a:t>
            </a:r>
            <a:r>
              <a:rPr lang="es-ES" dirty="0" err="1"/>
              <a:t>hypertension</a:t>
            </a:r>
            <a:r>
              <a:rPr lang="es-ES" dirty="0"/>
              <a:t> </a:t>
            </a:r>
            <a:r>
              <a:rPr lang="es-ES" dirty="0" err="1"/>
              <a:t>of</a:t>
            </a:r>
            <a:r>
              <a:rPr lang="es-ES" dirty="0"/>
              <a:t> </a:t>
            </a:r>
            <a:r>
              <a:rPr lang="es-ES" dirty="0" err="1"/>
              <a:t>the</a:t>
            </a:r>
            <a:r>
              <a:rPr lang="es-ES" dirty="0"/>
              <a:t> </a:t>
            </a:r>
            <a:r>
              <a:rPr lang="es-ES" dirty="0" err="1"/>
              <a:t>European</a:t>
            </a:r>
            <a:r>
              <a:rPr lang="es-ES" dirty="0"/>
              <a:t> </a:t>
            </a:r>
            <a:r>
              <a:rPr lang="es-ES" dirty="0" err="1"/>
              <a:t>Society</a:t>
            </a:r>
            <a:r>
              <a:rPr lang="es-ES" dirty="0"/>
              <a:t> </a:t>
            </a:r>
            <a:r>
              <a:rPr lang="es-ES" dirty="0" err="1"/>
              <a:t>of</a:t>
            </a:r>
            <a:r>
              <a:rPr lang="es-ES" dirty="0"/>
              <a:t> </a:t>
            </a:r>
            <a:r>
              <a:rPr lang="es-ES" dirty="0" err="1"/>
              <a:t>Hypertension</a:t>
            </a:r>
            <a:r>
              <a:rPr lang="es-ES" dirty="0"/>
              <a:t>. J </a:t>
            </a:r>
            <a:r>
              <a:rPr lang="es-ES" dirty="0" err="1"/>
              <a:t>Hypertens</a:t>
            </a:r>
            <a:r>
              <a:rPr lang="es-ES" dirty="0"/>
              <a:t>. 2023 </a:t>
            </a:r>
            <a:r>
              <a:rPr lang="es-ES" dirty="0" err="1"/>
              <a:t>Dec</a:t>
            </a:r>
            <a:r>
              <a:rPr lang="es-ES" dirty="0"/>
              <a:t> 1;41(12):1874-2071. </a:t>
            </a:r>
            <a:r>
              <a:rPr lang="es-ES" dirty="0" err="1"/>
              <a:t>doi</a:t>
            </a:r>
            <a:r>
              <a:rPr lang="es-ES" dirty="0"/>
              <a:t>: 10.1097/HJH.0000000000003480. 2. </a:t>
            </a:r>
            <a:r>
              <a:rPr lang="en-US" dirty="0"/>
              <a:t>McEvoy JW, et al. 2024 ESC Guidelines for the management of elevated blood pressure and hypertension. </a:t>
            </a:r>
            <a:r>
              <a:rPr lang="en-US" dirty="0" err="1"/>
              <a:t>Eur</a:t>
            </a:r>
            <a:r>
              <a:rPr lang="en-US" dirty="0"/>
              <a:t> Heart J. 2024 Oct 7;45(38):3912-4018. </a:t>
            </a:r>
            <a:r>
              <a:rPr lang="en-US" dirty="0" err="1"/>
              <a:t>doi</a:t>
            </a:r>
            <a:r>
              <a:rPr lang="en-US" dirty="0"/>
              <a:t>: 10.1093/</a:t>
            </a:r>
            <a:r>
              <a:rPr lang="en-US" dirty="0" err="1"/>
              <a:t>eurheartj</a:t>
            </a:r>
            <a:r>
              <a:rPr lang="en-US" dirty="0"/>
              <a:t>/ehae178.</a:t>
            </a:r>
            <a:endParaRPr lang="es-ES" dirty="0"/>
          </a:p>
        </p:txBody>
      </p:sp>
      <p:sp>
        <p:nvSpPr>
          <p:cNvPr id="5" name="CuadroTexto 4">
            <a:extLst>
              <a:ext uri="{FF2B5EF4-FFF2-40B4-BE49-F238E27FC236}">
                <a16:creationId xmlns:a16="http://schemas.microsoft.com/office/drawing/2014/main" id="{35751216-46F6-BDFB-B704-23BCC503ACE2}"/>
              </a:ext>
            </a:extLst>
          </p:cNvPr>
          <p:cNvSpPr txBox="1"/>
          <p:nvPr/>
        </p:nvSpPr>
        <p:spPr>
          <a:xfrm rot="16200000">
            <a:off x="10717235" y="2349846"/>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30768182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E21428-EF49-DEC4-6A53-0ECD849FE2A3}"/>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890C391D-4940-2648-AF92-08753DC6FCFC}"/>
              </a:ext>
            </a:extLst>
          </p:cNvPr>
          <p:cNvSpPr>
            <a:spLocks noGrp="1"/>
          </p:cNvSpPr>
          <p:nvPr>
            <p:ph type="body" sz="quarter" idx="24"/>
          </p:nvPr>
        </p:nvSpPr>
        <p:spPr/>
        <p:txBody>
          <a:bodyPr/>
          <a:lstStyle/>
          <a:p>
            <a:endParaRPr lang="es-ES" dirty="0"/>
          </a:p>
        </p:txBody>
      </p:sp>
      <p:sp>
        <p:nvSpPr>
          <p:cNvPr id="6" name="Marcador de número de diapositiva 5">
            <a:extLst>
              <a:ext uri="{FF2B5EF4-FFF2-40B4-BE49-F238E27FC236}">
                <a16:creationId xmlns:a16="http://schemas.microsoft.com/office/drawing/2014/main" id="{34CE8B1E-A7EF-725C-388D-6FC3F57C63BD}"/>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sp>
        <p:nvSpPr>
          <p:cNvPr id="12" name="6 CuadroTexto">
            <a:extLst>
              <a:ext uri="{FF2B5EF4-FFF2-40B4-BE49-F238E27FC236}">
                <a16:creationId xmlns:a16="http://schemas.microsoft.com/office/drawing/2014/main" id="{B33106B6-A2D3-EBCE-2A3C-2AC88D326E75}"/>
              </a:ext>
            </a:extLst>
          </p:cNvPr>
          <p:cNvSpPr txBox="1"/>
          <p:nvPr/>
        </p:nvSpPr>
        <p:spPr>
          <a:xfrm>
            <a:off x="7964489" y="3517218"/>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2" name="Imagen 1">
            <a:extLst>
              <a:ext uri="{FF2B5EF4-FFF2-40B4-BE49-F238E27FC236}">
                <a16:creationId xmlns:a16="http://schemas.microsoft.com/office/drawing/2014/main" id="{99291905-C997-C5D2-1A5B-C2416347C5F3}"/>
              </a:ext>
            </a:extLst>
          </p:cNvPr>
          <p:cNvPicPr>
            <a:picLocks noChangeAspect="1"/>
          </p:cNvPicPr>
          <p:nvPr/>
        </p:nvPicPr>
        <p:blipFill>
          <a:blip r:embed="rId3"/>
          <a:stretch>
            <a:fillRect/>
          </a:stretch>
        </p:blipFill>
        <p:spPr>
          <a:xfrm>
            <a:off x="11075589" y="335923"/>
            <a:ext cx="877230" cy="301800"/>
          </a:xfrm>
          <a:prstGeom prst="rect">
            <a:avLst/>
          </a:prstGeom>
        </p:spPr>
      </p:pic>
      <p:sp>
        <p:nvSpPr>
          <p:cNvPr id="9" name="Título 3">
            <a:extLst>
              <a:ext uri="{FF2B5EF4-FFF2-40B4-BE49-F238E27FC236}">
                <a16:creationId xmlns:a16="http://schemas.microsoft.com/office/drawing/2014/main" id="{A80B324D-376E-3D12-08F8-29D0D9199C27}"/>
              </a:ext>
            </a:extLst>
          </p:cNvPr>
          <p:cNvSpPr txBox="1">
            <a:spLocks/>
          </p:cNvSpPr>
          <p:nvPr/>
        </p:nvSpPr>
        <p:spPr>
          <a:xfrm>
            <a:off x="1116411" y="335923"/>
            <a:ext cx="10161188" cy="414173"/>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_tradnl" sz="2800" dirty="0"/>
              <a:t>Resumen de las principales recomendaciones de la guía ESC</a:t>
            </a:r>
            <a:endParaRPr lang="es-ES" sz="2800" dirty="0"/>
          </a:p>
        </p:txBody>
      </p:sp>
      <p:sp>
        <p:nvSpPr>
          <p:cNvPr id="11" name="CuadroTexto 10">
            <a:extLst>
              <a:ext uri="{FF2B5EF4-FFF2-40B4-BE49-F238E27FC236}">
                <a16:creationId xmlns:a16="http://schemas.microsoft.com/office/drawing/2014/main" id="{F9908912-D439-B1E6-F765-43482209980C}"/>
              </a:ext>
            </a:extLst>
          </p:cNvPr>
          <p:cNvSpPr txBox="1"/>
          <p:nvPr/>
        </p:nvSpPr>
        <p:spPr>
          <a:xfrm>
            <a:off x="2129813" y="978061"/>
            <a:ext cx="7101899" cy="5078313"/>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srgbClr val="002855"/>
                </a:solidFill>
                <a:effectLst/>
                <a:uLnTx/>
                <a:uFillTx/>
                <a:latin typeface="Arial"/>
                <a:ea typeface="+mn-ea"/>
                <a:cs typeface="+mn-cs"/>
              </a:rPr>
              <a:t>Repasemos algunas de las </a:t>
            </a:r>
            <a:r>
              <a:rPr kumimoji="0" lang="es-ES" sz="1200" b="1" i="0" u="none" strike="noStrike" kern="1200" cap="none" spc="0" normalizeH="0" baseline="0" noProof="0" dirty="0">
                <a:ln>
                  <a:noFill/>
                </a:ln>
                <a:solidFill>
                  <a:srgbClr val="002855"/>
                </a:solidFill>
                <a:effectLst/>
                <a:uLnTx/>
                <a:uFillTx/>
                <a:latin typeface="Arial"/>
                <a:ea typeface="+mn-ea"/>
                <a:cs typeface="+mn-cs"/>
              </a:rPr>
              <a:t>principales recomendaciones de las nuevas directrices del ESC</a:t>
            </a:r>
            <a:r>
              <a:rPr kumimoji="0" lang="es-ES" sz="1200" b="1" i="0" u="none" strike="noStrike" kern="1200" cap="none" spc="0" normalizeH="0" baseline="30000" noProof="0" dirty="0">
                <a:ln>
                  <a:noFill/>
                </a:ln>
                <a:solidFill>
                  <a:srgbClr val="002855"/>
                </a:solidFill>
                <a:effectLst/>
                <a:uLnTx/>
                <a:uFillTx/>
                <a:latin typeface="Arial"/>
                <a:ea typeface="+mn-ea"/>
                <a:cs typeface="+mn-cs"/>
              </a:rPr>
              <a:t>1</a:t>
            </a:r>
            <a:r>
              <a:rPr kumimoji="0" lang="es-ES" sz="1200" b="1" i="0" u="none" strike="noStrike" kern="1200" cap="none" spc="0" normalizeH="0" baseline="0" noProof="0" dirty="0">
                <a:ln>
                  <a:noFill/>
                </a:ln>
                <a:solidFill>
                  <a:srgbClr val="002855"/>
                </a:solidFill>
                <a:effectLst/>
                <a:uLnTx/>
                <a:uFillTx/>
                <a:latin typeface="Arial"/>
                <a:ea typeface="+mn-ea"/>
                <a:cs typeface="+mn-cs"/>
              </a:rPr>
              <a:t>:</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ES" sz="1200" b="0" i="0" u="none" strike="noStrike" kern="1200" cap="none" spc="0" normalizeH="0" baseline="0" noProof="0" dirty="0">
              <a:ln>
                <a:noFill/>
              </a:ln>
              <a:solidFill>
                <a:srgbClr val="002855"/>
              </a:solidFill>
              <a:effectLst/>
              <a:uLnTx/>
              <a:uFillTx/>
              <a:latin typeface="Arial"/>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1200" dirty="0">
              <a:solidFill>
                <a:srgbClr val="002855"/>
              </a:solidFill>
              <a:latin typeface="Arial"/>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1200" dirty="0">
              <a:solidFill>
                <a:srgbClr val="002855"/>
              </a:solidFill>
              <a:latin typeface="Arial"/>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1200" dirty="0">
              <a:solidFill>
                <a:srgbClr val="002855"/>
              </a:solidFill>
              <a:latin typeface="Arial"/>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1200" dirty="0">
              <a:solidFill>
                <a:srgbClr val="002855"/>
              </a:solidFill>
              <a:latin typeface="Arial"/>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1200" dirty="0">
              <a:solidFill>
                <a:srgbClr val="002855"/>
              </a:solidFill>
              <a:latin typeface="Arial"/>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1200" dirty="0">
              <a:solidFill>
                <a:srgbClr val="002855"/>
              </a:solidFill>
              <a:latin typeface="Arial"/>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1200" dirty="0">
              <a:solidFill>
                <a:srgbClr val="002855"/>
              </a:solidFill>
              <a:latin typeface="Arial"/>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1200" dirty="0">
              <a:solidFill>
                <a:srgbClr val="002855"/>
              </a:solidFill>
              <a:latin typeface="Arial"/>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1200" dirty="0">
              <a:solidFill>
                <a:srgbClr val="002855"/>
              </a:solidFill>
              <a:latin typeface="Arial"/>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1200" dirty="0">
              <a:solidFill>
                <a:srgbClr val="002855"/>
              </a:solidFill>
              <a:latin typeface="Arial"/>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1200" dirty="0">
              <a:solidFill>
                <a:srgbClr val="002855"/>
              </a:solidFill>
              <a:latin typeface="Arial"/>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ES" sz="1200" b="0" i="0" u="none" strike="noStrike" kern="1200" cap="none" spc="0" normalizeH="0" baseline="0" noProof="0" dirty="0">
              <a:ln>
                <a:noFill/>
              </a:ln>
              <a:solidFill>
                <a:srgbClr val="002855"/>
              </a:solidFill>
              <a:effectLst/>
              <a:uLnTx/>
              <a:uFillTx/>
              <a:latin typeface="Arial"/>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1200" dirty="0">
              <a:solidFill>
                <a:srgbClr val="002855"/>
              </a:solidFill>
              <a:latin typeface="Arial"/>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ES" sz="1200" b="0" i="0" u="none" strike="noStrike" kern="1200" cap="none" spc="0" normalizeH="0" baseline="0" noProof="0" dirty="0">
              <a:ln>
                <a:noFill/>
              </a:ln>
              <a:solidFill>
                <a:srgbClr val="002855"/>
              </a:solidFill>
              <a:effectLst/>
              <a:uLnTx/>
              <a:uFillTx/>
              <a:latin typeface="Arial"/>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1200" dirty="0">
              <a:solidFill>
                <a:srgbClr val="002855"/>
              </a:solidFill>
              <a:latin typeface="Arial"/>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1200" dirty="0">
              <a:solidFill>
                <a:srgbClr val="002855"/>
              </a:solidFill>
              <a:latin typeface="Arial"/>
            </a:endParaRPr>
          </a:p>
          <a:p>
            <a:pPr marL="171450" indent="-171450" algn="just">
              <a:buFont typeface="Arial" panose="020B0604020202020204" pitchFamily="34" charset="0"/>
              <a:buChar char="•"/>
              <a:defRPr/>
            </a:pPr>
            <a:endParaRPr lang="es-ES" sz="1200" dirty="0">
              <a:solidFill>
                <a:schemeClr val="accent1"/>
              </a:solidFill>
              <a:sym typeface="Wingdings" panose="05000000000000000000" pitchFamily="2" charset="2"/>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ES" sz="1200" b="0" i="0" u="none" strike="noStrike" kern="1200" cap="none" spc="0" normalizeH="0" baseline="0" noProof="0" dirty="0">
              <a:ln>
                <a:noFill/>
              </a:ln>
              <a:solidFill>
                <a:srgbClr val="002855"/>
              </a:solidFill>
              <a:effectLst/>
              <a:uLnTx/>
              <a:uFillTx/>
              <a:latin typeface="Arial"/>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1200" dirty="0">
              <a:solidFill>
                <a:srgbClr val="002855"/>
              </a:solidFill>
              <a:latin typeface="Arial"/>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ES" sz="1200" b="0" i="0" u="none" strike="noStrike" kern="1200" cap="none" spc="0" normalizeH="0" baseline="0" noProof="0" dirty="0">
              <a:ln>
                <a:noFill/>
              </a:ln>
              <a:solidFill>
                <a:srgbClr val="002855"/>
              </a:solidFill>
              <a:effectLst/>
              <a:uLnTx/>
              <a:uFillTx/>
              <a:latin typeface="Arial"/>
              <a:ea typeface="+mn-ea"/>
              <a:cs typeface="+mn-cs"/>
            </a:endParaRPr>
          </a:p>
          <a:p>
            <a:pPr marL="171450" indent="-171450" algn="just">
              <a:buFont typeface="Arial" panose="020B0604020202020204" pitchFamily="34" charset="0"/>
              <a:buChar char="•"/>
              <a:defRPr/>
            </a:pPr>
            <a:endParaRPr lang="es-ES" sz="1200" dirty="0">
              <a:solidFill>
                <a:schemeClr val="accent1"/>
              </a:solidFill>
              <a:sym typeface="Wingdings" panose="05000000000000000000" pitchFamily="2" charset="2"/>
            </a:endParaRPr>
          </a:p>
          <a:p>
            <a:pPr marL="171450" indent="-171450" algn="just">
              <a:buFont typeface="Arial" panose="020B0604020202020204" pitchFamily="34" charset="0"/>
              <a:buChar char="•"/>
              <a:defRPr/>
            </a:pPr>
            <a:endParaRPr kumimoji="0" lang="es-ES" sz="1200" b="0" i="0" u="none" strike="noStrike" kern="1200" cap="none" spc="0" normalizeH="0" baseline="0" noProof="0" dirty="0">
              <a:ln>
                <a:noFill/>
              </a:ln>
              <a:solidFill>
                <a:schemeClr val="accent1"/>
              </a:solidFill>
              <a:effectLst/>
              <a:uLnTx/>
              <a:uFillTx/>
              <a:latin typeface="Arial"/>
              <a:ea typeface="+mn-ea"/>
              <a:cs typeface="+mn-cs"/>
              <a:sym typeface="Wingdings" panose="05000000000000000000" pitchFamily="2" charset="2"/>
            </a:endParaRPr>
          </a:p>
          <a:p>
            <a:pPr marL="171450" indent="-171450" algn="just">
              <a:buFont typeface="Arial" panose="020B0604020202020204" pitchFamily="34" charset="0"/>
              <a:buChar char="•"/>
              <a:defRPr/>
            </a:pPr>
            <a:endParaRPr lang="es-ES" sz="1200" dirty="0">
              <a:solidFill>
                <a:schemeClr val="accent1"/>
              </a:solidFill>
              <a:latin typeface="Arial"/>
              <a:sym typeface="Wingdings" panose="05000000000000000000" pitchFamily="2" charset="2"/>
            </a:endParaRPr>
          </a:p>
          <a:p>
            <a:pPr marL="171450" indent="-171450" algn="just">
              <a:buFont typeface="Arial" panose="020B0604020202020204" pitchFamily="34" charset="0"/>
              <a:buChar char="•"/>
              <a:defRPr/>
            </a:pPr>
            <a:endParaRPr kumimoji="0" lang="es-ES" sz="1200" b="0" i="0" u="none" strike="noStrike" kern="1200" cap="none" spc="0" normalizeH="0" baseline="0" noProof="0" dirty="0">
              <a:ln>
                <a:noFill/>
              </a:ln>
              <a:solidFill>
                <a:schemeClr val="accent1"/>
              </a:solidFill>
              <a:effectLst/>
              <a:uLnTx/>
              <a:uFillTx/>
              <a:latin typeface="Arial"/>
              <a:ea typeface="+mn-ea"/>
              <a:cs typeface="+mn-cs"/>
              <a:sym typeface="Wingdings" panose="05000000000000000000" pitchFamily="2" charset="2"/>
            </a:endParaRPr>
          </a:p>
          <a:p>
            <a:pPr marR="0" lvl="0" algn="just" defTabSz="914400" rtl="0" eaLnBrk="1" fontAlgn="auto" latinLnBrk="0" hangingPunct="1">
              <a:lnSpc>
                <a:spcPct val="100000"/>
              </a:lnSpc>
              <a:spcBef>
                <a:spcPts val="0"/>
              </a:spcBef>
              <a:spcAft>
                <a:spcPts val="0"/>
              </a:spcAft>
              <a:buClrTx/>
              <a:buSzTx/>
              <a:tabLst/>
              <a:defRPr/>
            </a:pPr>
            <a:endParaRPr kumimoji="0" lang="es-ES" sz="1200" b="0" i="0" u="none" strike="noStrike" kern="1200" cap="none" spc="0" normalizeH="0" baseline="0" noProof="0" dirty="0">
              <a:ln>
                <a:noFill/>
              </a:ln>
              <a:solidFill>
                <a:srgbClr val="002855"/>
              </a:solidFill>
              <a:effectLst/>
              <a:uLnTx/>
              <a:uFillTx/>
              <a:latin typeface="Arial"/>
              <a:ea typeface="+mn-ea"/>
              <a:cs typeface="+mn-cs"/>
            </a:endParaRPr>
          </a:p>
        </p:txBody>
      </p:sp>
      <p:sp>
        <p:nvSpPr>
          <p:cNvPr id="8" name="CuadroTexto 7">
            <a:extLst>
              <a:ext uri="{FF2B5EF4-FFF2-40B4-BE49-F238E27FC236}">
                <a16:creationId xmlns:a16="http://schemas.microsoft.com/office/drawing/2014/main" id="{68EA4EC5-D632-9B86-D6A1-0F2455533D75}"/>
              </a:ext>
            </a:extLst>
          </p:cNvPr>
          <p:cNvSpPr txBox="1"/>
          <p:nvPr/>
        </p:nvSpPr>
        <p:spPr>
          <a:xfrm>
            <a:off x="2195403" y="1315031"/>
            <a:ext cx="8456494" cy="276999"/>
          </a:xfrm>
          <a:prstGeom prst="rect">
            <a:avLst/>
          </a:prstGeom>
          <a:solidFill>
            <a:schemeClr val="accent2"/>
          </a:solidFill>
        </p:spPr>
        <p:txBody>
          <a:bodyPr wrap="square">
            <a:spAutoFit/>
          </a:bodyPr>
          <a:lstStyle/>
          <a:p>
            <a:pPr algn="just"/>
            <a:r>
              <a:rPr lang="es-ES" sz="1200" dirty="0">
                <a:solidFill>
                  <a:srgbClr val="002855"/>
                </a:solidFill>
                <a:latin typeface="Arial"/>
              </a:rPr>
              <a:t>El sexo y género se consideran componentes integrales de las directrices.</a:t>
            </a:r>
          </a:p>
        </p:txBody>
      </p:sp>
      <p:sp>
        <p:nvSpPr>
          <p:cNvPr id="10" name="CuadroTexto 9">
            <a:extLst>
              <a:ext uri="{FF2B5EF4-FFF2-40B4-BE49-F238E27FC236}">
                <a16:creationId xmlns:a16="http://schemas.microsoft.com/office/drawing/2014/main" id="{B90B04E7-1A33-7144-860E-994CF2F94654}"/>
              </a:ext>
            </a:extLst>
          </p:cNvPr>
          <p:cNvSpPr txBox="1"/>
          <p:nvPr/>
        </p:nvSpPr>
        <p:spPr>
          <a:xfrm>
            <a:off x="2195403" y="1668049"/>
            <a:ext cx="8456494" cy="276999"/>
          </a:xfrm>
          <a:prstGeom prst="rect">
            <a:avLst/>
          </a:prstGeom>
          <a:solidFill>
            <a:schemeClr val="accent2"/>
          </a:solidFill>
        </p:spPr>
        <p:txBody>
          <a:bodyPr wrap="square">
            <a:spAutoFit/>
          </a:bodyPr>
          <a:lstStyle/>
          <a:p>
            <a:pPr algn="just"/>
            <a:r>
              <a:rPr lang="es-ES" sz="1200" dirty="0">
                <a:solidFill>
                  <a:srgbClr val="002855"/>
                </a:solidFill>
                <a:latin typeface="Arial"/>
              </a:rPr>
              <a:t>Simplificación de las clasificaciones de PA:</a:t>
            </a:r>
          </a:p>
        </p:txBody>
      </p:sp>
      <p:sp>
        <p:nvSpPr>
          <p:cNvPr id="13" name="CuadroTexto 12">
            <a:extLst>
              <a:ext uri="{FF2B5EF4-FFF2-40B4-BE49-F238E27FC236}">
                <a16:creationId xmlns:a16="http://schemas.microsoft.com/office/drawing/2014/main" id="{497CC301-A53E-D36D-FEE6-E840510FC1A6}"/>
              </a:ext>
            </a:extLst>
          </p:cNvPr>
          <p:cNvSpPr txBox="1"/>
          <p:nvPr/>
        </p:nvSpPr>
        <p:spPr>
          <a:xfrm>
            <a:off x="2195403" y="1989938"/>
            <a:ext cx="8461579" cy="261610"/>
          </a:xfrm>
          <a:prstGeom prst="rect">
            <a:avLst/>
          </a:prstGeom>
          <a:solidFill>
            <a:schemeClr val="bg1"/>
          </a:solidFill>
          <a:ln>
            <a:solidFill>
              <a:schemeClr val="accent2"/>
            </a:solidFill>
          </a:ln>
        </p:spPr>
        <p:txBody>
          <a:bodyPr wrap="square">
            <a:spAutoFit/>
          </a:bodyPr>
          <a:lstStyle/>
          <a:p>
            <a:pPr marL="171450" indent="-171450" algn="just">
              <a:buFont typeface="Arial" panose="020B0604020202020204" pitchFamily="34" charset="0"/>
              <a:buChar char="•"/>
            </a:pPr>
            <a:r>
              <a:rPr lang="es-ES" sz="1100" dirty="0">
                <a:solidFill>
                  <a:srgbClr val="002855"/>
                </a:solidFill>
                <a:latin typeface="Arial"/>
              </a:rPr>
              <a:t>PA no elevada: &lt;120/70 </a:t>
            </a:r>
            <a:r>
              <a:rPr lang="es-ES" sz="1100" dirty="0" err="1">
                <a:solidFill>
                  <a:srgbClr val="002855"/>
                </a:solidFill>
                <a:latin typeface="Arial"/>
              </a:rPr>
              <a:t>mmHg</a:t>
            </a:r>
            <a:r>
              <a:rPr lang="es-ES" sz="1100" dirty="0">
                <a:solidFill>
                  <a:srgbClr val="002855"/>
                </a:solidFill>
                <a:latin typeface="Arial"/>
              </a:rPr>
              <a:t>.</a:t>
            </a:r>
          </a:p>
        </p:txBody>
      </p:sp>
      <p:pic>
        <p:nvPicPr>
          <p:cNvPr id="3" name="Imagen 2">
            <a:extLst>
              <a:ext uri="{FF2B5EF4-FFF2-40B4-BE49-F238E27FC236}">
                <a16:creationId xmlns:a16="http://schemas.microsoft.com/office/drawing/2014/main" id="{617CEEDB-1D05-0BB3-92B7-06C969668EC4}"/>
              </a:ext>
            </a:extLst>
          </p:cNvPr>
          <p:cNvPicPr>
            <a:picLocks noChangeAspect="1"/>
          </p:cNvPicPr>
          <p:nvPr/>
        </p:nvPicPr>
        <p:blipFill>
          <a:blip r:embed="rId4"/>
          <a:srcRect b="66297"/>
          <a:stretch/>
        </p:blipFill>
        <p:spPr>
          <a:xfrm>
            <a:off x="9123983" y="6293306"/>
            <a:ext cx="1786420" cy="469446"/>
          </a:xfrm>
          <a:prstGeom prst="rect">
            <a:avLst/>
          </a:prstGeom>
        </p:spPr>
      </p:pic>
      <p:sp>
        <p:nvSpPr>
          <p:cNvPr id="14" name="CuadroTexto 13">
            <a:extLst>
              <a:ext uri="{FF2B5EF4-FFF2-40B4-BE49-F238E27FC236}">
                <a16:creationId xmlns:a16="http://schemas.microsoft.com/office/drawing/2014/main" id="{A711D7D5-0F4E-C577-375E-4B6CDA504E15}"/>
              </a:ext>
            </a:extLst>
          </p:cNvPr>
          <p:cNvSpPr txBox="1"/>
          <p:nvPr/>
        </p:nvSpPr>
        <p:spPr>
          <a:xfrm>
            <a:off x="2195403" y="2316758"/>
            <a:ext cx="8461579" cy="261610"/>
          </a:xfrm>
          <a:prstGeom prst="rect">
            <a:avLst/>
          </a:prstGeom>
          <a:solidFill>
            <a:schemeClr val="bg1"/>
          </a:solidFill>
          <a:ln>
            <a:solidFill>
              <a:schemeClr val="accent2"/>
            </a:solidFill>
          </a:ln>
        </p:spPr>
        <p:txBody>
          <a:bodyPr wrap="square">
            <a:spAutoFit/>
          </a:bodyPr>
          <a:lstStyle/>
          <a:p>
            <a:pPr marL="171450" lvl="1" indent="-171450" algn="just">
              <a:buFont typeface="Arial" panose="020B0604020202020204" pitchFamily="34" charset="0"/>
              <a:buChar char="•"/>
              <a:defRPr/>
            </a:pPr>
            <a:r>
              <a:rPr lang="es-ES" sz="1100" dirty="0">
                <a:solidFill>
                  <a:srgbClr val="002855"/>
                </a:solidFill>
                <a:latin typeface="Arial"/>
              </a:rPr>
              <a:t>PA elevada: 120-139 </a:t>
            </a:r>
            <a:r>
              <a:rPr lang="es-ES" sz="1100" dirty="0" err="1">
                <a:solidFill>
                  <a:srgbClr val="002855"/>
                </a:solidFill>
                <a:latin typeface="Arial"/>
              </a:rPr>
              <a:t>mmHg</a:t>
            </a:r>
            <a:r>
              <a:rPr lang="es-ES" sz="1100" dirty="0">
                <a:solidFill>
                  <a:srgbClr val="002855"/>
                </a:solidFill>
                <a:latin typeface="Arial"/>
              </a:rPr>
              <a:t>/70-89 </a:t>
            </a:r>
            <a:r>
              <a:rPr lang="es-ES" sz="1100" dirty="0" err="1">
                <a:solidFill>
                  <a:srgbClr val="002855"/>
                </a:solidFill>
                <a:latin typeface="Arial"/>
              </a:rPr>
              <a:t>mmHg</a:t>
            </a:r>
            <a:r>
              <a:rPr lang="es-ES" sz="1100" dirty="0">
                <a:solidFill>
                  <a:srgbClr val="002855"/>
                </a:solidFill>
                <a:latin typeface="Arial"/>
              </a:rPr>
              <a:t> </a:t>
            </a:r>
            <a:r>
              <a:rPr lang="es-ES" sz="1100" dirty="0">
                <a:solidFill>
                  <a:srgbClr val="002855"/>
                </a:solidFill>
                <a:latin typeface="Arial"/>
                <a:sym typeface="Wingdings" panose="05000000000000000000" pitchFamily="2" charset="2"/>
              </a:rPr>
              <a:t> NUEVA CATEGORÍA.</a:t>
            </a:r>
            <a:endParaRPr lang="es-ES" sz="1100" dirty="0">
              <a:solidFill>
                <a:srgbClr val="002855"/>
              </a:solidFill>
              <a:latin typeface="Arial"/>
            </a:endParaRPr>
          </a:p>
        </p:txBody>
      </p:sp>
      <p:sp>
        <p:nvSpPr>
          <p:cNvPr id="15" name="CuadroTexto 14">
            <a:extLst>
              <a:ext uri="{FF2B5EF4-FFF2-40B4-BE49-F238E27FC236}">
                <a16:creationId xmlns:a16="http://schemas.microsoft.com/office/drawing/2014/main" id="{FF408A61-5BD0-294E-123E-E3B80CEA6E38}"/>
              </a:ext>
            </a:extLst>
          </p:cNvPr>
          <p:cNvSpPr txBox="1"/>
          <p:nvPr/>
        </p:nvSpPr>
        <p:spPr>
          <a:xfrm>
            <a:off x="2195403" y="2639444"/>
            <a:ext cx="8461579" cy="261610"/>
          </a:xfrm>
          <a:prstGeom prst="rect">
            <a:avLst/>
          </a:prstGeom>
          <a:solidFill>
            <a:schemeClr val="bg1"/>
          </a:solidFill>
          <a:ln>
            <a:solidFill>
              <a:schemeClr val="accent2"/>
            </a:solidFill>
          </a:ln>
        </p:spPr>
        <p:txBody>
          <a:bodyPr wrap="square">
            <a:spAutoFit/>
          </a:bodyPr>
          <a:lstStyle/>
          <a:p>
            <a:pPr marL="171450" lvl="1" indent="-171450" algn="just">
              <a:buFont typeface="Arial" panose="020B0604020202020204" pitchFamily="34" charset="0"/>
              <a:buChar char="•"/>
              <a:defRPr/>
            </a:pPr>
            <a:r>
              <a:rPr lang="es-ES" sz="1100" dirty="0">
                <a:solidFill>
                  <a:srgbClr val="002855"/>
                </a:solidFill>
                <a:latin typeface="Arial"/>
              </a:rPr>
              <a:t>Hipertensión (≥140/90 </a:t>
            </a:r>
            <a:r>
              <a:rPr lang="es-ES" sz="1100" dirty="0" err="1">
                <a:solidFill>
                  <a:srgbClr val="002855"/>
                </a:solidFill>
                <a:latin typeface="Arial"/>
              </a:rPr>
              <a:t>mmHg</a:t>
            </a:r>
            <a:r>
              <a:rPr lang="es-ES" sz="1100" dirty="0">
                <a:solidFill>
                  <a:srgbClr val="002855"/>
                </a:solidFill>
                <a:latin typeface="Arial"/>
              </a:rPr>
              <a:t>).</a:t>
            </a:r>
          </a:p>
        </p:txBody>
      </p:sp>
      <p:sp>
        <p:nvSpPr>
          <p:cNvPr id="16" name="CuadroTexto 15">
            <a:extLst>
              <a:ext uri="{FF2B5EF4-FFF2-40B4-BE49-F238E27FC236}">
                <a16:creationId xmlns:a16="http://schemas.microsoft.com/office/drawing/2014/main" id="{7AD7BC6A-DF45-A3DB-FB30-225F7D1B3C72}"/>
              </a:ext>
            </a:extLst>
          </p:cNvPr>
          <p:cNvSpPr txBox="1"/>
          <p:nvPr/>
        </p:nvSpPr>
        <p:spPr>
          <a:xfrm>
            <a:off x="2195403" y="2995871"/>
            <a:ext cx="8456494" cy="276999"/>
          </a:xfrm>
          <a:prstGeom prst="rect">
            <a:avLst/>
          </a:prstGeom>
          <a:solidFill>
            <a:schemeClr val="accent2"/>
          </a:solidFill>
        </p:spPr>
        <p:txBody>
          <a:bodyPr wrap="square">
            <a:spAutoFit/>
          </a:bodyPr>
          <a:lstStyle/>
          <a:p>
            <a:pPr marR="0" lvl="0" algn="just" defTabSz="914400" rtl="0" eaLnBrk="1" fontAlgn="auto" latinLnBrk="0" hangingPunct="1">
              <a:lnSpc>
                <a:spcPct val="100000"/>
              </a:lnSpc>
              <a:spcBef>
                <a:spcPts val="0"/>
              </a:spcBef>
              <a:spcAft>
                <a:spcPts val="0"/>
              </a:spcAft>
              <a:buClrTx/>
              <a:buSzTx/>
              <a:tabLst/>
              <a:defRPr/>
            </a:pPr>
            <a:r>
              <a:rPr lang="es-ES" sz="1200" dirty="0">
                <a:solidFill>
                  <a:srgbClr val="002855"/>
                </a:solidFill>
                <a:latin typeface="Arial"/>
              </a:rPr>
              <a:t>Estratificación del riesgo cardiovascular en pacientes con PA elevada.</a:t>
            </a:r>
          </a:p>
        </p:txBody>
      </p:sp>
      <p:sp>
        <p:nvSpPr>
          <p:cNvPr id="17" name="CuadroTexto 16">
            <a:extLst>
              <a:ext uri="{FF2B5EF4-FFF2-40B4-BE49-F238E27FC236}">
                <a16:creationId xmlns:a16="http://schemas.microsoft.com/office/drawing/2014/main" id="{85883E1B-E582-01E4-D571-DFE237799B4E}"/>
              </a:ext>
            </a:extLst>
          </p:cNvPr>
          <p:cNvSpPr txBox="1"/>
          <p:nvPr/>
        </p:nvSpPr>
        <p:spPr>
          <a:xfrm>
            <a:off x="2195403" y="3385138"/>
            <a:ext cx="8456494" cy="276999"/>
          </a:xfrm>
          <a:prstGeom prst="rect">
            <a:avLst/>
          </a:prstGeom>
          <a:solidFill>
            <a:schemeClr val="accent2"/>
          </a:solidFill>
        </p:spPr>
        <p:txBody>
          <a:bodyPr wrap="square">
            <a:spAutoFit/>
          </a:bodyPr>
          <a:lstStyle/>
          <a:p>
            <a:pPr marR="0" lvl="0" algn="just" defTabSz="914400" rtl="0" eaLnBrk="1" fontAlgn="auto" latinLnBrk="0" hangingPunct="1">
              <a:lnSpc>
                <a:spcPct val="100000"/>
              </a:lnSpc>
              <a:spcBef>
                <a:spcPts val="0"/>
              </a:spcBef>
              <a:spcAft>
                <a:spcPts val="0"/>
              </a:spcAft>
              <a:buClrTx/>
              <a:buSzTx/>
              <a:tabLst/>
              <a:defRPr/>
            </a:pPr>
            <a:r>
              <a:rPr lang="es-ES" sz="1200" dirty="0">
                <a:solidFill>
                  <a:srgbClr val="002855"/>
                </a:solidFill>
                <a:latin typeface="Arial"/>
              </a:rPr>
              <a:t>Tratamiento farmacológico en pacientes con PA elevada y alto riesgo.</a:t>
            </a:r>
          </a:p>
        </p:txBody>
      </p:sp>
      <p:sp>
        <p:nvSpPr>
          <p:cNvPr id="18" name="CuadroTexto 17">
            <a:extLst>
              <a:ext uri="{FF2B5EF4-FFF2-40B4-BE49-F238E27FC236}">
                <a16:creationId xmlns:a16="http://schemas.microsoft.com/office/drawing/2014/main" id="{0CE64258-770C-59D2-593A-38B97A15AC49}"/>
              </a:ext>
            </a:extLst>
          </p:cNvPr>
          <p:cNvSpPr txBox="1"/>
          <p:nvPr/>
        </p:nvSpPr>
        <p:spPr>
          <a:xfrm>
            <a:off x="2195403" y="3769305"/>
            <a:ext cx="8456494" cy="276999"/>
          </a:xfrm>
          <a:prstGeom prst="rect">
            <a:avLst/>
          </a:prstGeom>
          <a:solidFill>
            <a:schemeClr val="accent2"/>
          </a:solidFill>
        </p:spPr>
        <p:txBody>
          <a:bodyPr wrap="square">
            <a:spAutoFit/>
          </a:bodyPr>
          <a:lstStyle/>
          <a:p>
            <a:pPr algn="just">
              <a:defRPr/>
            </a:pPr>
            <a:r>
              <a:rPr lang="es-ES" sz="1200" dirty="0">
                <a:solidFill>
                  <a:schemeClr val="accent1"/>
                </a:solidFill>
                <a:sym typeface="Wingdings" panose="05000000000000000000" pitchFamily="2" charset="2"/>
              </a:rPr>
              <a:t>Objetivo de PAS de 120-129 </a:t>
            </a:r>
            <a:r>
              <a:rPr lang="es-ES" sz="1200" dirty="0" err="1">
                <a:solidFill>
                  <a:srgbClr val="002855"/>
                </a:solidFill>
                <a:latin typeface="Arial"/>
              </a:rPr>
              <a:t>mmHg</a:t>
            </a:r>
            <a:r>
              <a:rPr lang="es-ES" sz="1200" dirty="0">
                <a:solidFill>
                  <a:schemeClr val="accent1"/>
                </a:solidFill>
                <a:sym typeface="Wingdings" panose="05000000000000000000" pitchFamily="2" charset="2"/>
              </a:rPr>
              <a:t> o “ALARA”.</a:t>
            </a:r>
          </a:p>
        </p:txBody>
      </p:sp>
      <p:sp>
        <p:nvSpPr>
          <p:cNvPr id="19" name="CuadroTexto 18">
            <a:extLst>
              <a:ext uri="{FF2B5EF4-FFF2-40B4-BE49-F238E27FC236}">
                <a16:creationId xmlns:a16="http://schemas.microsoft.com/office/drawing/2014/main" id="{1D3F297B-EC48-3002-716E-8E3058FDA88F}"/>
              </a:ext>
            </a:extLst>
          </p:cNvPr>
          <p:cNvSpPr txBox="1"/>
          <p:nvPr/>
        </p:nvSpPr>
        <p:spPr>
          <a:xfrm>
            <a:off x="2195403" y="4189625"/>
            <a:ext cx="8456494" cy="276999"/>
          </a:xfrm>
          <a:prstGeom prst="rect">
            <a:avLst/>
          </a:prstGeom>
          <a:solidFill>
            <a:schemeClr val="accent2"/>
          </a:solidFill>
        </p:spPr>
        <p:txBody>
          <a:bodyPr wrap="square">
            <a:spAutoFit/>
          </a:bodyPr>
          <a:lstStyle/>
          <a:p>
            <a:pPr algn="just">
              <a:defRPr/>
            </a:pPr>
            <a:r>
              <a:rPr lang="es-ES" sz="1200" dirty="0">
                <a:solidFill>
                  <a:schemeClr val="accent1"/>
                </a:solidFill>
              </a:rPr>
              <a:t>R</a:t>
            </a:r>
            <a:r>
              <a:rPr lang="es-ES" sz="1200" b="0" i="0" u="none" dirty="0">
                <a:solidFill>
                  <a:schemeClr val="accent1"/>
                </a:solidFill>
              </a:rPr>
              <a:t>ecomendaciones más firmes para el uso de mediciones de PA fuera del consultorio. </a:t>
            </a:r>
            <a:endParaRPr lang="es-ES" sz="1200" dirty="0">
              <a:solidFill>
                <a:schemeClr val="accent1"/>
              </a:solidFill>
              <a:sym typeface="Wingdings" panose="05000000000000000000" pitchFamily="2" charset="2"/>
            </a:endParaRPr>
          </a:p>
        </p:txBody>
      </p:sp>
      <p:sp>
        <p:nvSpPr>
          <p:cNvPr id="20" name="CuadroTexto 19">
            <a:extLst>
              <a:ext uri="{FF2B5EF4-FFF2-40B4-BE49-F238E27FC236}">
                <a16:creationId xmlns:a16="http://schemas.microsoft.com/office/drawing/2014/main" id="{2A37A0C8-C540-E27D-5F3B-48B9CC0F747C}"/>
              </a:ext>
            </a:extLst>
          </p:cNvPr>
          <p:cNvSpPr txBox="1"/>
          <p:nvPr/>
        </p:nvSpPr>
        <p:spPr>
          <a:xfrm>
            <a:off x="2195403" y="4589839"/>
            <a:ext cx="8456494" cy="276999"/>
          </a:xfrm>
          <a:prstGeom prst="rect">
            <a:avLst/>
          </a:prstGeom>
          <a:solidFill>
            <a:schemeClr val="accent2"/>
          </a:solidFill>
        </p:spPr>
        <p:txBody>
          <a:bodyPr wrap="square">
            <a:spAutoFit/>
          </a:bodyPr>
          <a:lstStyle/>
          <a:p>
            <a:pPr marR="0" lvl="0" algn="just" defTabSz="914400" rtl="0" eaLnBrk="1" fontAlgn="auto" latinLnBrk="0" hangingPunct="1">
              <a:lnSpc>
                <a:spcPct val="100000"/>
              </a:lnSpc>
              <a:spcBef>
                <a:spcPts val="0"/>
              </a:spcBef>
              <a:spcAft>
                <a:spcPts val="0"/>
              </a:spcAft>
              <a:buClrTx/>
              <a:buSzTx/>
              <a:tabLst/>
              <a:defRPr/>
            </a:pPr>
            <a:r>
              <a:rPr lang="es-ES" sz="1200" dirty="0">
                <a:solidFill>
                  <a:srgbClr val="002855"/>
                </a:solidFill>
                <a:latin typeface="Arial"/>
              </a:rPr>
              <a:t>Terapia combinada triple a dosis bajas como segundo paso, en lugar de aumentar las dosis de la terapia existente.</a:t>
            </a:r>
          </a:p>
        </p:txBody>
      </p:sp>
      <p:sp>
        <p:nvSpPr>
          <p:cNvPr id="21" name="CuadroTexto 20">
            <a:extLst>
              <a:ext uri="{FF2B5EF4-FFF2-40B4-BE49-F238E27FC236}">
                <a16:creationId xmlns:a16="http://schemas.microsoft.com/office/drawing/2014/main" id="{E41D5006-0AB6-561D-93EF-C2B2788441F2}"/>
              </a:ext>
            </a:extLst>
          </p:cNvPr>
          <p:cNvSpPr txBox="1"/>
          <p:nvPr/>
        </p:nvSpPr>
        <p:spPr>
          <a:xfrm>
            <a:off x="2195403" y="4990053"/>
            <a:ext cx="8456494" cy="276999"/>
          </a:xfrm>
          <a:prstGeom prst="rect">
            <a:avLst/>
          </a:prstGeom>
          <a:solidFill>
            <a:schemeClr val="accent2"/>
          </a:solidFill>
        </p:spPr>
        <p:txBody>
          <a:bodyPr wrap="square">
            <a:spAutoFit/>
          </a:bodyPr>
          <a:lstStyle/>
          <a:p>
            <a:pPr algn="just">
              <a:defRPr/>
            </a:pPr>
            <a:r>
              <a:rPr lang="es-ES" sz="1200" dirty="0">
                <a:solidFill>
                  <a:schemeClr val="accent1"/>
                </a:solidFill>
                <a:sym typeface="Wingdings" panose="05000000000000000000" pitchFamily="2" charset="2"/>
              </a:rPr>
              <a:t>Nuevas recomendaciones de tratamiento no farmacológico (K</a:t>
            </a:r>
            <a:r>
              <a:rPr lang="es-ES" sz="1200" baseline="30000" dirty="0">
                <a:solidFill>
                  <a:schemeClr val="accent1"/>
                </a:solidFill>
                <a:sym typeface="Wingdings" panose="05000000000000000000" pitchFamily="2" charset="2"/>
              </a:rPr>
              <a:t>+</a:t>
            </a:r>
            <a:r>
              <a:rPr lang="es-ES" sz="1200" dirty="0">
                <a:solidFill>
                  <a:schemeClr val="accent1"/>
                </a:solidFill>
                <a:sym typeface="Wingdings" panose="05000000000000000000" pitchFamily="2" charset="2"/>
              </a:rPr>
              <a:t>, ejercicio dinámico e isométrico).</a:t>
            </a:r>
          </a:p>
        </p:txBody>
      </p:sp>
      <p:sp>
        <p:nvSpPr>
          <p:cNvPr id="22" name="CuadroTexto 21">
            <a:extLst>
              <a:ext uri="{FF2B5EF4-FFF2-40B4-BE49-F238E27FC236}">
                <a16:creationId xmlns:a16="http://schemas.microsoft.com/office/drawing/2014/main" id="{28E6D7CD-B918-B28A-A384-712CA8F4CB98}"/>
              </a:ext>
            </a:extLst>
          </p:cNvPr>
          <p:cNvSpPr txBox="1"/>
          <p:nvPr/>
        </p:nvSpPr>
        <p:spPr>
          <a:xfrm>
            <a:off x="2195403" y="5404307"/>
            <a:ext cx="8456494" cy="276999"/>
          </a:xfrm>
          <a:prstGeom prst="rect">
            <a:avLst/>
          </a:prstGeom>
          <a:solidFill>
            <a:schemeClr val="accent2"/>
          </a:solidFill>
        </p:spPr>
        <p:txBody>
          <a:bodyPr wrap="square">
            <a:spAutoFit/>
          </a:bodyPr>
          <a:lstStyle/>
          <a:p>
            <a:pPr algn="just">
              <a:defRPr/>
            </a:pPr>
            <a:r>
              <a:rPr kumimoji="0" lang="es-ES" sz="1200" b="0" i="0" u="none" strike="noStrike" kern="1200" cap="none" spc="0" normalizeH="0" baseline="0" noProof="0" dirty="0">
                <a:ln>
                  <a:noFill/>
                </a:ln>
                <a:solidFill>
                  <a:srgbClr val="002855"/>
                </a:solidFill>
                <a:effectLst/>
                <a:uLnTx/>
                <a:uFillTx/>
                <a:latin typeface="Arial"/>
                <a:ea typeface="+mn-ea"/>
                <a:cs typeface="+mn-cs"/>
              </a:rPr>
              <a:t>Recomendaciones para el uso de la denervación renal para el tratamiento de la hipertensión: </a:t>
            </a:r>
          </a:p>
        </p:txBody>
      </p:sp>
      <p:sp>
        <p:nvSpPr>
          <p:cNvPr id="23" name="CuadroTexto 22">
            <a:extLst>
              <a:ext uri="{FF2B5EF4-FFF2-40B4-BE49-F238E27FC236}">
                <a16:creationId xmlns:a16="http://schemas.microsoft.com/office/drawing/2014/main" id="{EA6CAD98-564B-83CE-450D-EB02232FB776}"/>
              </a:ext>
            </a:extLst>
          </p:cNvPr>
          <p:cNvSpPr txBox="1"/>
          <p:nvPr/>
        </p:nvSpPr>
        <p:spPr>
          <a:xfrm>
            <a:off x="2195403" y="5768808"/>
            <a:ext cx="8461579" cy="430887"/>
          </a:xfrm>
          <a:prstGeom prst="rect">
            <a:avLst/>
          </a:prstGeom>
          <a:solidFill>
            <a:schemeClr val="bg1"/>
          </a:solidFill>
          <a:ln>
            <a:solidFill>
              <a:schemeClr val="accent2"/>
            </a:solidFill>
          </a:ln>
        </p:spPr>
        <p:txBody>
          <a:bodyPr wrap="square">
            <a:spAutoFit/>
          </a:bodyPr>
          <a:lstStyle/>
          <a:p>
            <a:pPr marL="171450" indent="-171450" algn="just">
              <a:buFont typeface="Arial" panose="020B0604020202020204" pitchFamily="34" charset="0"/>
              <a:buChar char="•"/>
            </a:pPr>
            <a:r>
              <a:rPr lang="es-ES" sz="1100" dirty="0">
                <a:solidFill>
                  <a:srgbClr val="002855"/>
                </a:solidFill>
                <a:latin typeface="Arial"/>
              </a:rPr>
              <a:t>No recomiendan este procedimiento médico como tratamiento de primera línea, y tampoco se recomienda para pacientes con una función renal muy deteriorada o causas secundarias de hipertensión.</a:t>
            </a:r>
          </a:p>
        </p:txBody>
      </p:sp>
      <p:sp>
        <p:nvSpPr>
          <p:cNvPr id="7" name="CuadroTexto 6">
            <a:extLst>
              <a:ext uri="{FF2B5EF4-FFF2-40B4-BE49-F238E27FC236}">
                <a16:creationId xmlns:a16="http://schemas.microsoft.com/office/drawing/2014/main" id="{BC59D051-6AF2-50F6-754F-0827108A060C}"/>
              </a:ext>
            </a:extLst>
          </p:cNvPr>
          <p:cNvSpPr txBox="1"/>
          <p:nvPr/>
        </p:nvSpPr>
        <p:spPr>
          <a:xfrm>
            <a:off x="2129813" y="6320894"/>
            <a:ext cx="5068997" cy="117414"/>
          </a:xfrm>
          <a:prstGeom prst="rect">
            <a:avLst/>
          </a:prstGeom>
        </p:spPr>
        <p:txBody>
          <a:bodyPr/>
          <a:lstStyle>
            <a:defPPr>
              <a:defRPr lang="es-ES"/>
            </a:defPPr>
            <a:lvl1pPr indent="0" algn="ctr" defTabSz="914377">
              <a:lnSpc>
                <a:spcPct val="90000"/>
              </a:lnSpc>
              <a:spcBef>
                <a:spcPts val="1000"/>
              </a:spcBef>
              <a:buFont typeface="Arial" panose="020B0604020202020204" pitchFamily="34" charset="0"/>
              <a:buNone/>
              <a:defRPr sz="1200">
                <a:solidFill>
                  <a:schemeClr val="accent1"/>
                </a:solidFill>
              </a:defRPr>
            </a:lvl1pPr>
            <a:lvl2pPr marL="685783" indent="-228594" defTabSz="914377">
              <a:lnSpc>
                <a:spcPct val="90000"/>
              </a:lnSpc>
              <a:spcBef>
                <a:spcPts val="500"/>
              </a:spcBef>
              <a:buFont typeface="Arial" panose="020B0604020202020204" pitchFamily="34" charset="0"/>
              <a:buChar char="•"/>
              <a:defRPr sz="2400"/>
            </a:lvl2pPr>
            <a:lvl3pPr marL="1142971" indent="-228594" defTabSz="914377">
              <a:lnSpc>
                <a:spcPct val="90000"/>
              </a:lnSpc>
              <a:spcBef>
                <a:spcPts val="500"/>
              </a:spcBef>
              <a:buFont typeface="Arial" panose="020B0604020202020204" pitchFamily="34" charset="0"/>
              <a:buChar char="•"/>
              <a:defRPr sz="2000"/>
            </a:lvl3pPr>
            <a:lvl4pPr marL="1600160" indent="-228594" defTabSz="914377">
              <a:lnSpc>
                <a:spcPct val="90000"/>
              </a:lnSpc>
              <a:spcBef>
                <a:spcPts val="500"/>
              </a:spcBef>
              <a:buFont typeface="Arial" panose="020B0604020202020204" pitchFamily="34" charset="0"/>
              <a:buChar char="•"/>
            </a:lvl4pPr>
            <a:lvl5pPr marL="2057349" indent="-228594" defTabSz="914377">
              <a:lnSpc>
                <a:spcPct val="90000"/>
              </a:lnSpc>
              <a:spcBef>
                <a:spcPts val="500"/>
              </a:spcBef>
              <a:buFont typeface="Arial" panose="020B0604020202020204" pitchFamily="34" charset="0"/>
              <a:buChar cha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r>
              <a:rPr lang="es-ES" dirty="0"/>
              <a:t>Guía ESC 2024 Presión arterial elevada e Hipertensión arterial</a:t>
            </a:r>
          </a:p>
        </p:txBody>
      </p:sp>
      <p:sp>
        <p:nvSpPr>
          <p:cNvPr id="25" name="CuadroTexto 24">
            <a:extLst>
              <a:ext uri="{FF2B5EF4-FFF2-40B4-BE49-F238E27FC236}">
                <a16:creationId xmlns:a16="http://schemas.microsoft.com/office/drawing/2014/main" id="{2B74B176-8493-B1E6-0017-5F83A3477443}"/>
              </a:ext>
            </a:extLst>
          </p:cNvPr>
          <p:cNvSpPr txBox="1"/>
          <p:nvPr/>
        </p:nvSpPr>
        <p:spPr>
          <a:xfrm>
            <a:off x="1116411" y="6593492"/>
            <a:ext cx="8172512" cy="200055"/>
          </a:xfrm>
          <a:prstGeom prst="rect">
            <a:avLst/>
          </a:prstGeom>
          <a:noFill/>
        </p:spPr>
        <p:txBody>
          <a:bodyPr wrap="square" rtlCol="0">
            <a:spAutoFit/>
          </a:bodyPr>
          <a:lstStyle>
            <a:defPPr>
              <a:defRPr lang="es-ES"/>
            </a:defPPr>
            <a:lvl1pPr>
              <a:defRPr sz="700" b="0" i="1">
                <a:solidFill>
                  <a:schemeClr val="accent1"/>
                </a:solidFill>
                <a:effectLst/>
              </a:defRPr>
            </a:lvl1pPr>
          </a:lstStyle>
          <a:p>
            <a:pPr algn="ctr"/>
            <a:r>
              <a:rPr lang="en-US" dirty="0"/>
              <a:t>1. McEvoy JW, et al. 2024 ESC Guidelines for the management of elevated blood pressure and hypertension. </a:t>
            </a:r>
            <a:r>
              <a:rPr lang="en-US" dirty="0" err="1"/>
              <a:t>Eur</a:t>
            </a:r>
            <a:r>
              <a:rPr lang="en-US" dirty="0"/>
              <a:t> Heart J. 2024 Oct 7;45(38):3912-4018. </a:t>
            </a:r>
            <a:r>
              <a:rPr lang="en-US" dirty="0" err="1"/>
              <a:t>doi</a:t>
            </a:r>
            <a:r>
              <a:rPr lang="en-US" dirty="0"/>
              <a:t>: 10.1093/</a:t>
            </a:r>
            <a:r>
              <a:rPr lang="en-US" dirty="0" err="1"/>
              <a:t>eurheartj</a:t>
            </a:r>
            <a:r>
              <a:rPr lang="en-US" dirty="0"/>
              <a:t>/ehae178.</a:t>
            </a:r>
          </a:p>
        </p:txBody>
      </p:sp>
      <p:sp>
        <p:nvSpPr>
          <p:cNvPr id="5" name="CuadroTexto 4">
            <a:extLst>
              <a:ext uri="{FF2B5EF4-FFF2-40B4-BE49-F238E27FC236}">
                <a16:creationId xmlns:a16="http://schemas.microsoft.com/office/drawing/2014/main" id="{F4521D1C-7DCB-9910-6C42-3B4F58CC2EF0}"/>
              </a:ext>
            </a:extLst>
          </p:cNvPr>
          <p:cNvSpPr txBox="1"/>
          <p:nvPr/>
        </p:nvSpPr>
        <p:spPr>
          <a:xfrm rot="16200000">
            <a:off x="10633273" y="3376069"/>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14688055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226D92-A0D6-EB57-240C-E779815D81CB}"/>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id="{B6630993-C56E-DA47-7869-3131D4343BFE}"/>
              </a:ext>
            </a:extLst>
          </p:cNvPr>
          <p:cNvSpPr>
            <a:spLocks noGrp="1"/>
          </p:cNvSpPr>
          <p:nvPr>
            <p:ph type="body" sz="quarter" idx="22"/>
          </p:nvPr>
        </p:nvSpPr>
        <p:spPr/>
        <p:txBody>
          <a:bodyPr/>
          <a:lstStyle/>
          <a:p>
            <a:endParaRPr lang="es-ES" dirty="0"/>
          </a:p>
        </p:txBody>
      </p:sp>
      <p:sp>
        <p:nvSpPr>
          <p:cNvPr id="3" name="Marcador de texto 2">
            <a:extLst>
              <a:ext uri="{FF2B5EF4-FFF2-40B4-BE49-F238E27FC236}">
                <a16:creationId xmlns:a16="http://schemas.microsoft.com/office/drawing/2014/main" id="{8E5962D4-7705-3A41-FD50-0519B172476A}"/>
              </a:ext>
            </a:extLst>
          </p:cNvPr>
          <p:cNvSpPr>
            <a:spLocks noGrp="1"/>
          </p:cNvSpPr>
          <p:nvPr>
            <p:ph type="body" sz="quarter" idx="19"/>
          </p:nvPr>
        </p:nvSpPr>
        <p:spPr/>
        <p:txBody>
          <a:bodyPr/>
          <a:lstStyle/>
          <a:p>
            <a:endParaRPr lang="es-ES"/>
          </a:p>
        </p:txBody>
      </p:sp>
      <p:sp>
        <p:nvSpPr>
          <p:cNvPr id="6" name="Marcador de número de diapositiva 5">
            <a:extLst>
              <a:ext uri="{FF2B5EF4-FFF2-40B4-BE49-F238E27FC236}">
                <a16:creationId xmlns:a16="http://schemas.microsoft.com/office/drawing/2014/main" id="{746D8AC7-917E-C884-179C-CC9485C449E0}"/>
              </a:ext>
            </a:extLst>
          </p:cNvPr>
          <p:cNvSpPr>
            <a:spLocks noGrp="1"/>
          </p:cNvSpPr>
          <p:nvPr>
            <p:ph type="sldNum" sz="quarter" idx="4"/>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a:ln>
                  <a:noFill/>
                </a:ln>
                <a:solidFill>
                  <a:srgbClr val="00F0BE"/>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3</a:t>
            </a:fld>
            <a:endParaRPr kumimoji="0" lang="en-US" sz="933" b="0" i="0" u="none" strike="noStrike" kern="1200" cap="none" spc="0" normalizeH="0" baseline="0" noProof="0">
              <a:ln>
                <a:noFill/>
              </a:ln>
              <a:solidFill>
                <a:srgbClr val="00F0BE"/>
              </a:solidFill>
              <a:effectLst/>
              <a:uLnTx/>
              <a:uFillTx/>
              <a:latin typeface="Arial"/>
              <a:ea typeface="+mn-ea"/>
              <a:cs typeface="+mn-cs"/>
            </a:endParaRPr>
          </a:p>
        </p:txBody>
      </p:sp>
      <p:sp>
        <p:nvSpPr>
          <p:cNvPr id="7" name="Título 3">
            <a:extLst>
              <a:ext uri="{FF2B5EF4-FFF2-40B4-BE49-F238E27FC236}">
                <a16:creationId xmlns:a16="http://schemas.microsoft.com/office/drawing/2014/main" id="{FEFAAD4B-8DD2-BCE5-D563-40D716EDE278}"/>
              </a:ext>
            </a:extLst>
          </p:cNvPr>
          <p:cNvSpPr txBox="1">
            <a:spLocks/>
          </p:cNvSpPr>
          <p:nvPr/>
        </p:nvSpPr>
        <p:spPr>
          <a:xfrm>
            <a:off x="573176" y="1835689"/>
            <a:ext cx="5327649" cy="1469134"/>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pPr algn="ctr"/>
            <a:r>
              <a:rPr lang="es-ES_tradnl" sz="4400" dirty="0"/>
              <a:t>Guías para el manejo de la enfermedad arterial periférica y patología aórtica</a:t>
            </a:r>
            <a:endParaRPr lang="es-ES" sz="4400" dirty="0"/>
          </a:p>
        </p:txBody>
      </p:sp>
      <p:pic>
        <p:nvPicPr>
          <p:cNvPr id="8" name="Imagen 7">
            <a:extLst>
              <a:ext uri="{FF2B5EF4-FFF2-40B4-BE49-F238E27FC236}">
                <a16:creationId xmlns:a16="http://schemas.microsoft.com/office/drawing/2014/main" id="{B2AA4C73-D97D-28E3-C9EB-4F865F2E5CEE}"/>
              </a:ext>
            </a:extLst>
          </p:cNvPr>
          <p:cNvPicPr>
            <a:picLocks noChangeAspect="1"/>
          </p:cNvPicPr>
          <p:nvPr/>
        </p:nvPicPr>
        <p:blipFill>
          <a:blip r:embed="rId3"/>
          <a:stretch>
            <a:fillRect/>
          </a:stretch>
        </p:blipFill>
        <p:spPr>
          <a:xfrm>
            <a:off x="6948986" y="853217"/>
            <a:ext cx="5243014" cy="5151566"/>
          </a:xfrm>
          <a:prstGeom prst="rect">
            <a:avLst/>
          </a:prstGeom>
        </p:spPr>
      </p:pic>
      <p:sp>
        <p:nvSpPr>
          <p:cNvPr id="4" name="CuadroTexto 3">
            <a:extLst>
              <a:ext uri="{FF2B5EF4-FFF2-40B4-BE49-F238E27FC236}">
                <a16:creationId xmlns:a16="http://schemas.microsoft.com/office/drawing/2014/main" id="{D1140D9D-309D-EAB1-DAFC-7EC282B1C9A8}"/>
              </a:ext>
            </a:extLst>
          </p:cNvPr>
          <p:cNvSpPr txBox="1"/>
          <p:nvPr/>
        </p:nvSpPr>
        <p:spPr>
          <a:xfrm>
            <a:off x="2001417" y="6356351"/>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375201877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460D0D-6996-C726-B39C-EE1B8BF9D6D2}"/>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8CD5CBB3-B71D-EC35-0CF7-A89F414B5DD3}"/>
              </a:ext>
            </a:extLst>
          </p:cNvPr>
          <p:cNvSpPr>
            <a:spLocks noGrp="1"/>
          </p:cNvSpPr>
          <p:nvPr>
            <p:ph type="body" sz="quarter" idx="24"/>
          </p:nvPr>
        </p:nvSpPr>
        <p:spPr/>
        <p:txBody>
          <a:bodyPr/>
          <a:lstStyle/>
          <a:p>
            <a:endParaRPr lang="es-ES" dirty="0"/>
          </a:p>
        </p:txBody>
      </p:sp>
      <p:sp>
        <p:nvSpPr>
          <p:cNvPr id="6" name="Marcador de número de diapositiva 5">
            <a:extLst>
              <a:ext uri="{FF2B5EF4-FFF2-40B4-BE49-F238E27FC236}">
                <a16:creationId xmlns:a16="http://schemas.microsoft.com/office/drawing/2014/main" id="{732D16E1-04F0-5949-A761-837C83716926}"/>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pic>
        <p:nvPicPr>
          <p:cNvPr id="2" name="Imagen 1">
            <a:extLst>
              <a:ext uri="{FF2B5EF4-FFF2-40B4-BE49-F238E27FC236}">
                <a16:creationId xmlns:a16="http://schemas.microsoft.com/office/drawing/2014/main" id="{D882776B-8B05-A77D-3938-1B76A97ECFBC}"/>
              </a:ext>
            </a:extLst>
          </p:cNvPr>
          <p:cNvPicPr>
            <a:picLocks noChangeAspect="1"/>
          </p:cNvPicPr>
          <p:nvPr/>
        </p:nvPicPr>
        <p:blipFill>
          <a:blip r:embed="rId3"/>
          <a:stretch>
            <a:fillRect/>
          </a:stretch>
        </p:blipFill>
        <p:spPr>
          <a:xfrm>
            <a:off x="10623775" y="231972"/>
            <a:ext cx="1329043" cy="457240"/>
          </a:xfrm>
          <a:prstGeom prst="rect">
            <a:avLst/>
          </a:prstGeom>
        </p:spPr>
      </p:pic>
      <p:sp>
        <p:nvSpPr>
          <p:cNvPr id="9" name="Título 3">
            <a:extLst>
              <a:ext uri="{FF2B5EF4-FFF2-40B4-BE49-F238E27FC236}">
                <a16:creationId xmlns:a16="http://schemas.microsoft.com/office/drawing/2014/main" id="{9B2BFC7E-3376-AB90-A903-50E24E3B5C1B}"/>
              </a:ext>
            </a:extLst>
          </p:cNvPr>
          <p:cNvSpPr txBox="1">
            <a:spLocks/>
          </p:cNvSpPr>
          <p:nvPr/>
        </p:nvSpPr>
        <p:spPr>
          <a:xfrm>
            <a:off x="1116411" y="222202"/>
            <a:ext cx="8683049" cy="1469134"/>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_tradnl" sz="2800" dirty="0"/>
              <a:t>Definición y factores de riesgo de la enfermedad arterial periférica (EAP)</a:t>
            </a:r>
            <a:endParaRPr lang="es-ES" sz="2800" dirty="0"/>
          </a:p>
        </p:txBody>
      </p:sp>
      <p:pic>
        <p:nvPicPr>
          <p:cNvPr id="7" name="Imagen 6">
            <a:extLst>
              <a:ext uri="{FF2B5EF4-FFF2-40B4-BE49-F238E27FC236}">
                <a16:creationId xmlns:a16="http://schemas.microsoft.com/office/drawing/2014/main" id="{839536CC-4375-E9CE-F9E0-8ACF9C34C973}"/>
              </a:ext>
            </a:extLst>
          </p:cNvPr>
          <p:cNvPicPr>
            <a:picLocks noChangeAspect="1"/>
          </p:cNvPicPr>
          <p:nvPr/>
        </p:nvPicPr>
        <p:blipFill>
          <a:blip r:embed="rId4"/>
          <a:stretch>
            <a:fillRect/>
          </a:stretch>
        </p:blipFill>
        <p:spPr>
          <a:xfrm>
            <a:off x="5517363" y="689212"/>
            <a:ext cx="5303746" cy="5886354"/>
          </a:xfrm>
          <a:prstGeom prst="rect">
            <a:avLst/>
          </a:prstGeom>
        </p:spPr>
      </p:pic>
      <p:sp>
        <p:nvSpPr>
          <p:cNvPr id="11" name="CuadroTexto 10">
            <a:extLst>
              <a:ext uri="{FF2B5EF4-FFF2-40B4-BE49-F238E27FC236}">
                <a16:creationId xmlns:a16="http://schemas.microsoft.com/office/drawing/2014/main" id="{846647BD-6BCB-D69F-EA87-6FF107DB8B8B}"/>
              </a:ext>
            </a:extLst>
          </p:cNvPr>
          <p:cNvSpPr txBox="1"/>
          <p:nvPr/>
        </p:nvSpPr>
        <p:spPr>
          <a:xfrm>
            <a:off x="1116411" y="2102816"/>
            <a:ext cx="4187109" cy="1600438"/>
          </a:xfrm>
          <a:prstGeom prst="rect">
            <a:avLst/>
          </a:prstGeom>
          <a:noFill/>
          <a:ln w="19050">
            <a:solidFill>
              <a:schemeClr val="accent4"/>
            </a:solidFill>
          </a:ln>
        </p:spPr>
        <p:txBody>
          <a:bodyPr wrap="square" rtlCol="0">
            <a:spAutoFit/>
          </a:bodyPr>
          <a:lstStyle>
            <a:defPPr>
              <a:defRPr lang="es-ES"/>
            </a:defPPr>
            <a:lvl1pPr algn="just">
              <a:defRPr sz="1400">
                <a:solidFill>
                  <a:schemeClr val="accent1"/>
                </a:solidFill>
              </a:defRPr>
            </a:lvl1pPr>
          </a:lstStyle>
          <a:p>
            <a:r>
              <a:rPr lang="es-ES" dirty="0"/>
              <a:t>La enfermedad arterial periférica es una afección del </a:t>
            </a:r>
            <a:r>
              <a:rPr lang="es-ES" b="1" dirty="0"/>
              <a:t>flujo sanguíneo </a:t>
            </a:r>
            <a:r>
              <a:rPr lang="es-ES" dirty="0"/>
              <a:t>a las piernas y brazos debida a una </a:t>
            </a:r>
            <a:r>
              <a:rPr lang="es-ES" b="1" dirty="0"/>
              <a:t>ateroesclerosis</a:t>
            </a:r>
            <a:r>
              <a:rPr lang="es-ES" dirty="0"/>
              <a:t> subyacente</a:t>
            </a:r>
            <a:r>
              <a:rPr lang="es-ES" baseline="30000" dirty="0"/>
              <a:t>1</a:t>
            </a:r>
            <a:r>
              <a:rPr lang="es-ES" dirty="0"/>
              <a:t>. </a:t>
            </a:r>
          </a:p>
          <a:p>
            <a:endParaRPr lang="es-ES" dirty="0"/>
          </a:p>
          <a:p>
            <a:r>
              <a:rPr lang="es-ES" dirty="0"/>
              <a:t>El flujo de sangre inadecuado producido por el </a:t>
            </a:r>
            <a:r>
              <a:rPr lang="es-ES" b="1" dirty="0"/>
              <a:t>estrechamiento de las arterias </a:t>
            </a:r>
            <a:r>
              <a:rPr lang="es-ES" dirty="0"/>
              <a:t>puede ocasionar dolor en las piernas al caminar y otros síntomas</a:t>
            </a:r>
            <a:r>
              <a:rPr lang="es-ES" baseline="30000" dirty="0"/>
              <a:t>1</a:t>
            </a:r>
            <a:r>
              <a:rPr lang="es-ES" dirty="0"/>
              <a:t>.</a:t>
            </a:r>
          </a:p>
        </p:txBody>
      </p:sp>
      <p:sp>
        <p:nvSpPr>
          <p:cNvPr id="14" name="CuadroTexto 13">
            <a:extLst>
              <a:ext uri="{FF2B5EF4-FFF2-40B4-BE49-F238E27FC236}">
                <a16:creationId xmlns:a16="http://schemas.microsoft.com/office/drawing/2014/main" id="{B22CE532-0185-485C-5608-9DF17861DEF6}"/>
              </a:ext>
            </a:extLst>
          </p:cNvPr>
          <p:cNvSpPr txBox="1"/>
          <p:nvPr/>
        </p:nvSpPr>
        <p:spPr>
          <a:xfrm>
            <a:off x="1109437" y="4229255"/>
            <a:ext cx="4187109" cy="954107"/>
          </a:xfrm>
          <a:prstGeom prst="rect">
            <a:avLst/>
          </a:prstGeom>
          <a:noFill/>
          <a:ln w="19050">
            <a:solidFill>
              <a:schemeClr val="accent4"/>
            </a:solidFill>
          </a:ln>
        </p:spPr>
        <p:txBody>
          <a:bodyPr wrap="square" rtlCol="0">
            <a:spAutoFit/>
          </a:bodyPr>
          <a:lstStyle>
            <a:defPPr>
              <a:defRPr lang="es-ES"/>
            </a:defPPr>
            <a:lvl1pPr algn="just">
              <a:defRPr sz="1400">
                <a:solidFill>
                  <a:schemeClr val="accent1"/>
                </a:solidFill>
              </a:defRPr>
            </a:lvl1pPr>
          </a:lstStyle>
          <a:p>
            <a:r>
              <a:rPr lang="es-ES" dirty="0"/>
              <a:t>Los factores de riesgo son varios, pueden ser modificables y no modificables, y pueden depender de la presencia de otros factores y situaciones clínicas</a:t>
            </a:r>
            <a:r>
              <a:rPr lang="es-ES" baseline="30000" dirty="0"/>
              <a:t>2</a:t>
            </a:r>
            <a:r>
              <a:rPr lang="es-ES" dirty="0"/>
              <a:t>.</a:t>
            </a:r>
          </a:p>
        </p:txBody>
      </p:sp>
      <p:sp>
        <p:nvSpPr>
          <p:cNvPr id="8" name="CuadroTexto 7">
            <a:extLst>
              <a:ext uri="{FF2B5EF4-FFF2-40B4-BE49-F238E27FC236}">
                <a16:creationId xmlns:a16="http://schemas.microsoft.com/office/drawing/2014/main" id="{6AFAF0AE-9FA1-E54E-C068-1F4911AEF005}"/>
              </a:ext>
            </a:extLst>
          </p:cNvPr>
          <p:cNvSpPr txBox="1"/>
          <p:nvPr/>
        </p:nvSpPr>
        <p:spPr>
          <a:xfrm>
            <a:off x="1116411" y="5859720"/>
            <a:ext cx="4187109" cy="261610"/>
          </a:xfrm>
          <a:prstGeom prst="rect">
            <a:avLst/>
          </a:prstGeom>
          <a:noFill/>
        </p:spPr>
        <p:txBody>
          <a:bodyPr wrap="square">
            <a:spAutoFit/>
          </a:bodyPr>
          <a:lstStyle/>
          <a:p>
            <a:pPr algn="ctr"/>
            <a:r>
              <a:rPr lang="es-ES" sz="1050" dirty="0">
                <a:solidFill>
                  <a:schemeClr val="accent1"/>
                </a:solidFill>
              </a:rPr>
              <a:t>Guía ESC 2024 Enfermedades arteriales periféricas y aórticas</a:t>
            </a:r>
          </a:p>
        </p:txBody>
      </p:sp>
      <p:sp>
        <p:nvSpPr>
          <p:cNvPr id="5" name="CuadroTexto 4">
            <a:extLst>
              <a:ext uri="{FF2B5EF4-FFF2-40B4-BE49-F238E27FC236}">
                <a16:creationId xmlns:a16="http://schemas.microsoft.com/office/drawing/2014/main" id="{196BE5F2-48F7-63B8-7580-44331B5D113C}"/>
              </a:ext>
            </a:extLst>
          </p:cNvPr>
          <p:cNvSpPr txBox="1"/>
          <p:nvPr/>
        </p:nvSpPr>
        <p:spPr>
          <a:xfrm>
            <a:off x="1116411" y="3773373"/>
            <a:ext cx="4180135" cy="307777"/>
          </a:xfrm>
          <a:prstGeom prst="rect">
            <a:avLst/>
          </a:prstGeom>
          <a:noFill/>
        </p:spPr>
        <p:txBody>
          <a:bodyPr wrap="square" rtlCol="0">
            <a:spAutoFit/>
          </a:bodyPr>
          <a:lstStyle>
            <a:defPPr>
              <a:defRPr lang="es-ES"/>
            </a:defPPr>
            <a:lvl1pPr>
              <a:defRPr sz="700" b="0" i="1">
                <a:solidFill>
                  <a:schemeClr val="accent1"/>
                </a:solidFill>
                <a:effectLst/>
              </a:defRPr>
            </a:lvl1pPr>
          </a:lstStyle>
          <a:p>
            <a:pPr algn="ctr"/>
            <a:r>
              <a:rPr lang="es-ES" dirty="0"/>
              <a:t>1. https://www.mayoclinic.org/es/diseases-conditions/peripheral-artery-disease/symptoms-causes/syc-20350557</a:t>
            </a:r>
          </a:p>
        </p:txBody>
      </p:sp>
      <p:sp>
        <p:nvSpPr>
          <p:cNvPr id="15" name="CuadroTexto 14">
            <a:extLst>
              <a:ext uri="{FF2B5EF4-FFF2-40B4-BE49-F238E27FC236}">
                <a16:creationId xmlns:a16="http://schemas.microsoft.com/office/drawing/2014/main" id="{EA92D855-263B-7CF0-BF95-68333EC1A296}"/>
              </a:ext>
            </a:extLst>
          </p:cNvPr>
          <p:cNvSpPr txBox="1"/>
          <p:nvPr/>
        </p:nvSpPr>
        <p:spPr>
          <a:xfrm>
            <a:off x="716605" y="6068153"/>
            <a:ext cx="5004514" cy="307777"/>
          </a:xfrm>
          <a:prstGeom prst="rect">
            <a:avLst/>
          </a:prstGeom>
          <a:noFill/>
        </p:spPr>
        <p:txBody>
          <a:bodyPr wrap="square" rtlCol="0">
            <a:spAutoFit/>
          </a:bodyPr>
          <a:lstStyle>
            <a:defPPr>
              <a:defRPr lang="es-ES"/>
            </a:defPPr>
            <a:lvl1pPr algn="ctr">
              <a:defRPr sz="700" b="0" i="1">
                <a:solidFill>
                  <a:schemeClr val="accent1"/>
                </a:solidFill>
                <a:effectLst/>
              </a:defRPr>
            </a:lvl1pPr>
          </a:lstStyle>
          <a:p>
            <a:r>
              <a:rPr lang="es-ES" dirty="0"/>
              <a:t>2. </a:t>
            </a:r>
            <a:r>
              <a:rPr lang="es-ES" dirty="0" err="1"/>
              <a:t>Mazzolai</a:t>
            </a:r>
            <a:r>
              <a:rPr lang="es-ES" dirty="0"/>
              <a:t> L, et al. 2024 ESC </a:t>
            </a:r>
            <a:r>
              <a:rPr lang="es-ES" dirty="0" err="1"/>
              <a:t>Guidelines</a:t>
            </a:r>
            <a:r>
              <a:rPr lang="es-ES" dirty="0"/>
              <a:t> </a:t>
            </a:r>
            <a:r>
              <a:rPr lang="es-ES" dirty="0" err="1"/>
              <a:t>for</a:t>
            </a:r>
            <a:r>
              <a:rPr lang="es-ES" dirty="0"/>
              <a:t> </a:t>
            </a:r>
            <a:r>
              <a:rPr lang="es-ES" dirty="0" err="1"/>
              <a:t>the</a:t>
            </a:r>
            <a:r>
              <a:rPr lang="es-ES" dirty="0"/>
              <a:t> </a:t>
            </a:r>
            <a:r>
              <a:rPr lang="es-ES" dirty="0" err="1"/>
              <a:t>management</a:t>
            </a:r>
            <a:r>
              <a:rPr lang="es-ES" dirty="0"/>
              <a:t> </a:t>
            </a:r>
            <a:r>
              <a:rPr lang="es-ES" dirty="0" err="1"/>
              <a:t>of</a:t>
            </a:r>
            <a:r>
              <a:rPr lang="es-ES" dirty="0"/>
              <a:t> </a:t>
            </a:r>
            <a:r>
              <a:rPr lang="es-ES" dirty="0" err="1"/>
              <a:t>peripheral</a:t>
            </a:r>
            <a:r>
              <a:rPr lang="es-ES" dirty="0"/>
              <a:t> arterial and </a:t>
            </a:r>
            <a:r>
              <a:rPr lang="es-ES" dirty="0" err="1"/>
              <a:t>aortic</a:t>
            </a:r>
            <a:r>
              <a:rPr lang="es-ES" dirty="0"/>
              <a:t> </a:t>
            </a:r>
            <a:r>
              <a:rPr lang="es-ES" dirty="0" err="1"/>
              <a:t>diseases</a:t>
            </a:r>
            <a:r>
              <a:rPr lang="es-ES" dirty="0"/>
              <a:t>.</a:t>
            </a:r>
          </a:p>
          <a:p>
            <a:r>
              <a:rPr lang="es-ES" dirty="0" err="1"/>
              <a:t>Eur</a:t>
            </a:r>
            <a:r>
              <a:rPr lang="es-ES" dirty="0"/>
              <a:t> Heart J. 2024 </a:t>
            </a:r>
            <a:r>
              <a:rPr lang="es-ES" dirty="0" err="1"/>
              <a:t>Sep</a:t>
            </a:r>
            <a:r>
              <a:rPr lang="es-ES" dirty="0"/>
              <a:t> 29;45(36):3538-3700. </a:t>
            </a:r>
            <a:r>
              <a:rPr lang="es-ES" dirty="0" err="1"/>
              <a:t>doi</a:t>
            </a:r>
            <a:r>
              <a:rPr lang="es-ES" dirty="0"/>
              <a:t>: 10.1093/</a:t>
            </a:r>
            <a:r>
              <a:rPr lang="es-ES" dirty="0" err="1"/>
              <a:t>eurheartj</a:t>
            </a:r>
            <a:r>
              <a:rPr lang="es-ES" dirty="0"/>
              <a:t>/ehae179.</a:t>
            </a:r>
          </a:p>
        </p:txBody>
      </p:sp>
      <p:sp>
        <p:nvSpPr>
          <p:cNvPr id="17" name="CuadroTexto 16">
            <a:extLst>
              <a:ext uri="{FF2B5EF4-FFF2-40B4-BE49-F238E27FC236}">
                <a16:creationId xmlns:a16="http://schemas.microsoft.com/office/drawing/2014/main" id="{6F211878-69D3-A4D7-156E-2F301561A37A}"/>
              </a:ext>
            </a:extLst>
          </p:cNvPr>
          <p:cNvSpPr txBox="1"/>
          <p:nvPr/>
        </p:nvSpPr>
        <p:spPr>
          <a:xfrm>
            <a:off x="8169236" y="6484939"/>
            <a:ext cx="2005315" cy="207565"/>
          </a:xfrm>
          <a:prstGeom prst="rect">
            <a:avLst/>
          </a:prstGeom>
          <a:noFill/>
        </p:spPr>
        <p:txBody>
          <a:bodyPr wrap="square" rtlCol="0">
            <a:spAutoFit/>
          </a:bodyPr>
          <a:lstStyle>
            <a:defPPr>
              <a:defRPr lang="es-ES"/>
            </a:defPPr>
            <a:lvl1pPr algn="ctr">
              <a:defRPr sz="700" b="0" i="1">
                <a:solidFill>
                  <a:schemeClr val="accent1"/>
                </a:solidFill>
                <a:effectLst/>
              </a:defRPr>
            </a:lvl1pPr>
          </a:lstStyle>
          <a:p>
            <a:pPr algn="just"/>
            <a:r>
              <a:rPr lang="es-ES" dirty="0" err="1"/>
              <a:t>Eur</a:t>
            </a:r>
            <a:r>
              <a:rPr lang="es-ES" dirty="0"/>
              <a:t> Heart J. 2024 </a:t>
            </a:r>
            <a:r>
              <a:rPr lang="es-ES" dirty="0" err="1"/>
              <a:t>Sep</a:t>
            </a:r>
            <a:r>
              <a:rPr lang="es-ES" dirty="0"/>
              <a:t> 29;45(36):3538-3700</a:t>
            </a:r>
          </a:p>
        </p:txBody>
      </p:sp>
      <p:sp>
        <p:nvSpPr>
          <p:cNvPr id="3" name="CuadroTexto 2">
            <a:extLst>
              <a:ext uri="{FF2B5EF4-FFF2-40B4-BE49-F238E27FC236}">
                <a16:creationId xmlns:a16="http://schemas.microsoft.com/office/drawing/2014/main" id="{0FEF8D67-A697-C261-FFE0-9BB3C6D22EB4}"/>
              </a:ext>
            </a:extLst>
          </p:cNvPr>
          <p:cNvSpPr txBox="1"/>
          <p:nvPr/>
        </p:nvSpPr>
        <p:spPr>
          <a:xfrm rot="16200000">
            <a:off x="10633273" y="3376069"/>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21588305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064A50-6F69-7C95-54CB-FDA23A754E34}"/>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C9CF1972-1704-4A5B-AD12-DB4DA04C1708}"/>
              </a:ext>
            </a:extLst>
          </p:cNvPr>
          <p:cNvSpPr>
            <a:spLocks noGrp="1"/>
          </p:cNvSpPr>
          <p:nvPr>
            <p:ph type="body" sz="quarter" idx="24"/>
          </p:nvPr>
        </p:nvSpPr>
        <p:spPr/>
        <p:txBody>
          <a:bodyPr/>
          <a:lstStyle/>
          <a:p>
            <a:endParaRPr lang="es-ES" dirty="0"/>
          </a:p>
        </p:txBody>
      </p:sp>
      <p:sp>
        <p:nvSpPr>
          <p:cNvPr id="6" name="Marcador de número de diapositiva 5">
            <a:extLst>
              <a:ext uri="{FF2B5EF4-FFF2-40B4-BE49-F238E27FC236}">
                <a16:creationId xmlns:a16="http://schemas.microsoft.com/office/drawing/2014/main" id="{87DDA295-1030-5DBA-F439-13009AF08BFB}"/>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sp>
        <p:nvSpPr>
          <p:cNvPr id="12" name="6 CuadroTexto">
            <a:extLst>
              <a:ext uri="{FF2B5EF4-FFF2-40B4-BE49-F238E27FC236}">
                <a16:creationId xmlns:a16="http://schemas.microsoft.com/office/drawing/2014/main" id="{CBA3CF48-A0DC-490D-4699-BFD320F3AD07}"/>
              </a:ext>
            </a:extLst>
          </p:cNvPr>
          <p:cNvSpPr txBox="1"/>
          <p:nvPr/>
        </p:nvSpPr>
        <p:spPr>
          <a:xfrm>
            <a:off x="6556313" y="3562763"/>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2" name="Imagen 1">
            <a:extLst>
              <a:ext uri="{FF2B5EF4-FFF2-40B4-BE49-F238E27FC236}">
                <a16:creationId xmlns:a16="http://schemas.microsoft.com/office/drawing/2014/main" id="{0A45D20D-C5A6-192A-D55C-BDBA4DE62B4A}"/>
              </a:ext>
            </a:extLst>
          </p:cNvPr>
          <p:cNvPicPr>
            <a:picLocks noChangeAspect="1"/>
          </p:cNvPicPr>
          <p:nvPr/>
        </p:nvPicPr>
        <p:blipFill>
          <a:blip r:embed="rId3"/>
          <a:stretch>
            <a:fillRect/>
          </a:stretch>
        </p:blipFill>
        <p:spPr>
          <a:xfrm>
            <a:off x="10623775" y="231972"/>
            <a:ext cx="1329043" cy="457240"/>
          </a:xfrm>
          <a:prstGeom prst="rect">
            <a:avLst/>
          </a:prstGeom>
        </p:spPr>
      </p:pic>
      <p:sp>
        <p:nvSpPr>
          <p:cNvPr id="9" name="Título 3">
            <a:extLst>
              <a:ext uri="{FF2B5EF4-FFF2-40B4-BE49-F238E27FC236}">
                <a16:creationId xmlns:a16="http://schemas.microsoft.com/office/drawing/2014/main" id="{6680BD2F-2A70-DCEA-669C-E2771F0CDCDD}"/>
              </a:ext>
            </a:extLst>
          </p:cNvPr>
          <p:cNvSpPr txBox="1">
            <a:spLocks/>
          </p:cNvSpPr>
          <p:nvPr/>
        </p:nvSpPr>
        <p:spPr>
          <a:xfrm>
            <a:off x="1052404" y="267922"/>
            <a:ext cx="5656634" cy="646331"/>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_tradnl" sz="2800" dirty="0"/>
              <a:t>Manejo holístico y multidisciplinario</a:t>
            </a:r>
            <a:endParaRPr lang="es-ES" sz="2800" dirty="0"/>
          </a:p>
        </p:txBody>
      </p:sp>
      <p:sp>
        <p:nvSpPr>
          <p:cNvPr id="11" name="CuadroTexto 10">
            <a:extLst>
              <a:ext uri="{FF2B5EF4-FFF2-40B4-BE49-F238E27FC236}">
                <a16:creationId xmlns:a16="http://schemas.microsoft.com/office/drawing/2014/main" id="{EB60EF93-7901-1CBD-D589-82BED8817ACE}"/>
              </a:ext>
            </a:extLst>
          </p:cNvPr>
          <p:cNvSpPr txBox="1"/>
          <p:nvPr/>
        </p:nvSpPr>
        <p:spPr>
          <a:xfrm>
            <a:off x="3550781" y="3302843"/>
            <a:ext cx="2523474" cy="1015663"/>
          </a:xfrm>
          <a:prstGeom prst="rect">
            <a:avLst/>
          </a:prstGeom>
          <a:noFill/>
          <a:ln w="19050">
            <a:solidFill>
              <a:schemeClr val="accent5"/>
            </a:solidFill>
          </a:ln>
        </p:spPr>
        <p:txBody>
          <a:bodyPr wrap="square" anchor="b">
            <a:spAutoFit/>
          </a:bodyPr>
          <a:lstStyle/>
          <a:p>
            <a:pPr marL="628650" lvl="1" indent="-171450" algn="just">
              <a:buFont typeface="Arial" panose="020B0604020202020204" pitchFamily="34" charset="0"/>
              <a:buChar char="•"/>
              <a:defRPr/>
            </a:pPr>
            <a:r>
              <a:rPr kumimoji="0" lang="es-ES" sz="1200" b="0" i="0" u="none" strike="noStrike" kern="1200" cap="none" spc="0" normalizeH="0" baseline="0" noProof="0" dirty="0">
                <a:ln>
                  <a:noFill/>
                </a:ln>
                <a:solidFill>
                  <a:srgbClr val="002855"/>
                </a:solidFill>
                <a:effectLst/>
                <a:uLnTx/>
                <a:uFillTx/>
                <a:latin typeface="Arial"/>
                <a:ea typeface="+mn-ea"/>
                <a:cs typeface="+mn-cs"/>
              </a:rPr>
              <a:t>Buen diagnóstico </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ES" sz="1200" b="0" i="0" u="none" strike="noStrike" kern="1200" cap="none" spc="0" normalizeH="0" baseline="0" noProof="0" dirty="0">
              <a:ln>
                <a:noFill/>
              </a:ln>
              <a:solidFill>
                <a:srgbClr val="002855"/>
              </a:solidFill>
              <a:effectLst/>
              <a:uLnTx/>
              <a:uFillTx/>
              <a:latin typeface="Arial"/>
              <a:ea typeface="+mn-ea"/>
              <a:cs typeface="+mn-cs"/>
            </a:endParaRPr>
          </a:p>
          <a:p>
            <a:pPr marL="628650" lvl="1" indent="-171450" algn="just">
              <a:buFont typeface="Arial" panose="020B0604020202020204" pitchFamily="34" charset="0"/>
              <a:buChar char="•"/>
              <a:defRPr/>
            </a:pPr>
            <a:r>
              <a:rPr lang="es-ES" sz="1200" dirty="0">
                <a:solidFill>
                  <a:srgbClr val="002855"/>
                </a:solidFill>
                <a:latin typeface="Arial"/>
              </a:rPr>
              <a:t>M</a:t>
            </a:r>
            <a:r>
              <a:rPr kumimoji="0" lang="es-ES" sz="1200" b="0" i="0" u="none" strike="noStrike" kern="1200" cap="none" spc="0" normalizeH="0" baseline="0" noProof="0" dirty="0" err="1">
                <a:ln>
                  <a:noFill/>
                </a:ln>
                <a:solidFill>
                  <a:srgbClr val="002855"/>
                </a:solidFill>
                <a:effectLst/>
                <a:uLnTx/>
                <a:uFillTx/>
                <a:latin typeface="Arial"/>
                <a:ea typeface="+mn-ea"/>
                <a:cs typeface="+mn-cs"/>
              </a:rPr>
              <a:t>ejores</a:t>
            </a:r>
            <a:r>
              <a:rPr kumimoji="0" lang="es-ES" sz="1200" b="0" i="0" u="none" strike="noStrike" kern="1200" cap="none" spc="0" normalizeH="0" baseline="0" noProof="0" dirty="0">
                <a:ln>
                  <a:noFill/>
                </a:ln>
                <a:solidFill>
                  <a:srgbClr val="002855"/>
                </a:solidFill>
                <a:effectLst/>
                <a:uLnTx/>
                <a:uFillTx/>
                <a:latin typeface="Arial"/>
                <a:ea typeface="+mn-ea"/>
                <a:cs typeface="+mn-cs"/>
              </a:rPr>
              <a:t> </a:t>
            </a:r>
            <a:r>
              <a:rPr lang="es-ES" sz="1200" dirty="0">
                <a:solidFill>
                  <a:srgbClr val="002855"/>
                </a:solidFill>
                <a:latin typeface="Arial"/>
              </a:rPr>
              <a:t>t</a:t>
            </a:r>
            <a:r>
              <a:rPr kumimoji="0" lang="es-ES" sz="1200" b="0" i="0" u="none" strike="noStrike" kern="1200" cap="none" spc="0" normalizeH="0" baseline="0" noProof="0" dirty="0" err="1">
                <a:ln>
                  <a:noFill/>
                </a:ln>
                <a:solidFill>
                  <a:srgbClr val="002855"/>
                </a:solidFill>
                <a:effectLst/>
                <a:uLnTx/>
                <a:uFillTx/>
                <a:latin typeface="Arial"/>
                <a:ea typeface="+mn-ea"/>
                <a:cs typeface="+mn-cs"/>
              </a:rPr>
              <a:t>ratamientos</a:t>
            </a:r>
            <a:endParaRPr kumimoji="0" lang="es-ES" sz="1200" b="0" i="0" u="none" strike="noStrike" kern="1200" cap="none" spc="0" normalizeH="0" baseline="0" noProof="0" dirty="0">
              <a:ln>
                <a:noFill/>
              </a:ln>
              <a:solidFill>
                <a:srgbClr val="002855"/>
              </a:solidFill>
              <a:effectLst/>
              <a:uLnTx/>
              <a:uFillTx/>
              <a:latin typeface="Arial"/>
              <a:ea typeface="+mn-ea"/>
              <a:cs typeface="+mn-cs"/>
            </a:endParaRPr>
          </a:p>
          <a:p>
            <a:pPr marL="628650" lvl="1" indent="-171450" algn="just">
              <a:buFont typeface="Courier New" panose="02070309020205020404" pitchFamily="49" charset="0"/>
              <a:buChar char="o"/>
              <a:defRPr/>
            </a:pPr>
            <a:endParaRPr kumimoji="0" lang="es-ES" sz="1200" b="0" i="0" u="none" strike="noStrike" kern="1200" cap="none" spc="0" normalizeH="0" baseline="0" noProof="0" dirty="0">
              <a:ln>
                <a:noFill/>
              </a:ln>
              <a:solidFill>
                <a:srgbClr val="002855"/>
              </a:solidFill>
              <a:effectLst/>
              <a:uLnTx/>
              <a:uFillTx/>
              <a:latin typeface="Arial"/>
              <a:ea typeface="+mn-ea"/>
              <a:cs typeface="+mn-cs"/>
            </a:endParaRPr>
          </a:p>
          <a:p>
            <a:pPr marL="628650" lvl="1" indent="-171450" algn="just">
              <a:buFont typeface="Arial" panose="020B0604020202020204" pitchFamily="34" charset="0"/>
              <a:buChar char="•"/>
              <a:defRPr/>
            </a:pPr>
            <a:r>
              <a:rPr kumimoji="0" lang="es-ES" sz="1200" b="0" i="0" u="none" strike="noStrike" kern="1200" cap="none" spc="0" normalizeH="0" baseline="0" noProof="0" dirty="0">
                <a:ln>
                  <a:noFill/>
                </a:ln>
                <a:solidFill>
                  <a:srgbClr val="002855"/>
                </a:solidFill>
                <a:effectLst/>
                <a:uLnTx/>
                <a:uFillTx/>
                <a:latin typeface="Arial"/>
                <a:ea typeface="+mn-ea"/>
                <a:cs typeface="+mn-cs"/>
              </a:rPr>
              <a:t>Mejor seguimiento</a:t>
            </a:r>
            <a:endParaRPr lang="es-ES" sz="1200" dirty="0">
              <a:solidFill>
                <a:srgbClr val="002855"/>
              </a:solidFill>
              <a:latin typeface="Arial"/>
              <a:sym typeface="Wingdings" panose="05000000000000000000" pitchFamily="2" charset="2"/>
            </a:endParaRPr>
          </a:p>
        </p:txBody>
      </p:sp>
      <p:sp>
        <p:nvSpPr>
          <p:cNvPr id="7" name="CuadroTexto 6">
            <a:extLst>
              <a:ext uri="{FF2B5EF4-FFF2-40B4-BE49-F238E27FC236}">
                <a16:creationId xmlns:a16="http://schemas.microsoft.com/office/drawing/2014/main" id="{EFB72FCF-AA7C-08E7-73A5-7334628F13B6}"/>
              </a:ext>
            </a:extLst>
          </p:cNvPr>
          <p:cNvSpPr txBox="1"/>
          <p:nvPr/>
        </p:nvSpPr>
        <p:spPr>
          <a:xfrm>
            <a:off x="1632507" y="4989714"/>
            <a:ext cx="4670801" cy="338554"/>
          </a:xfrm>
          <a:prstGeom prst="rect">
            <a:avLst/>
          </a:prstGeom>
          <a:noFill/>
        </p:spPr>
        <p:txBody>
          <a:bodyPr wrap="square">
            <a:spAutoFit/>
          </a:bodyPr>
          <a:lstStyle/>
          <a:p>
            <a:pPr algn="just"/>
            <a:r>
              <a:rPr lang="en-US" sz="800" dirty="0">
                <a:solidFill>
                  <a:schemeClr val="accent1"/>
                </a:solidFill>
              </a:rPr>
              <a:t>CV: cardiovascular; CVRFs: cardiovascular risk factors; MACE: major adverse cardiac event; MALE: major adverse limb event; PAAD: peripheral arterial and aortic diseases; QoL: quality of life.</a:t>
            </a:r>
            <a:r>
              <a:rPr lang="es-ES" sz="800" dirty="0">
                <a:solidFill>
                  <a:schemeClr val="accent1"/>
                </a:solidFill>
              </a:rPr>
              <a:t> </a:t>
            </a:r>
          </a:p>
        </p:txBody>
      </p:sp>
      <p:sp>
        <p:nvSpPr>
          <p:cNvPr id="13" name="Cerrar llave 12">
            <a:extLst>
              <a:ext uri="{FF2B5EF4-FFF2-40B4-BE49-F238E27FC236}">
                <a16:creationId xmlns:a16="http://schemas.microsoft.com/office/drawing/2014/main" id="{140F265B-0A27-8243-E2E1-8FE344FA1102}"/>
              </a:ext>
            </a:extLst>
          </p:cNvPr>
          <p:cNvSpPr/>
          <p:nvPr/>
        </p:nvSpPr>
        <p:spPr>
          <a:xfrm rot="10800000">
            <a:off x="3140082" y="3254802"/>
            <a:ext cx="243068" cy="108802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14" name="CuadroTexto 13">
            <a:extLst>
              <a:ext uri="{FF2B5EF4-FFF2-40B4-BE49-F238E27FC236}">
                <a16:creationId xmlns:a16="http://schemas.microsoft.com/office/drawing/2014/main" id="{43F5E0E9-52EB-6E23-4FEE-1917D25B7427}"/>
              </a:ext>
            </a:extLst>
          </p:cNvPr>
          <p:cNvSpPr txBox="1"/>
          <p:nvPr/>
        </p:nvSpPr>
        <p:spPr>
          <a:xfrm>
            <a:off x="1520155" y="3647446"/>
            <a:ext cx="1452295" cy="276999"/>
          </a:xfrm>
          <a:prstGeom prst="rect">
            <a:avLst/>
          </a:prstGeom>
          <a:solidFill>
            <a:schemeClr val="accent2"/>
          </a:solidFill>
          <a:ln w="19050">
            <a:solidFill>
              <a:schemeClr val="accent4"/>
            </a:solidFill>
          </a:ln>
        </p:spPr>
        <p:txBody>
          <a:bodyPr wrap="square" rtlCol="0">
            <a:spAutoFit/>
          </a:bodyPr>
          <a:lstStyle/>
          <a:p>
            <a:pPr algn="ctr"/>
            <a:r>
              <a:rPr lang="es-ES" sz="1200" dirty="0">
                <a:solidFill>
                  <a:schemeClr val="accent1"/>
                </a:solidFill>
              </a:rPr>
              <a:t>Mejor pronóstico</a:t>
            </a:r>
            <a:r>
              <a:rPr lang="es-ES" sz="1200" baseline="30000" dirty="0">
                <a:solidFill>
                  <a:schemeClr val="accent1"/>
                </a:solidFill>
              </a:rPr>
              <a:t>1</a:t>
            </a:r>
            <a:endParaRPr lang="es-ES" sz="1200" dirty="0">
              <a:solidFill>
                <a:schemeClr val="accent1"/>
              </a:solidFill>
            </a:endParaRPr>
          </a:p>
        </p:txBody>
      </p:sp>
      <p:sp>
        <p:nvSpPr>
          <p:cNvPr id="17" name="Flecha: a la derecha 16">
            <a:extLst>
              <a:ext uri="{FF2B5EF4-FFF2-40B4-BE49-F238E27FC236}">
                <a16:creationId xmlns:a16="http://schemas.microsoft.com/office/drawing/2014/main" id="{7A225E8B-35EF-C1B6-B3C2-FD6D853FD847}"/>
              </a:ext>
            </a:extLst>
          </p:cNvPr>
          <p:cNvSpPr/>
          <p:nvPr/>
        </p:nvSpPr>
        <p:spPr>
          <a:xfrm rot="5400000">
            <a:off x="1989441" y="3131191"/>
            <a:ext cx="437505" cy="343305"/>
          </a:xfrm>
          <a:prstGeom prst="rightArrow">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s-ES"/>
          </a:p>
        </p:txBody>
      </p:sp>
      <p:sp>
        <p:nvSpPr>
          <p:cNvPr id="20" name="CuadroTexto 19">
            <a:extLst>
              <a:ext uri="{FF2B5EF4-FFF2-40B4-BE49-F238E27FC236}">
                <a16:creationId xmlns:a16="http://schemas.microsoft.com/office/drawing/2014/main" id="{C26B0A81-118C-6F63-315B-0096F3E21CC1}"/>
              </a:ext>
            </a:extLst>
          </p:cNvPr>
          <p:cNvSpPr txBox="1"/>
          <p:nvPr/>
        </p:nvSpPr>
        <p:spPr>
          <a:xfrm>
            <a:off x="6700991" y="679731"/>
            <a:ext cx="4837111" cy="461665"/>
          </a:xfrm>
          <a:prstGeom prst="rect">
            <a:avLst/>
          </a:prstGeom>
          <a:solidFill>
            <a:schemeClr val="accent2"/>
          </a:solidFill>
          <a:ln w="19050">
            <a:solidFill>
              <a:schemeClr val="accent4"/>
            </a:solidFill>
          </a:ln>
        </p:spPr>
        <p:txBody>
          <a:bodyPr wrap="square" rtlCol="0">
            <a:spAutoFit/>
          </a:bodyPr>
          <a:lstStyle/>
          <a:p>
            <a:pPr algn="ctr"/>
            <a:r>
              <a:rPr lang="es-ES" sz="1200" dirty="0">
                <a:solidFill>
                  <a:schemeClr val="accent1"/>
                </a:solidFill>
              </a:rPr>
              <a:t>Del diagnóstico al tratamiento, un enfoque holístico multidisciplinar de las enfermedades arteriales periféricas y aórticas</a:t>
            </a:r>
            <a:r>
              <a:rPr lang="es-ES" sz="1200" baseline="30000" dirty="0">
                <a:solidFill>
                  <a:schemeClr val="accent1"/>
                </a:solidFill>
              </a:rPr>
              <a:t>1</a:t>
            </a:r>
            <a:r>
              <a:rPr lang="es-ES" sz="1200" dirty="0">
                <a:solidFill>
                  <a:schemeClr val="accent1"/>
                </a:solidFill>
              </a:rPr>
              <a:t>. </a:t>
            </a:r>
          </a:p>
        </p:txBody>
      </p:sp>
      <p:pic>
        <p:nvPicPr>
          <p:cNvPr id="15" name="Imagen 14">
            <a:extLst>
              <a:ext uri="{FF2B5EF4-FFF2-40B4-BE49-F238E27FC236}">
                <a16:creationId xmlns:a16="http://schemas.microsoft.com/office/drawing/2014/main" id="{133F8758-BB54-1EF7-E1BC-0719E6B0A4CE}"/>
              </a:ext>
            </a:extLst>
          </p:cNvPr>
          <p:cNvPicPr>
            <a:picLocks noChangeAspect="1"/>
          </p:cNvPicPr>
          <p:nvPr/>
        </p:nvPicPr>
        <p:blipFill>
          <a:blip r:embed="rId4"/>
          <a:stretch>
            <a:fillRect/>
          </a:stretch>
        </p:blipFill>
        <p:spPr>
          <a:xfrm>
            <a:off x="1382597" y="1790406"/>
            <a:ext cx="5150178" cy="1218133"/>
          </a:xfrm>
          <a:prstGeom prst="rect">
            <a:avLst/>
          </a:prstGeom>
        </p:spPr>
      </p:pic>
      <p:pic>
        <p:nvPicPr>
          <p:cNvPr id="18" name="Imagen 17">
            <a:extLst>
              <a:ext uri="{FF2B5EF4-FFF2-40B4-BE49-F238E27FC236}">
                <a16:creationId xmlns:a16="http://schemas.microsoft.com/office/drawing/2014/main" id="{90B2C34A-DCB4-2135-52B0-F5A1F9648D13}"/>
              </a:ext>
            </a:extLst>
          </p:cNvPr>
          <p:cNvPicPr>
            <a:picLocks noChangeAspect="1"/>
          </p:cNvPicPr>
          <p:nvPr/>
        </p:nvPicPr>
        <p:blipFill>
          <a:blip r:embed="rId5"/>
          <a:stretch>
            <a:fillRect/>
          </a:stretch>
        </p:blipFill>
        <p:spPr>
          <a:xfrm>
            <a:off x="6990157" y="1168828"/>
            <a:ext cx="4258780" cy="5477467"/>
          </a:xfrm>
          <a:prstGeom prst="rect">
            <a:avLst/>
          </a:prstGeom>
        </p:spPr>
      </p:pic>
      <p:sp>
        <p:nvSpPr>
          <p:cNvPr id="3" name="CuadroTexto 2">
            <a:extLst>
              <a:ext uri="{FF2B5EF4-FFF2-40B4-BE49-F238E27FC236}">
                <a16:creationId xmlns:a16="http://schemas.microsoft.com/office/drawing/2014/main" id="{8ED33D69-B230-691D-2CB0-FE0402DC9C4B}"/>
              </a:ext>
            </a:extLst>
          </p:cNvPr>
          <p:cNvSpPr txBox="1"/>
          <p:nvPr/>
        </p:nvSpPr>
        <p:spPr>
          <a:xfrm>
            <a:off x="1957821" y="5686905"/>
            <a:ext cx="4187109" cy="261610"/>
          </a:xfrm>
          <a:prstGeom prst="rect">
            <a:avLst/>
          </a:prstGeom>
          <a:noFill/>
        </p:spPr>
        <p:txBody>
          <a:bodyPr wrap="square">
            <a:spAutoFit/>
          </a:bodyPr>
          <a:lstStyle/>
          <a:p>
            <a:pPr algn="ctr"/>
            <a:r>
              <a:rPr lang="es-ES" sz="1050" dirty="0">
                <a:solidFill>
                  <a:schemeClr val="accent1"/>
                </a:solidFill>
              </a:rPr>
              <a:t>Guía ESC 2024 Enfermedades arteriales periféricas y aórticas</a:t>
            </a:r>
          </a:p>
        </p:txBody>
      </p:sp>
      <p:sp>
        <p:nvSpPr>
          <p:cNvPr id="10" name="CuadroTexto 9">
            <a:extLst>
              <a:ext uri="{FF2B5EF4-FFF2-40B4-BE49-F238E27FC236}">
                <a16:creationId xmlns:a16="http://schemas.microsoft.com/office/drawing/2014/main" id="{9E99B892-403A-115A-DE4C-2CAEAA66D4A9}"/>
              </a:ext>
            </a:extLst>
          </p:cNvPr>
          <p:cNvSpPr txBox="1"/>
          <p:nvPr/>
        </p:nvSpPr>
        <p:spPr>
          <a:xfrm>
            <a:off x="1549118" y="5895338"/>
            <a:ext cx="5004514" cy="307777"/>
          </a:xfrm>
          <a:prstGeom prst="rect">
            <a:avLst/>
          </a:prstGeom>
          <a:noFill/>
        </p:spPr>
        <p:txBody>
          <a:bodyPr wrap="square" rtlCol="0">
            <a:spAutoFit/>
          </a:bodyPr>
          <a:lstStyle>
            <a:defPPr>
              <a:defRPr lang="es-ES"/>
            </a:defPPr>
            <a:lvl1pPr algn="ctr">
              <a:defRPr sz="700" b="0" i="1">
                <a:solidFill>
                  <a:schemeClr val="accent1"/>
                </a:solidFill>
                <a:effectLst/>
              </a:defRPr>
            </a:lvl1pPr>
          </a:lstStyle>
          <a:p>
            <a:r>
              <a:rPr lang="es-ES" dirty="0"/>
              <a:t>1. </a:t>
            </a:r>
            <a:r>
              <a:rPr lang="es-ES" dirty="0" err="1"/>
              <a:t>Mazzolai</a:t>
            </a:r>
            <a:r>
              <a:rPr lang="es-ES" dirty="0"/>
              <a:t> L, et al. 2024 ESC </a:t>
            </a:r>
            <a:r>
              <a:rPr lang="es-ES" dirty="0" err="1"/>
              <a:t>Guidelines</a:t>
            </a:r>
            <a:r>
              <a:rPr lang="es-ES" dirty="0"/>
              <a:t> </a:t>
            </a:r>
            <a:r>
              <a:rPr lang="es-ES" dirty="0" err="1"/>
              <a:t>for</a:t>
            </a:r>
            <a:r>
              <a:rPr lang="es-ES" dirty="0"/>
              <a:t> </a:t>
            </a:r>
            <a:r>
              <a:rPr lang="es-ES" dirty="0" err="1"/>
              <a:t>the</a:t>
            </a:r>
            <a:r>
              <a:rPr lang="es-ES" dirty="0"/>
              <a:t> </a:t>
            </a:r>
            <a:r>
              <a:rPr lang="es-ES" dirty="0" err="1"/>
              <a:t>management</a:t>
            </a:r>
            <a:r>
              <a:rPr lang="es-ES" dirty="0"/>
              <a:t> </a:t>
            </a:r>
            <a:r>
              <a:rPr lang="es-ES" dirty="0" err="1"/>
              <a:t>of</a:t>
            </a:r>
            <a:r>
              <a:rPr lang="es-ES" dirty="0"/>
              <a:t> </a:t>
            </a:r>
            <a:r>
              <a:rPr lang="es-ES" dirty="0" err="1"/>
              <a:t>peripheral</a:t>
            </a:r>
            <a:r>
              <a:rPr lang="es-ES" dirty="0"/>
              <a:t> arterial and </a:t>
            </a:r>
            <a:r>
              <a:rPr lang="es-ES" dirty="0" err="1"/>
              <a:t>aortic</a:t>
            </a:r>
            <a:r>
              <a:rPr lang="es-ES" dirty="0"/>
              <a:t> </a:t>
            </a:r>
            <a:r>
              <a:rPr lang="es-ES" dirty="0" err="1"/>
              <a:t>diseases</a:t>
            </a:r>
            <a:r>
              <a:rPr lang="es-ES" dirty="0"/>
              <a:t>.</a:t>
            </a:r>
          </a:p>
          <a:p>
            <a:r>
              <a:rPr lang="es-ES" dirty="0" err="1"/>
              <a:t>Eur</a:t>
            </a:r>
            <a:r>
              <a:rPr lang="es-ES" dirty="0"/>
              <a:t> Heart J. 2024 </a:t>
            </a:r>
            <a:r>
              <a:rPr lang="es-ES" dirty="0" err="1"/>
              <a:t>Sep</a:t>
            </a:r>
            <a:r>
              <a:rPr lang="es-ES" dirty="0"/>
              <a:t> 29;45(36):3538-3700. </a:t>
            </a:r>
            <a:r>
              <a:rPr lang="es-ES" dirty="0" err="1"/>
              <a:t>doi</a:t>
            </a:r>
            <a:r>
              <a:rPr lang="es-ES" dirty="0"/>
              <a:t>: 10.1093/</a:t>
            </a:r>
            <a:r>
              <a:rPr lang="es-ES" dirty="0" err="1"/>
              <a:t>eurheartj</a:t>
            </a:r>
            <a:r>
              <a:rPr lang="es-ES" dirty="0"/>
              <a:t>/ehae179.</a:t>
            </a:r>
          </a:p>
        </p:txBody>
      </p:sp>
      <p:sp>
        <p:nvSpPr>
          <p:cNvPr id="19" name="CuadroTexto 18">
            <a:extLst>
              <a:ext uri="{FF2B5EF4-FFF2-40B4-BE49-F238E27FC236}">
                <a16:creationId xmlns:a16="http://schemas.microsoft.com/office/drawing/2014/main" id="{B8937DFA-2AC7-C0B2-C0AD-A8E1B49D0F22}"/>
              </a:ext>
            </a:extLst>
          </p:cNvPr>
          <p:cNvSpPr txBox="1"/>
          <p:nvPr/>
        </p:nvSpPr>
        <p:spPr>
          <a:xfrm>
            <a:off x="2931228" y="1843999"/>
            <a:ext cx="330387" cy="369332"/>
          </a:xfrm>
          <a:prstGeom prst="rect">
            <a:avLst/>
          </a:prstGeom>
          <a:noFill/>
        </p:spPr>
        <p:txBody>
          <a:bodyPr wrap="square">
            <a:spAutoFit/>
          </a:bodyPr>
          <a:lstStyle/>
          <a:p>
            <a:r>
              <a:rPr lang="es-ES" sz="1800" baseline="30000" dirty="0">
                <a:solidFill>
                  <a:schemeClr val="accent1"/>
                </a:solidFill>
              </a:rPr>
              <a:t>1</a:t>
            </a:r>
            <a:endParaRPr lang="es-ES" dirty="0"/>
          </a:p>
        </p:txBody>
      </p:sp>
      <p:sp>
        <p:nvSpPr>
          <p:cNvPr id="21" name="CuadroTexto 20">
            <a:extLst>
              <a:ext uri="{FF2B5EF4-FFF2-40B4-BE49-F238E27FC236}">
                <a16:creationId xmlns:a16="http://schemas.microsoft.com/office/drawing/2014/main" id="{83ADB1FF-9C69-EF85-611C-3780057BD7D1}"/>
              </a:ext>
            </a:extLst>
          </p:cNvPr>
          <p:cNvSpPr txBox="1"/>
          <p:nvPr/>
        </p:nvSpPr>
        <p:spPr>
          <a:xfrm>
            <a:off x="4576874" y="2984063"/>
            <a:ext cx="2022234"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pPr algn="r"/>
            <a:r>
              <a:rPr lang="es-ES" dirty="0" err="1"/>
              <a:t>Eur</a:t>
            </a:r>
            <a:r>
              <a:rPr lang="es-ES" dirty="0"/>
              <a:t> Heart J. 2024 </a:t>
            </a:r>
            <a:r>
              <a:rPr lang="es-ES" dirty="0" err="1"/>
              <a:t>Sep</a:t>
            </a:r>
            <a:r>
              <a:rPr lang="es-ES" dirty="0"/>
              <a:t> 29;45(36):3538-3700</a:t>
            </a:r>
          </a:p>
        </p:txBody>
      </p:sp>
      <p:sp>
        <p:nvSpPr>
          <p:cNvPr id="22" name="CuadroTexto 21">
            <a:extLst>
              <a:ext uri="{FF2B5EF4-FFF2-40B4-BE49-F238E27FC236}">
                <a16:creationId xmlns:a16="http://schemas.microsoft.com/office/drawing/2014/main" id="{8059F4B0-7395-812F-0DB7-8B45557E65CB}"/>
              </a:ext>
            </a:extLst>
          </p:cNvPr>
          <p:cNvSpPr txBox="1"/>
          <p:nvPr/>
        </p:nvSpPr>
        <p:spPr>
          <a:xfrm>
            <a:off x="8544745" y="6521297"/>
            <a:ext cx="2022234"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pPr algn="r"/>
            <a:r>
              <a:rPr lang="es-ES" dirty="0" err="1"/>
              <a:t>Eur</a:t>
            </a:r>
            <a:r>
              <a:rPr lang="es-ES" dirty="0"/>
              <a:t> Heart J. 2024 </a:t>
            </a:r>
            <a:r>
              <a:rPr lang="es-ES" dirty="0" err="1"/>
              <a:t>Sep</a:t>
            </a:r>
            <a:r>
              <a:rPr lang="es-ES" dirty="0"/>
              <a:t> 29;45(36):3538-3700</a:t>
            </a:r>
          </a:p>
        </p:txBody>
      </p:sp>
      <p:sp>
        <p:nvSpPr>
          <p:cNvPr id="5" name="Rectángulo 4">
            <a:extLst>
              <a:ext uri="{FF2B5EF4-FFF2-40B4-BE49-F238E27FC236}">
                <a16:creationId xmlns:a16="http://schemas.microsoft.com/office/drawing/2014/main" id="{00C74567-D108-A3B0-6DCC-7F29B804FBEA}"/>
              </a:ext>
            </a:extLst>
          </p:cNvPr>
          <p:cNvSpPr/>
          <p:nvPr/>
        </p:nvSpPr>
        <p:spPr>
          <a:xfrm>
            <a:off x="3730752" y="2743200"/>
            <a:ext cx="173736" cy="201006"/>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 name="CuadroTexto 7">
            <a:extLst>
              <a:ext uri="{FF2B5EF4-FFF2-40B4-BE49-F238E27FC236}">
                <a16:creationId xmlns:a16="http://schemas.microsoft.com/office/drawing/2014/main" id="{E822B262-C8DD-F2A2-E291-DDDE2DBF30FD}"/>
              </a:ext>
            </a:extLst>
          </p:cNvPr>
          <p:cNvSpPr txBox="1"/>
          <p:nvPr/>
        </p:nvSpPr>
        <p:spPr>
          <a:xfrm rot="16200000">
            <a:off x="10633273" y="3376069"/>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6065153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E4D4F9-014D-AA0B-3969-47F8C8CB743A}"/>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43B0F60B-71F5-0C43-6120-BA1B98E3E8F7}"/>
              </a:ext>
            </a:extLst>
          </p:cNvPr>
          <p:cNvSpPr>
            <a:spLocks noGrp="1"/>
          </p:cNvSpPr>
          <p:nvPr>
            <p:ph type="body" sz="quarter" idx="24"/>
          </p:nvPr>
        </p:nvSpPr>
        <p:spPr/>
        <p:txBody>
          <a:bodyPr/>
          <a:lstStyle/>
          <a:p>
            <a:endParaRPr lang="es-ES" dirty="0"/>
          </a:p>
        </p:txBody>
      </p:sp>
      <p:sp>
        <p:nvSpPr>
          <p:cNvPr id="6" name="Marcador de número de diapositiva 5">
            <a:extLst>
              <a:ext uri="{FF2B5EF4-FFF2-40B4-BE49-F238E27FC236}">
                <a16:creationId xmlns:a16="http://schemas.microsoft.com/office/drawing/2014/main" id="{2C555A91-D718-5E30-F5EB-FDE2604CFE5E}"/>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sp>
        <p:nvSpPr>
          <p:cNvPr id="12" name="6 CuadroTexto">
            <a:extLst>
              <a:ext uri="{FF2B5EF4-FFF2-40B4-BE49-F238E27FC236}">
                <a16:creationId xmlns:a16="http://schemas.microsoft.com/office/drawing/2014/main" id="{7E11E3D1-7875-7E07-24A9-C9A85DC86CF4}"/>
              </a:ext>
            </a:extLst>
          </p:cNvPr>
          <p:cNvSpPr txBox="1"/>
          <p:nvPr/>
        </p:nvSpPr>
        <p:spPr>
          <a:xfrm>
            <a:off x="6720905" y="3562763"/>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2" name="Imagen 1">
            <a:extLst>
              <a:ext uri="{FF2B5EF4-FFF2-40B4-BE49-F238E27FC236}">
                <a16:creationId xmlns:a16="http://schemas.microsoft.com/office/drawing/2014/main" id="{A65CA161-D6F4-CB8C-D46E-61E836FFC68F}"/>
              </a:ext>
            </a:extLst>
          </p:cNvPr>
          <p:cNvPicPr>
            <a:picLocks noChangeAspect="1"/>
          </p:cNvPicPr>
          <p:nvPr/>
        </p:nvPicPr>
        <p:blipFill>
          <a:blip r:embed="rId3"/>
          <a:stretch>
            <a:fillRect/>
          </a:stretch>
        </p:blipFill>
        <p:spPr>
          <a:xfrm>
            <a:off x="10459183" y="231972"/>
            <a:ext cx="1329043" cy="457240"/>
          </a:xfrm>
          <a:prstGeom prst="rect">
            <a:avLst/>
          </a:prstGeom>
        </p:spPr>
      </p:pic>
      <p:sp>
        <p:nvSpPr>
          <p:cNvPr id="9" name="Título 3">
            <a:extLst>
              <a:ext uri="{FF2B5EF4-FFF2-40B4-BE49-F238E27FC236}">
                <a16:creationId xmlns:a16="http://schemas.microsoft.com/office/drawing/2014/main" id="{C801EF7D-F1AC-E65D-E1F3-33AC3F73080D}"/>
              </a:ext>
            </a:extLst>
          </p:cNvPr>
          <p:cNvSpPr txBox="1">
            <a:spLocks/>
          </p:cNvSpPr>
          <p:nvPr/>
        </p:nvSpPr>
        <p:spPr>
          <a:xfrm>
            <a:off x="951819" y="286370"/>
            <a:ext cx="9507364" cy="1469134"/>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 sz="2800" dirty="0"/>
              <a:t>Clasificación EAP de acuerdo con la presentación clínica</a:t>
            </a:r>
          </a:p>
        </p:txBody>
      </p:sp>
      <p:pic>
        <p:nvPicPr>
          <p:cNvPr id="7" name="Imagen 6">
            <a:extLst>
              <a:ext uri="{FF2B5EF4-FFF2-40B4-BE49-F238E27FC236}">
                <a16:creationId xmlns:a16="http://schemas.microsoft.com/office/drawing/2014/main" id="{7EEA3C4D-1A5A-B38F-DBE1-C0591999E326}"/>
              </a:ext>
            </a:extLst>
          </p:cNvPr>
          <p:cNvPicPr>
            <a:picLocks noChangeAspect="1"/>
          </p:cNvPicPr>
          <p:nvPr/>
        </p:nvPicPr>
        <p:blipFill>
          <a:blip r:embed="rId4"/>
          <a:stretch>
            <a:fillRect/>
          </a:stretch>
        </p:blipFill>
        <p:spPr>
          <a:xfrm>
            <a:off x="1619931" y="762862"/>
            <a:ext cx="6582019" cy="2451636"/>
          </a:xfrm>
          <a:prstGeom prst="rect">
            <a:avLst/>
          </a:prstGeom>
        </p:spPr>
      </p:pic>
      <p:sp>
        <p:nvSpPr>
          <p:cNvPr id="8" name="CuadroTexto 7">
            <a:extLst>
              <a:ext uri="{FF2B5EF4-FFF2-40B4-BE49-F238E27FC236}">
                <a16:creationId xmlns:a16="http://schemas.microsoft.com/office/drawing/2014/main" id="{3A1C67DB-CED5-C318-52FF-FD541413B2F9}"/>
              </a:ext>
            </a:extLst>
          </p:cNvPr>
          <p:cNvSpPr txBox="1"/>
          <p:nvPr/>
        </p:nvSpPr>
        <p:spPr>
          <a:xfrm>
            <a:off x="8389180" y="1739134"/>
            <a:ext cx="2973329" cy="461665"/>
          </a:xfrm>
          <a:prstGeom prst="rect">
            <a:avLst/>
          </a:prstGeom>
          <a:solidFill>
            <a:schemeClr val="accent2"/>
          </a:solidFill>
          <a:ln>
            <a:solidFill>
              <a:schemeClr val="accent4"/>
            </a:solidFill>
          </a:ln>
        </p:spPr>
        <p:txBody>
          <a:bodyPr wrap="square">
            <a:spAutoFit/>
          </a:bodyPr>
          <a:lstStyle/>
          <a:p>
            <a:pPr algn="ctr"/>
            <a:r>
              <a:rPr lang="es-ES" sz="1200" b="1" dirty="0">
                <a:solidFill>
                  <a:schemeClr val="accent1"/>
                </a:solidFill>
              </a:rPr>
              <a:t>EAP puede estar o no asociada con heridas en las extremidades</a:t>
            </a:r>
            <a:r>
              <a:rPr lang="es-ES" sz="1200" b="1" baseline="30000" dirty="0">
                <a:solidFill>
                  <a:schemeClr val="accent1"/>
                </a:solidFill>
              </a:rPr>
              <a:t>1</a:t>
            </a:r>
            <a:r>
              <a:rPr lang="es-ES" sz="1200" b="1" dirty="0">
                <a:solidFill>
                  <a:schemeClr val="accent1"/>
                </a:solidFill>
              </a:rPr>
              <a:t>.</a:t>
            </a:r>
          </a:p>
        </p:txBody>
      </p:sp>
      <p:pic>
        <p:nvPicPr>
          <p:cNvPr id="11" name="Imagen 10">
            <a:extLst>
              <a:ext uri="{FF2B5EF4-FFF2-40B4-BE49-F238E27FC236}">
                <a16:creationId xmlns:a16="http://schemas.microsoft.com/office/drawing/2014/main" id="{81D2C2C4-37A6-EB48-453E-887B7087BD60}"/>
              </a:ext>
            </a:extLst>
          </p:cNvPr>
          <p:cNvPicPr>
            <a:picLocks noChangeAspect="1"/>
          </p:cNvPicPr>
          <p:nvPr/>
        </p:nvPicPr>
        <p:blipFill>
          <a:blip r:embed="rId5"/>
          <a:stretch>
            <a:fillRect/>
          </a:stretch>
        </p:blipFill>
        <p:spPr>
          <a:xfrm>
            <a:off x="5035735" y="3388940"/>
            <a:ext cx="4113440" cy="3228269"/>
          </a:xfrm>
          <a:prstGeom prst="rect">
            <a:avLst/>
          </a:prstGeom>
        </p:spPr>
      </p:pic>
      <p:sp>
        <p:nvSpPr>
          <p:cNvPr id="13" name="Título 3">
            <a:extLst>
              <a:ext uri="{FF2B5EF4-FFF2-40B4-BE49-F238E27FC236}">
                <a16:creationId xmlns:a16="http://schemas.microsoft.com/office/drawing/2014/main" id="{B2E70813-06DD-17CE-DF42-EA0A9E1FB8D5}"/>
              </a:ext>
            </a:extLst>
          </p:cNvPr>
          <p:cNvSpPr txBox="1">
            <a:spLocks/>
          </p:cNvSpPr>
          <p:nvPr/>
        </p:nvSpPr>
        <p:spPr>
          <a:xfrm>
            <a:off x="1929081" y="4087751"/>
            <a:ext cx="2585864" cy="1293608"/>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pPr algn="ctr"/>
            <a:r>
              <a:rPr lang="es-ES" sz="2800" dirty="0"/>
              <a:t>Consecuencias clínicas: </a:t>
            </a:r>
          </a:p>
          <a:p>
            <a:pPr algn="ctr"/>
            <a:r>
              <a:rPr lang="es-ES" sz="2800" dirty="0"/>
              <a:t>MACE y MALE</a:t>
            </a:r>
          </a:p>
        </p:txBody>
      </p:sp>
      <p:grpSp>
        <p:nvGrpSpPr>
          <p:cNvPr id="5" name="Grupo 4">
            <a:extLst>
              <a:ext uri="{FF2B5EF4-FFF2-40B4-BE49-F238E27FC236}">
                <a16:creationId xmlns:a16="http://schemas.microsoft.com/office/drawing/2014/main" id="{6D33E9DF-F4EC-BCC8-F9B2-3BFDB3632167}"/>
              </a:ext>
            </a:extLst>
          </p:cNvPr>
          <p:cNvGrpSpPr/>
          <p:nvPr/>
        </p:nvGrpSpPr>
        <p:grpSpPr>
          <a:xfrm>
            <a:off x="9427918" y="3562763"/>
            <a:ext cx="2360308" cy="1822446"/>
            <a:chOff x="3813739" y="3616067"/>
            <a:chExt cx="2360308" cy="1822446"/>
          </a:xfrm>
        </p:grpSpPr>
        <p:sp>
          <p:nvSpPr>
            <p:cNvPr id="14" name="Flecha: a la derecha 13">
              <a:extLst>
                <a:ext uri="{FF2B5EF4-FFF2-40B4-BE49-F238E27FC236}">
                  <a16:creationId xmlns:a16="http://schemas.microsoft.com/office/drawing/2014/main" id="{758F5418-54FC-1A78-39AE-67C2D10BA700}"/>
                </a:ext>
              </a:extLst>
            </p:cNvPr>
            <p:cNvSpPr/>
            <p:nvPr/>
          </p:nvSpPr>
          <p:spPr>
            <a:xfrm rot="5400000">
              <a:off x="3997574" y="4363661"/>
              <a:ext cx="277000" cy="160576"/>
            </a:xfrm>
            <a:prstGeom prst="rightArrow">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s-ES"/>
            </a:p>
          </p:txBody>
        </p:sp>
        <p:sp>
          <p:nvSpPr>
            <p:cNvPr id="15" name="Flecha: a la derecha 14">
              <a:extLst>
                <a:ext uri="{FF2B5EF4-FFF2-40B4-BE49-F238E27FC236}">
                  <a16:creationId xmlns:a16="http://schemas.microsoft.com/office/drawing/2014/main" id="{402F3A99-30F3-91EF-188C-77D3FA50AC31}"/>
                </a:ext>
              </a:extLst>
            </p:cNvPr>
            <p:cNvSpPr/>
            <p:nvPr/>
          </p:nvSpPr>
          <p:spPr>
            <a:xfrm rot="5400000">
              <a:off x="3997574" y="4834975"/>
              <a:ext cx="277000" cy="160576"/>
            </a:xfrm>
            <a:prstGeom prst="rightArrow">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s-ES"/>
            </a:p>
          </p:txBody>
        </p:sp>
        <p:sp>
          <p:nvSpPr>
            <p:cNvPr id="16" name="Flecha: a la derecha 15">
              <a:extLst>
                <a:ext uri="{FF2B5EF4-FFF2-40B4-BE49-F238E27FC236}">
                  <a16:creationId xmlns:a16="http://schemas.microsoft.com/office/drawing/2014/main" id="{10E23B4C-69FF-1962-EC11-2752EE9308F2}"/>
                </a:ext>
              </a:extLst>
            </p:cNvPr>
            <p:cNvSpPr/>
            <p:nvPr/>
          </p:nvSpPr>
          <p:spPr>
            <a:xfrm rot="16200000">
              <a:off x="4008730" y="5215875"/>
              <a:ext cx="276998" cy="160577"/>
            </a:xfrm>
            <a:prstGeom prst="rightArrow">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s-ES"/>
            </a:p>
          </p:txBody>
        </p:sp>
        <p:sp>
          <p:nvSpPr>
            <p:cNvPr id="18" name="CuadroTexto 17">
              <a:extLst>
                <a:ext uri="{FF2B5EF4-FFF2-40B4-BE49-F238E27FC236}">
                  <a16:creationId xmlns:a16="http://schemas.microsoft.com/office/drawing/2014/main" id="{E6CB040F-C149-BA0F-AE6E-E0A237E2FAEF}"/>
                </a:ext>
              </a:extLst>
            </p:cNvPr>
            <p:cNvSpPr txBox="1"/>
            <p:nvPr/>
          </p:nvSpPr>
          <p:spPr>
            <a:xfrm>
              <a:off x="4296925" y="4292195"/>
              <a:ext cx="1734918" cy="276999"/>
            </a:xfrm>
            <a:prstGeom prst="rect">
              <a:avLst/>
            </a:prstGeom>
            <a:noFill/>
            <a:ln>
              <a:solidFill>
                <a:schemeClr val="accent4"/>
              </a:solidFill>
            </a:ln>
          </p:spPr>
          <p:txBody>
            <a:bodyPr wrap="square">
              <a:spAutoFit/>
            </a:bodyPr>
            <a:lstStyle/>
            <a:p>
              <a:pPr algn="ctr"/>
              <a:r>
                <a:rPr lang="es-ES" sz="1200" dirty="0">
                  <a:solidFill>
                    <a:schemeClr val="accent1"/>
                  </a:solidFill>
                </a:rPr>
                <a:t>Riesgo de </a:t>
              </a:r>
              <a:r>
                <a:rPr lang="es-ES" sz="1200" b="1" dirty="0">
                  <a:solidFill>
                    <a:schemeClr val="accent1"/>
                  </a:solidFill>
                </a:rPr>
                <a:t>MACE</a:t>
              </a:r>
            </a:p>
          </p:txBody>
        </p:sp>
        <p:sp>
          <p:nvSpPr>
            <p:cNvPr id="20" name="CuadroTexto 19">
              <a:extLst>
                <a:ext uri="{FF2B5EF4-FFF2-40B4-BE49-F238E27FC236}">
                  <a16:creationId xmlns:a16="http://schemas.microsoft.com/office/drawing/2014/main" id="{56E2E16C-37DB-B997-B5D8-1241DCEC71FB}"/>
                </a:ext>
              </a:extLst>
            </p:cNvPr>
            <p:cNvSpPr txBox="1"/>
            <p:nvPr/>
          </p:nvSpPr>
          <p:spPr>
            <a:xfrm>
              <a:off x="4296925" y="4750261"/>
              <a:ext cx="1734918" cy="276999"/>
            </a:xfrm>
            <a:prstGeom prst="rect">
              <a:avLst/>
            </a:prstGeom>
            <a:noFill/>
            <a:ln>
              <a:solidFill>
                <a:schemeClr val="accent4"/>
              </a:solidFill>
            </a:ln>
          </p:spPr>
          <p:txBody>
            <a:bodyPr wrap="square">
              <a:spAutoFit/>
            </a:bodyPr>
            <a:lstStyle/>
            <a:p>
              <a:pPr algn="ctr"/>
              <a:r>
                <a:rPr lang="es-ES" sz="1200" dirty="0">
                  <a:solidFill>
                    <a:schemeClr val="accent1"/>
                  </a:solidFill>
                </a:rPr>
                <a:t>Riesgo de </a:t>
              </a:r>
              <a:r>
                <a:rPr lang="es-ES" sz="1200" b="1" dirty="0">
                  <a:solidFill>
                    <a:schemeClr val="accent1"/>
                  </a:solidFill>
                </a:rPr>
                <a:t>MALE</a:t>
              </a:r>
            </a:p>
          </p:txBody>
        </p:sp>
        <p:sp>
          <p:nvSpPr>
            <p:cNvPr id="21" name="CuadroTexto 20">
              <a:extLst>
                <a:ext uri="{FF2B5EF4-FFF2-40B4-BE49-F238E27FC236}">
                  <a16:creationId xmlns:a16="http://schemas.microsoft.com/office/drawing/2014/main" id="{4801E494-3641-221C-CF92-29E471340E30}"/>
                </a:ext>
              </a:extLst>
            </p:cNvPr>
            <p:cNvSpPr txBox="1"/>
            <p:nvPr/>
          </p:nvSpPr>
          <p:spPr>
            <a:xfrm>
              <a:off x="4296925" y="5161514"/>
              <a:ext cx="1734918" cy="276999"/>
            </a:xfrm>
            <a:prstGeom prst="rect">
              <a:avLst/>
            </a:prstGeom>
            <a:noFill/>
            <a:ln>
              <a:solidFill>
                <a:schemeClr val="accent4"/>
              </a:solidFill>
            </a:ln>
          </p:spPr>
          <p:txBody>
            <a:bodyPr wrap="square">
              <a:spAutoFit/>
            </a:bodyPr>
            <a:lstStyle/>
            <a:p>
              <a:pPr algn="ctr"/>
              <a:r>
                <a:rPr lang="es-ES" sz="1200" dirty="0">
                  <a:solidFill>
                    <a:schemeClr val="accent1"/>
                  </a:solidFill>
                </a:rPr>
                <a:t>Calidad de vida</a:t>
              </a:r>
              <a:endParaRPr lang="es-ES" sz="1200" b="1" dirty="0">
                <a:solidFill>
                  <a:schemeClr val="accent1"/>
                </a:solidFill>
              </a:endParaRPr>
            </a:p>
          </p:txBody>
        </p:sp>
        <p:sp>
          <p:nvSpPr>
            <p:cNvPr id="23" name="CuadroTexto 22">
              <a:extLst>
                <a:ext uri="{FF2B5EF4-FFF2-40B4-BE49-F238E27FC236}">
                  <a16:creationId xmlns:a16="http://schemas.microsoft.com/office/drawing/2014/main" id="{D1327CB9-CD54-5CB4-C7A4-A7FE1CB987D1}"/>
                </a:ext>
              </a:extLst>
            </p:cNvPr>
            <p:cNvSpPr txBox="1"/>
            <p:nvPr/>
          </p:nvSpPr>
          <p:spPr>
            <a:xfrm>
              <a:off x="3813739" y="3616067"/>
              <a:ext cx="2360308" cy="461665"/>
            </a:xfrm>
            <a:prstGeom prst="rect">
              <a:avLst/>
            </a:prstGeom>
            <a:solidFill>
              <a:schemeClr val="accent2"/>
            </a:solidFill>
            <a:ln>
              <a:solidFill>
                <a:schemeClr val="accent4"/>
              </a:solidFill>
            </a:ln>
          </p:spPr>
          <p:txBody>
            <a:bodyPr wrap="square">
              <a:spAutoFit/>
            </a:bodyPr>
            <a:lstStyle/>
            <a:p>
              <a:pPr algn="ctr"/>
              <a:r>
                <a:rPr lang="es-ES" sz="1200" dirty="0">
                  <a:solidFill>
                    <a:schemeClr val="accent1"/>
                  </a:solidFill>
                </a:rPr>
                <a:t>Crucial conocer los </a:t>
              </a:r>
              <a:r>
                <a:rPr lang="es-ES" sz="1200" b="1" dirty="0">
                  <a:solidFill>
                    <a:schemeClr val="accent1"/>
                  </a:solidFill>
                </a:rPr>
                <a:t>objetivos terapéuticos</a:t>
              </a:r>
              <a:r>
                <a:rPr lang="es-ES" sz="1200" b="1" baseline="30000" dirty="0">
                  <a:solidFill>
                    <a:schemeClr val="accent1"/>
                  </a:solidFill>
                </a:rPr>
                <a:t>1</a:t>
              </a:r>
              <a:r>
                <a:rPr lang="es-ES" sz="1200" b="1" dirty="0">
                  <a:solidFill>
                    <a:schemeClr val="accent1"/>
                  </a:solidFill>
                </a:rPr>
                <a:t> </a:t>
              </a:r>
            </a:p>
          </p:txBody>
        </p:sp>
      </p:grpSp>
      <p:sp>
        <p:nvSpPr>
          <p:cNvPr id="10" name="CuadroTexto 9">
            <a:extLst>
              <a:ext uri="{FF2B5EF4-FFF2-40B4-BE49-F238E27FC236}">
                <a16:creationId xmlns:a16="http://schemas.microsoft.com/office/drawing/2014/main" id="{5EB736F2-501D-0BD8-BDE2-CADA54ACDBC6}"/>
              </a:ext>
            </a:extLst>
          </p:cNvPr>
          <p:cNvSpPr txBox="1"/>
          <p:nvPr/>
        </p:nvSpPr>
        <p:spPr>
          <a:xfrm>
            <a:off x="9456199" y="5780545"/>
            <a:ext cx="2332027" cy="461665"/>
          </a:xfrm>
          <a:prstGeom prst="rect">
            <a:avLst/>
          </a:prstGeom>
          <a:noFill/>
        </p:spPr>
        <p:txBody>
          <a:bodyPr wrap="square">
            <a:spAutoFit/>
          </a:bodyPr>
          <a:lstStyle/>
          <a:p>
            <a:pPr algn="ctr"/>
            <a:r>
              <a:rPr lang="es-ES" sz="800" dirty="0">
                <a:solidFill>
                  <a:schemeClr val="accent1"/>
                </a:solidFill>
              </a:rPr>
              <a:t>CV: cardiovascular; MACE: </a:t>
            </a:r>
            <a:r>
              <a:rPr lang="es-ES" sz="800" dirty="0" err="1">
                <a:solidFill>
                  <a:schemeClr val="accent1"/>
                </a:solidFill>
              </a:rPr>
              <a:t>major</a:t>
            </a:r>
            <a:r>
              <a:rPr lang="es-ES" sz="800" dirty="0">
                <a:solidFill>
                  <a:schemeClr val="accent1"/>
                </a:solidFill>
              </a:rPr>
              <a:t> adverse </a:t>
            </a:r>
            <a:r>
              <a:rPr lang="es-ES" sz="800" dirty="0" err="1">
                <a:solidFill>
                  <a:schemeClr val="accent1"/>
                </a:solidFill>
              </a:rPr>
              <a:t>cardiac</a:t>
            </a:r>
            <a:r>
              <a:rPr lang="es-ES" sz="800" dirty="0">
                <a:solidFill>
                  <a:schemeClr val="accent1"/>
                </a:solidFill>
              </a:rPr>
              <a:t> </a:t>
            </a:r>
            <a:r>
              <a:rPr lang="es-ES" sz="800" dirty="0" err="1">
                <a:solidFill>
                  <a:schemeClr val="accent1"/>
                </a:solidFill>
              </a:rPr>
              <a:t>event</a:t>
            </a:r>
            <a:r>
              <a:rPr lang="es-ES" sz="800" dirty="0">
                <a:solidFill>
                  <a:schemeClr val="accent1"/>
                </a:solidFill>
              </a:rPr>
              <a:t>; MALE: </a:t>
            </a:r>
            <a:r>
              <a:rPr lang="es-ES" sz="800" dirty="0" err="1">
                <a:solidFill>
                  <a:schemeClr val="accent1"/>
                </a:solidFill>
              </a:rPr>
              <a:t>major</a:t>
            </a:r>
            <a:r>
              <a:rPr lang="es-ES" sz="800" dirty="0">
                <a:solidFill>
                  <a:schemeClr val="accent1"/>
                </a:solidFill>
              </a:rPr>
              <a:t> adverse </a:t>
            </a:r>
            <a:r>
              <a:rPr lang="es-ES" sz="800" dirty="0" err="1">
                <a:solidFill>
                  <a:schemeClr val="accent1"/>
                </a:solidFill>
              </a:rPr>
              <a:t>limb</a:t>
            </a:r>
            <a:r>
              <a:rPr lang="es-ES" sz="800" dirty="0">
                <a:solidFill>
                  <a:schemeClr val="accent1"/>
                </a:solidFill>
              </a:rPr>
              <a:t> </a:t>
            </a:r>
            <a:r>
              <a:rPr lang="es-ES" sz="800" dirty="0" err="1">
                <a:solidFill>
                  <a:schemeClr val="accent1"/>
                </a:solidFill>
              </a:rPr>
              <a:t>event</a:t>
            </a:r>
            <a:r>
              <a:rPr lang="es-ES" sz="800" dirty="0">
                <a:solidFill>
                  <a:schemeClr val="accent1"/>
                </a:solidFill>
              </a:rPr>
              <a:t>; PAD: </a:t>
            </a:r>
            <a:r>
              <a:rPr lang="es-ES" sz="800" dirty="0" err="1">
                <a:solidFill>
                  <a:schemeClr val="accent1"/>
                </a:solidFill>
              </a:rPr>
              <a:t>peripheral</a:t>
            </a:r>
            <a:r>
              <a:rPr lang="es-ES" sz="800" dirty="0">
                <a:solidFill>
                  <a:schemeClr val="accent1"/>
                </a:solidFill>
              </a:rPr>
              <a:t> arterial </a:t>
            </a:r>
            <a:r>
              <a:rPr lang="es-ES" sz="800" dirty="0" err="1">
                <a:solidFill>
                  <a:schemeClr val="accent1"/>
                </a:solidFill>
              </a:rPr>
              <a:t>disease</a:t>
            </a:r>
            <a:r>
              <a:rPr lang="es-ES" sz="800" dirty="0">
                <a:solidFill>
                  <a:schemeClr val="accent1"/>
                </a:solidFill>
              </a:rPr>
              <a:t>.</a:t>
            </a:r>
          </a:p>
        </p:txBody>
      </p:sp>
      <p:sp>
        <p:nvSpPr>
          <p:cNvPr id="3" name="CuadroTexto 2">
            <a:extLst>
              <a:ext uri="{FF2B5EF4-FFF2-40B4-BE49-F238E27FC236}">
                <a16:creationId xmlns:a16="http://schemas.microsoft.com/office/drawing/2014/main" id="{007B9844-1A14-3297-0D68-D2FEEA66D1A1}"/>
              </a:ext>
            </a:extLst>
          </p:cNvPr>
          <p:cNvSpPr txBox="1"/>
          <p:nvPr/>
        </p:nvSpPr>
        <p:spPr>
          <a:xfrm>
            <a:off x="1409355" y="5694301"/>
            <a:ext cx="3260647" cy="415498"/>
          </a:xfrm>
          <a:prstGeom prst="rect">
            <a:avLst/>
          </a:prstGeom>
          <a:noFill/>
        </p:spPr>
        <p:txBody>
          <a:bodyPr wrap="square">
            <a:spAutoFit/>
          </a:bodyPr>
          <a:lstStyle/>
          <a:p>
            <a:pPr algn="ctr"/>
            <a:r>
              <a:rPr lang="es-ES" sz="1050" dirty="0">
                <a:solidFill>
                  <a:schemeClr val="accent1"/>
                </a:solidFill>
              </a:rPr>
              <a:t>Guía ESC 2024 Enfermedades arteriales periféricas y aórticas</a:t>
            </a:r>
          </a:p>
        </p:txBody>
      </p:sp>
      <p:sp>
        <p:nvSpPr>
          <p:cNvPr id="22" name="CuadroTexto 21">
            <a:extLst>
              <a:ext uri="{FF2B5EF4-FFF2-40B4-BE49-F238E27FC236}">
                <a16:creationId xmlns:a16="http://schemas.microsoft.com/office/drawing/2014/main" id="{A9719510-0D44-ED42-503D-8410CD17D89F}"/>
              </a:ext>
            </a:extLst>
          </p:cNvPr>
          <p:cNvSpPr txBox="1"/>
          <p:nvPr/>
        </p:nvSpPr>
        <p:spPr>
          <a:xfrm>
            <a:off x="1631085" y="6034461"/>
            <a:ext cx="2883860" cy="415498"/>
          </a:xfrm>
          <a:prstGeom prst="rect">
            <a:avLst/>
          </a:prstGeom>
          <a:noFill/>
        </p:spPr>
        <p:txBody>
          <a:bodyPr wrap="square" rtlCol="0">
            <a:spAutoFit/>
          </a:bodyPr>
          <a:lstStyle>
            <a:defPPr>
              <a:defRPr lang="es-ES"/>
            </a:defPPr>
            <a:lvl1pPr algn="ctr">
              <a:defRPr sz="700" b="0" i="1">
                <a:solidFill>
                  <a:schemeClr val="accent1"/>
                </a:solidFill>
                <a:effectLst/>
              </a:defRPr>
            </a:lvl1pPr>
          </a:lstStyle>
          <a:p>
            <a:r>
              <a:rPr lang="es-ES" dirty="0"/>
              <a:t>1. </a:t>
            </a:r>
            <a:r>
              <a:rPr lang="es-ES" dirty="0" err="1"/>
              <a:t>Mazzolai</a:t>
            </a:r>
            <a:r>
              <a:rPr lang="es-ES" dirty="0"/>
              <a:t> L, et al. 2024 ESC </a:t>
            </a:r>
            <a:r>
              <a:rPr lang="es-ES" dirty="0" err="1"/>
              <a:t>Guidelines</a:t>
            </a:r>
            <a:r>
              <a:rPr lang="es-ES" dirty="0"/>
              <a:t> </a:t>
            </a:r>
            <a:r>
              <a:rPr lang="es-ES" dirty="0" err="1"/>
              <a:t>for</a:t>
            </a:r>
            <a:r>
              <a:rPr lang="es-ES" dirty="0"/>
              <a:t> </a:t>
            </a:r>
            <a:r>
              <a:rPr lang="es-ES" dirty="0" err="1"/>
              <a:t>the</a:t>
            </a:r>
            <a:r>
              <a:rPr lang="es-ES" dirty="0"/>
              <a:t> </a:t>
            </a:r>
            <a:r>
              <a:rPr lang="es-ES" dirty="0" err="1"/>
              <a:t>management</a:t>
            </a:r>
            <a:r>
              <a:rPr lang="es-ES" dirty="0"/>
              <a:t> </a:t>
            </a:r>
            <a:r>
              <a:rPr lang="es-ES" dirty="0" err="1"/>
              <a:t>of</a:t>
            </a:r>
            <a:r>
              <a:rPr lang="es-ES" dirty="0"/>
              <a:t> </a:t>
            </a:r>
            <a:r>
              <a:rPr lang="es-ES" dirty="0" err="1"/>
              <a:t>peripheral</a:t>
            </a:r>
            <a:r>
              <a:rPr lang="es-ES" dirty="0"/>
              <a:t> arterial and </a:t>
            </a:r>
            <a:r>
              <a:rPr lang="es-ES" dirty="0" err="1"/>
              <a:t>aortic</a:t>
            </a:r>
            <a:r>
              <a:rPr lang="es-ES" dirty="0"/>
              <a:t> </a:t>
            </a:r>
            <a:r>
              <a:rPr lang="es-ES" dirty="0" err="1"/>
              <a:t>diseases</a:t>
            </a:r>
            <a:r>
              <a:rPr lang="es-ES" dirty="0"/>
              <a:t>. </a:t>
            </a:r>
            <a:r>
              <a:rPr lang="es-ES" dirty="0" err="1"/>
              <a:t>Eur</a:t>
            </a:r>
            <a:r>
              <a:rPr lang="es-ES" dirty="0"/>
              <a:t> Heart J. 2024 </a:t>
            </a:r>
            <a:r>
              <a:rPr lang="es-ES" dirty="0" err="1"/>
              <a:t>Sep</a:t>
            </a:r>
            <a:r>
              <a:rPr lang="es-ES" dirty="0"/>
              <a:t> 29;45(36):3538-3700. </a:t>
            </a:r>
            <a:r>
              <a:rPr lang="es-ES" dirty="0" err="1"/>
              <a:t>doi</a:t>
            </a:r>
            <a:r>
              <a:rPr lang="es-ES" dirty="0"/>
              <a:t>: 10.1093/</a:t>
            </a:r>
            <a:r>
              <a:rPr lang="es-ES" dirty="0" err="1"/>
              <a:t>eurheartj</a:t>
            </a:r>
            <a:r>
              <a:rPr lang="es-ES" dirty="0"/>
              <a:t>/ehae179.</a:t>
            </a:r>
          </a:p>
        </p:txBody>
      </p:sp>
      <p:sp>
        <p:nvSpPr>
          <p:cNvPr id="24" name="CuadroTexto 23">
            <a:extLst>
              <a:ext uri="{FF2B5EF4-FFF2-40B4-BE49-F238E27FC236}">
                <a16:creationId xmlns:a16="http://schemas.microsoft.com/office/drawing/2014/main" id="{20FD8F0C-87E0-AA6C-0459-C3327061B7D3}"/>
              </a:ext>
            </a:extLst>
          </p:cNvPr>
          <p:cNvSpPr txBox="1"/>
          <p:nvPr/>
        </p:nvSpPr>
        <p:spPr>
          <a:xfrm>
            <a:off x="6537880" y="6565281"/>
            <a:ext cx="2022234"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pPr algn="r"/>
            <a:r>
              <a:rPr lang="es-ES" dirty="0" err="1"/>
              <a:t>Eur</a:t>
            </a:r>
            <a:r>
              <a:rPr lang="es-ES" dirty="0"/>
              <a:t> Heart J. 2024 </a:t>
            </a:r>
            <a:r>
              <a:rPr lang="es-ES" dirty="0" err="1"/>
              <a:t>Sep</a:t>
            </a:r>
            <a:r>
              <a:rPr lang="es-ES" dirty="0"/>
              <a:t> 29;45(36):3538-3700</a:t>
            </a:r>
          </a:p>
        </p:txBody>
      </p:sp>
      <p:sp>
        <p:nvSpPr>
          <p:cNvPr id="25" name="CuadroTexto 24">
            <a:extLst>
              <a:ext uri="{FF2B5EF4-FFF2-40B4-BE49-F238E27FC236}">
                <a16:creationId xmlns:a16="http://schemas.microsoft.com/office/drawing/2014/main" id="{B243D48C-3477-A4B7-C127-FC4891A770A3}"/>
              </a:ext>
            </a:extLst>
          </p:cNvPr>
          <p:cNvSpPr txBox="1"/>
          <p:nvPr/>
        </p:nvSpPr>
        <p:spPr>
          <a:xfrm>
            <a:off x="6273331" y="3135947"/>
            <a:ext cx="2022234"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pPr algn="r"/>
            <a:r>
              <a:rPr lang="es-ES" dirty="0" err="1"/>
              <a:t>Eur</a:t>
            </a:r>
            <a:r>
              <a:rPr lang="es-ES" dirty="0"/>
              <a:t> Heart J. 2024 </a:t>
            </a:r>
            <a:r>
              <a:rPr lang="es-ES" dirty="0" err="1"/>
              <a:t>Sep</a:t>
            </a:r>
            <a:r>
              <a:rPr lang="es-ES" dirty="0"/>
              <a:t> 29;45(36):3538-3700</a:t>
            </a:r>
          </a:p>
        </p:txBody>
      </p:sp>
      <p:sp>
        <p:nvSpPr>
          <p:cNvPr id="17" name="CuadroTexto 16">
            <a:extLst>
              <a:ext uri="{FF2B5EF4-FFF2-40B4-BE49-F238E27FC236}">
                <a16:creationId xmlns:a16="http://schemas.microsoft.com/office/drawing/2014/main" id="{005DFC87-A289-BB22-0081-A8558915E2C1}"/>
              </a:ext>
            </a:extLst>
          </p:cNvPr>
          <p:cNvSpPr txBox="1"/>
          <p:nvPr/>
        </p:nvSpPr>
        <p:spPr>
          <a:xfrm rot="16200000">
            <a:off x="10715569" y="3376069"/>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9253881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1088F0-8013-0E6C-9EF6-ECBC0EB20F58}"/>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8B9AA9A5-E3BD-28BB-8390-661DE0BCBB29}"/>
              </a:ext>
            </a:extLst>
          </p:cNvPr>
          <p:cNvSpPr>
            <a:spLocks noGrp="1"/>
          </p:cNvSpPr>
          <p:nvPr>
            <p:ph type="body" sz="quarter" idx="24"/>
          </p:nvPr>
        </p:nvSpPr>
        <p:spPr/>
        <p:txBody>
          <a:bodyPr/>
          <a:lstStyle/>
          <a:p>
            <a:endParaRPr lang="es-ES" dirty="0"/>
          </a:p>
        </p:txBody>
      </p:sp>
      <p:sp>
        <p:nvSpPr>
          <p:cNvPr id="6" name="Marcador de número de diapositiva 5">
            <a:extLst>
              <a:ext uri="{FF2B5EF4-FFF2-40B4-BE49-F238E27FC236}">
                <a16:creationId xmlns:a16="http://schemas.microsoft.com/office/drawing/2014/main" id="{AF9DBCB2-FEAC-8907-E0E3-36EF0FB1D5AD}"/>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sp>
        <p:nvSpPr>
          <p:cNvPr id="12" name="6 CuadroTexto">
            <a:extLst>
              <a:ext uri="{FF2B5EF4-FFF2-40B4-BE49-F238E27FC236}">
                <a16:creationId xmlns:a16="http://schemas.microsoft.com/office/drawing/2014/main" id="{39CDFAA2-438D-38B5-5125-C46858CC3F0B}"/>
              </a:ext>
            </a:extLst>
          </p:cNvPr>
          <p:cNvSpPr txBox="1"/>
          <p:nvPr/>
        </p:nvSpPr>
        <p:spPr>
          <a:xfrm>
            <a:off x="6885497" y="3562763"/>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2" name="Imagen 1">
            <a:extLst>
              <a:ext uri="{FF2B5EF4-FFF2-40B4-BE49-F238E27FC236}">
                <a16:creationId xmlns:a16="http://schemas.microsoft.com/office/drawing/2014/main" id="{B8CF12B9-5D6E-7E4F-5051-55955FBD42FB}"/>
              </a:ext>
            </a:extLst>
          </p:cNvPr>
          <p:cNvPicPr>
            <a:picLocks noChangeAspect="1"/>
          </p:cNvPicPr>
          <p:nvPr/>
        </p:nvPicPr>
        <p:blipFill>
          <a:blip r:embed="rId3"/>
          <a:stretch>
            <a:fillRect/>
          </a:stretch>
        </p:blipFill>
        <p:spPr>
          <a:xfrm>
            <a:off x="10623775" y="231972"/>
            <a:ext cx="1329043" cy="457240"/>
          </a:xfrm>
          <a:prstGeom prst="rect">
            <a:avLst/>
          </a:prstGeom>
        </p:spPr>
      </p:pic>
      <p:sp>
        <p:nvSpPr>
          <p:cNvPr id="9" name="Título 3">
            <a:extLst>
              <a:ext uri="{FF2B5EF4-FFF2-40B4-BE49-F238E27FC236}">
                <a16:creationId xmlns:a16="http://schemas.microsoft.com/office/drawing/2014/main" id="{EBBBC7A4-29B4-9DF3-962C-152F98DA1CC8}"/>
              </a:ext>
            </a:extLst>
          </p:cNvPr>
          <p:cNvSpPr txBox="1">
            <a:spLocks/>
          </p:cNvSpPr>
          <p:nvPr/>
        </p:nvSpPr>
        <p:spPr>
          <a:xfrm>
            <a:off x="1116411" y="286370"/>
            <a:ext cx="8683049" cy="1469134"/>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_tradnl" sz="2800" dirty="0"/>
              <a:t>Prevalencia de la EAP</a:t>
            </a:r>
            <a:endParaRPr lang="es-ES" sz="2800" dirty="0">
              <a:solidFill>
                <a:srgbClr val="FF0000"/>
              </a:solidFill>
            </a:endParaRPr>
          </a:p>
        </p:txBody>
      </p:sp>
      <p:sp>
        <p:nvSpPr>
          <p:cNvPr id="3" name="CuadroTexto 2">
            <a:extLst>
              <a:ext uri="{FF2B5EF4-FFF2-40B4-BE49-F238E27FC236}">
                <a16:creationId xmlns:a16="http://schemas.microsoft.com/office/drawing/2014/main" id="{13E94B08-929E-A18B-A23B-0D0CC85916CE}"/>
              </a:ext>
            </a:extLst>
          </p:cNvPr>
          <p:cNvSpPr txBox="1"/>
          <p:nvPr/>
        </p:nvSpPr>
        <p:spPr>
          <a:xfrm>
            <a:off x="1210987" y="1421139"/>
            <a:ext cx="4419476" cy="461665"/>
          </a:xfrm>
          <a:prstGeom prst="rect">
            <a:avLst/>
          </a:prstGeom>
          <a:solidFill>
            <a:schemeClr val="accent2"/>
          </a:solidFill>
          <a:ln>
            <a:solidFill>
              <a:schemeClr val="accent4"/>
            </a:solidFill>
          </a:ln>
        </p:spPr>
        <p:txBody>
          <a:bodyPr wrap="square">
            <a:spAutoFit/>
          </a:bodyPr>
          <a:lstStyle/>
          <a:p>
            <a:pPr algn="ctr"/>
            <a:r>
              <a:rPr lang="es-ES" sz="1200" dirty="0">
                <a:solidFill>
                  <a:schemeClr val="accent1"/>
                </a:solidFill>
              </a:rPr>
              <a:t>La enfermedad arterial periférica (EAP) y la patología aórtica son </a:t>
            </a:r>
            <a:r>
              <a:rPr lang="es-ES" sz="1200" b="1" dirty="0">
                <a:solidFill>
                  <a:schemeClr val="accent1"/>
                </a:solidFill>
              </a:rPr>
              <a:t>muy</a:t>
            </a:r>
            <a:r>
              <a:rPr lang="es-ES" sz="1200" dirty="0">
                <a:solidFill>
                  <a:schemeClr val="accent1"/>
                </a:solidFill>
              </a:rPr>
              <a:t> </a:t>
            </a:r>
            <a:r>
              <a:rPr lang="es-ES" sz="1200" b="1" dirty="0">
                <a:solidFill>
                  <a:schemeClr val="accent1"/>
                </a:solidFill>
              </a:rPr>
              <a:t>prevalentes</a:t>
            </a:r>
            <a:r>
              <a:rPr lang="es-ES" sz="1200" dirty="0">
                <a:solidFill>
                  <a:schemeClr val="accent1"/>
                </a:solidFill>
              </a:rPr>
              <a:t> </a:t>
            </a:r>
            <a:r>
              <a:rPr lang="es-ES" sz="1200" b="1" dirty="0">
                <a:solidFill>
                  <a:schemeClr val="accent1"/>
                </a:solidFill>
              </a:rPr>
              <a:t>y</a:t>
            </a:r>
            <a:r>
              <a:rPr lang="es-ES" sz="1200" dirty="0">
                <a:solidFill>
                  <a:schemeClr val="accent1"/>
                </a:solidFill>
              </a:rPr>
              <a:t>, generalmente, </a:t>
            </a:r>
            <a:r>
              <a:rPr lang="es-ES" sz="1200" b="1" dirty="0">
                <a:solidFill>
                  <a:schemeClr val="accent1"/>
                </a:solidFill>
              </a:rPr>
              <a:t>olvidadas</a:t>
            </a:r>
            <a:r>
              <a:rPr lang="es-ES" sz="1200" b="1" baseline="30000" dirty="0">
                <a:solidFill>
                  <a:schemeClr val="accent1"/>
                </a:solidFill>
              </a:rPr>
              <a:t>1</a:t>
            </a:r>
            <a:r>
              <a:rPr lang="es-ES" sz="1200" dirty="0">
                <a:solidFill>
                  <a:schemeClr val="accent1"/>
                </a:solidFill>
              </a:rPr>
              <a:t>.</a:t>
            </a:r>
          </a:p>
        </p:txBody>
      </p:sp>
      <p:sp>
        <p:nvSpPr>
          <p:cNvPr id="8" name="CuadroTexto 7">
            <a:extLst>
              <a:ext uri="{FF2B5EF4-FFF2-40B4-BE49-F238E27FC236}">
                <a16:creationId xmlns:a16="http://schemas.microsoft.com/office/drawing/2014/main" id="{F3E133C9-123F-E70D-F898-E3F8B8A3DB38}"/>
              </a:ext>
            </a:extLst>
          </p:cNvPr>
          <p:cNvSpPr txBox="1"/>
          <p:nvPr/>
        </p:nvSpPr>
        <p:spPr>
          <a:xfrm>
            <a:off x="1210987" y="2212191"/>
            <a:ext cx="4499080" cy="2677656"/>
          </a:xfrm>
          <a:prstGeom prst="rect">
            <a:avLst/>
          </a:prstGeom>
          <a:noFill/>
        </p:spPr>
        <p:txBody>
          <a:bodyPr wrap="square">
            <a:sp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200" b="0" i="0" u="none" strike="noStrike" kern="1200" cap="none" spc="0" normalizeH="0" baseline="0" noProof="0" dirty="0">
                <a:ln>
                  <a:noFill/>
                </a:ln>
                <a:solidFill>
                  <a:srgbClr val="002855"/>
                </a:solidFill>
                <a:effectLst/>
                <a:uLnTx/>
                <a:uFillTx/>
                <a:latin typeface="Arial"/>
                <a:ea typeface="+mn-ea"/>
                <a:cs typeface="+mn-cs"/>
              </a:rPr>
              <a:t>La </a:t>
            </a:r>
            <a:r>
              <a:rPr kumimoji="0" lang="es-ES" sz="1200" b="1" i="0" u="none" strike="noStrike" kern="1200" cap="none" spc="0" normalizeH="0" baseline="0" noProof="0" dirty="0">
                <a:ln>
                  <a:noFill/>
                </a:ln>
                <a:solidFill>
                  <a:srgbClr val="002855"/>
                </a:solidFill>
                <a:effectLst/>
                <a:uLnTx/>
                <a:uFillTx/>
                <a:latin typeface="Arial"/>
                <a:ea typeface="+mn-ea"/>
                <a:cs typeface="+mn-cs"/>
              </a:rPr>
              <a:t>prevalencia</a:t>
            </a:r>
            <a:r>
              <a:rPr kumimoji="0" lang="es-ES" sz="1200" b="0" i="0" u="none" strike="noStrike" kern="1200" cap="none" spc="0" normalizeH="0" baseline="0" noProof="0" dirty="0">
                <a:ln>
                  <a:noFill/>
                </a:ln>
                <a:solidFill>
                  <a:srgbClr val="002855"/>
                </a:solidFill>
                <a:effectLst/>
                <a:uLnTx/>
                <a:uFillTx/>
                <a:latin typeface="Arial"/>
                <a:ea typeface="+mn-ea"/>
                <a:cs typeface="+mn-cs"/>
              </a:rPr>
              <a:t> de las </a:t>
            </a:r>
            <a:r>
              <a:rPr kumimoji="0" lang="es-ES" sz="1200" b="1" i="0" u="none" strike="noStrike" kern="1200" cap="none" spc="0" normalizeH="0" baseline="0" noProof="0" dirty="0">
                <a:ln>
                  <a:noFill/>
                </a:ln>
                <a:solidFill>
                  <a:srgbClr val="002855"/>
                </a:solidFill>
                <a:effectLst/>
                <a:uLnTx/>
                <a:uFillTx/>
                <a:latin typeface="Arial"/>
                <a:ea typeface="+mn-ea"/>
                <a:cs typeface="+mn-cs"/>
              </a:rPr>
              <a:t>enfermedades arteriales periféricas y aórticas </a:t>
            </a:r>
            <a:r>
              <a:rPr kumimoji="0" lang="es-ES" sz="1200" b="0" i="0" u="none" strike="noStrike" kern="1200" cap="none" spc="0" normalizeH="0" baseline="0" noProof="0" dirty="0">
                <a:ln>
                  <a:noFill/>
                </a:ln>
                <a:solidFill>
                  <a:srgbClr val="002855"/>
                </a:solidFill>
                <a:effectLst/>
                <a:uLnTx/>
                <a:uFillTx/>
                <a:latin typeface="Arial"/>
                <a:ea typeface="+mn-ea"/>
                <a:cs typeface="+mn-cs"/>
              </a:rPr>
              <a:t>(</a:t>
            </a:r>
            <a:r>
              <a:rPr kumimoji="0" lang="es-ES" sz="1200" b="1" i="0" u="none" strike="noStrike" kern="1200" cap="none" spc="0" normalizeH="0" baseline="0" noProof="0" dirty="0">
                <a:ln>
                  <a:noFill/>
                </a:ln>
                <a:solidFill>
                  <a:srgbClr val="002855"/>
                </a:solidFill>
                <a:effectLst/>
                <a:uLnTx/>
                <a:uFillTx/>
                <a:latin typeface="Arial"/>
                <a:ea typeface="+mn-ea"/>
                <a:cs typeface="+mn-cs"/>
              </a:rPr>
              <a:t>PAAD</a:t>
            </a:r>
            <a:r>
              <a:rPr kumimoji="0" lang="es-ES" sz="1200" b="0" i="0" u="none" strike="noStrike" kern="1200" cap="none" spc="0" normalizeH="0" baseline="0" noProof="0" dirty="0">
                <a:ln>
                  <a:noFill/>
                </a:ln>
                <a:solidFill>
                  <a:srgbClr val="002855"/>
                </a:solidFill>
                <a:effectLst/>
                <a:uLnTx/>
                <a:uFillTx/>
                <a:latin typeface="Arial"/>
                <a:ea typeface="+mn-ea"/>
                <a:cs typeface="+mn-cs"/>
              </a:rPr>
              <a:t>, siglas en inglés) es alta</a:t>
            </a:r>
            <a:r>
              <a:rPr lang="es-ES" sz="1200" b="1" baseline="30000" dirty="0">
                <a:solidFill>
                  <a:schemeClr val="accent1"/>
                </a:solidFill>
              </a:rPr>
              <a:t>1</a:t>
            </a:r>
            <a:r>
              <a:rPr kumimoji="0" lang="es-ES" sz="1200" b="0" i="0" u="none" strike="noStrike" kern="1200" cap="none" spc="0" normalizeH="0" baseline="0" noProof="0" dirty="0">
                <a:ln>
                  <a:noFill/>
                </a:ln>
                <a:solidFill>
                  <a:srgbClr val="002855"/>
                </a:solidFill>
                <a:effectLst/>
                <a:uLnTx/>
                <a:uFillTx/>
                <a:latin typeface="Arial"/>
                <a:ea typeface="+mn-ea"/>
                <a:cs typeface="+mn-cs"/>
              </a:rPr>
              <a:t>:</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1200" dirty="0">
              <a:solidFill>
                <a:srgbClr val="002855"/>
              </a:solidFill>
              <a:latin typeface="Arial"/>
            </a:endParaRPr>
          </a:p>
          <a:p>
            <a:pPr marL="628650" lvl="1" indent="-171450" algn="just">
              <a:buFont typeface="Arial" panose="020B0604020202020204" pitchFamily="34" charset="0"/>
              <a:buChar char="•"/>
              <a:defRPr/>
            </a:pPr>
            <a:r>
              <a:rPr kumimoji="0" lang="es-ES" sz="1200" b="0" i="0" u="none" strike="noStrike" kern="1200" cap="none" spc="0" normalizeH="0" baseline="0" noProof="0" dirty="0">
                <a:ln>
                  <a:noFill/>
                </a:ln>
                <a:solidFill>
                  <a:srgbClr val="002855"/>
                </a:solidFill>
                <a:effectLst/>
                <a:uLnTx/>
                <a:uFillTx/>
                <a:latin typeface="Arial"/>
                <a:ea typeface="+mn-ea"/>
                <a:cs typeface="+mn-cs"/>
              </a:rPr>
              <a:t>113 millones de personas ≥ 40 años.</a:t>
            </a:r>
          </a:p>
          <a:p>
            <a:pPr marL="628650" lvl="1" indent="-171450" algn="just">
              <a:buFont typeface="Arial" panose="020B0604020202020204" pitchFamily="34" charset="0"/>
              <a:buChar char="•"/>
              <a:defRPr/>
            </a:pPr>
            <a:r>
              <a:rPr lang="es-ES" sz="1200" dirty="0">
                <a:solidFill>
                  <a:srgbClr val="002855"/>
                </a:solidFill>
                <a:latin typeface="Arial"/>
              </a:rPr>
              <a:t>14,91% en personas de 80 a 84 años.</a:t>
            </a:r>
          </a:p>
          <a:p>
            <a:pPr marL="628650" lvl="1" indent="-171450" algn="just">
              <a:buFont typeface="Arial" panose="020B0604020202020204" pitchFamily="34" charset="0"/>
              <a:buChar char="•"/>
              <a:defRPr/>
            </a:pPr>
            <a:r>
              <a:rPr kumimoji="0" lang="es-ES" sz="1200" b="0" i="0" u="none" strike="noStrike" kern="1200" cap="none" spc="0" normalizeH="0" baseline="0" noProof="0" dirty="0">
                <a:ln>
                  <a:noFill/>
                </a:ln>
                <a:solidFill>
                  <a:srgbClr val="002855"/>
                </a:solidFill>
                <a:effectLst/>
                <a:uLnTx/>
                <a:uFillTx/>
                <a:latin typeface="Arial"/>
                <a:ea typeface="+mn-ea"/>
                <a:cs typeface="+mn-cs"/>
              </a:rPr>
              <a:t>Más alta en mujeres (18,03% vs. 10,56%, en el mismo grupo de edad).</a:t>
            </a:r>
          </a:p>
          <a:p>
            <a:pPr lvl="1" algn="just">
              <a:defRPr/>
            </a:pPr>
            <a:endParaRPr lang="es-ES" sz="1200" noProof="0" dirty="0">
              <a:solidFill>
                <a:srgbClr val="002855"/>
              </a:solidFill>
              <a:latin typeface="Arial"/>
            </a:endParaRPr>
          </a:p>
          <a:p>
            <a:pPr lvl="1" algn="just">
              <a:defRPr/>
            </a:pPr>
            <a:endParaRPr lang="es-ES" sz="1200" noProof="0" dirty="0">
              <a:solidFill>
                <a:srgbClr val="002855"/>
              </a:solidFill>
              <a:latin typeface="Arial"/>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200" b="0" i="0" u="none" strike="noStrike" kern="1200" cap="none" spc="0" normalizeH="0" baseline="0" noProof="0" dirty="0">
                <a:ln>
                  <a:noFill/>
                </a:ln>
                <a:solidFill>
                  <a:srgbClr val="002855"/>
                </a:solidFill>
                <a:effectLst/>
                <a:uLnTx/>
                <a:uFillTx/>
                <a:latin typeface="Arial"/>
                <a:ea typeface="+mn-ea"/>
                <a:cs typeface="+mn-cs"/>
              </a:rPr>
              <a:t>Suelen ser </a:t>
            </a:r>
            <a:r>
              <a:rPr kumimoji="0" lang="es-ES" sz="1200" b="1" i="0" u="none" strike="noStrike" kern="1200" cap="none" spc="0" normalizeH="0" baseline="0" noProof="0" dirty="0">
                <a:ln>
                  <a:noFill/>
                </a:ln>
                <a:solidFill>
                  <a:srgbClr val="002855"/>
                </a:solidFill>
                <a:effectLst/>
                <a:uLnTx/>
                <a:uFillTx/>
                <a:latin typeface="Arial"/>
                <a:ea typeface="+mn-ea"/>
                <a:cs typeface="+mn-cs"/>
              </a:rPr>
              <a:t>asintomáticas</a:t>
            </a:r>
            <a:r>
              <a:rPr kumimoji="0" lang="es-ES" sz="1200" b="0" i="0" u="none" strike="noStrike" kern="1200" cap="none" spc="0" normalizeH="0" baseline="0" noProof="0" dirty="0">
                <a:ln>
                  <a:noFill/>
                </a:ln>
                <a:solidFill>
                  <a:srgbClr val="002855"/>
                </a:solidFill>
                <a:effectLst/>
                <a:uLnTx/>
                <a:uFillTx/>
                <a:latin typeface="Arial"/>
                <a:ea typeface="+mn-ea"/>
                <a:cs typeface="+mn-cs"/>
              </a:rPr>
              <a:t> </a:t>
            </a:r>
            <a:r>
              <a:rPr kumimoji="0" lang="es-ES" sz="1200" b="0" i="0" u="none" strike="noStrike" kern="1200" cap="none" spc="0" normalizeH="0" baseline="0" noProof="0" dirty="0">
                <a:ln>
                  <a:noFill/>
                </a:ln>
                <a:solidFill>
                  <a:srgbClr val="002855"/>
                </a:solidFill>
                <a:effectLst/>
                <a:uLnTx/>
                <a:uFillTx/>
                <a:latin typeface="Arial"/>
                <a:ea typeface="+mn-ea"/>
                <a:cs typeface="+mn-cs"/>
                <a:sym typeface="Wingdings" panose="05000000000000000000" pitchFamily="2" charset="2"/>
              </a:rPr>
              <a:t> </a:t>
            </a:r>
            <a:r>
              <a:rPr kumimoji="0" lang="es-ES" sz="1200" b="1" i="0" u="none" strike="noStrike" kern="1200" cap="none" spc="0" normalizeH="0" baseline="0" noProof="0" dirty="0">
                <a:ln>
                  <a:noFill/>
                </a:ln>
                <a:solidFill>
                  <a:srgbClr val="002855"/>
                </a:solidFill>
                <a:effectLst/>
                <a:uLnTx/>
                <a:uFillTx/>
                <a:latin typeface="Arial"/>
                <a:ea typeface="+mn-ea"/>
                <a:cs typeface="+mn-cs"/>
                <a:sym typeface="Wingdings" panose="05000000000000000000" pitchFamily="2" charset="2"/>
              </a:rPr>
              <a:t>Cribado</a:t>
            </a:r>
            <a:r>
              <a:rPr kumimoji="0" lang="es-ES" sz="1200" b="0" i="0" u="none" strike="noStrike" kern="1200" cap="none" spc="0" normalizeH="0" baseline="0" noProof="0" dirty="0">
                <a:ln>
                  <a:noFill/>
                </a:ln>
                <a:solidFill>
                  <a:srgbClr val="002855"/>
                </a:solidFill>
                <a:effectLst/>
                <a:uLnTx/>
                <a:uFillTx/>
                <a:latin typeface="Arial"/>
                <a:ea typeface="+mn-ea"/>
                <a:cs typeface="+mn-cs"/>
                <a:sym typeface="Wingdings" panose="05000000000000000000" pitchFamily="2" charset="2"/>
              </a:rPr>
              <a:t> </a:t>
            </a:r>
            <a:r>
              <a:rPr kumimoji="0" lang="es-ES" sz="1200" b="1" i="0" u="none" strike="noStrike" kern="1200" cap="none" spc="0" normalizeH="0" baseline="0" noProof="0" dirty="0">
                <a:ln>
                  <a:noFill/>
                </a:ln>
                <a:solidFill>
                  <a:srgbClr val="002855"/>
                </a:solidFill>
                <a:effectLst/>
                <a:uLnTx/>
                <a:uFillTx/>
                <a:latin typeface="Arial"/>
                <a:ea typeface="+mn-ea"/>
                <a:cs typeface="+mn-cs"/>
                <a:sym typeface="Wingdings" panose="05000000000000000000" pitchFamily="2" charset="2"/>
              </a:rPr>
              <a:t>esencial</a:t>
            </a:r>
            <a:r>
              <a:rPr lang="es-ES" sz="1200" b="1" baseline="30000" dirty="0">
                <a:solidFill>
                  <a:schemeClr val="accent1"/>
                </a:solidFill>
              </a:rPr>
              <a:t>1</a:t>
            </a:r>
            <a:endParaRPr kumimoji="0" lang="es-ES" sz="1200" b="1" i="0" u="none" strike="noStrike" kern="1200" cap="none" spc="0" normalizeH="0" baseline="0" noProof="0" dirty="0">
              <a:ln>
                <a:noFill/>
              </a:ln>
              <a:solidFill>
                <a:srgbClr val="002855"/>
              </a:solidFill>
              <a:effectLst/>
              <a:uLnTx/>
              <a:uFillTx/>
              <a:latin typeface="Arial"/>
              <a:ea typeface="+mn-ea"/>
              <a:cs typeface="+mn-cs"/>
              <a:sym typeface="Wingdings" panose="05000000000000000000" pitchFamily="2" charset="2"/>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1200" dirty="0">
              <a:solidFill>
                <a:srgbClr val="002855"/>
              </a:solidFill>
              <a:latin typeface="Arial"/>
              <a:sym typeface="Wingdings" panose="05000000000000000000" pitchFamily="2" charset="2"/>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1200" dirty="0">
              <a:solidFill>
                <a:srgbClr val="002855"/>
              </a:solidFill>
              <a:latin typeface="Arial"/>
              <a:sym typeface="Wingdings" panose="05000000000000000000" pitchFamily="2" charset="2"/>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200" b="1" i="0" u="none" strike="noStrike" kern="1200" cap="none" spc="0" normalizeH="0" baseline="0" noProof="0" dirty="0">
                <a:ln>
                  <a:noFill/>
                </a:ln>
                <a:solidFill>
                  <a:srgbClr val="002855"/>
                </a:solidFill>
                <a:effectLst/>
                <a:uLnTx/>
                <a:uFillTx/>
                <a:latin typeface="Arial"/>
                <a:ea typeface="+mn-ea"/>
                <a:cs typeface="+mn-cs"/>
                <a:sym typeface="Wingdings" panose="05000000000000000000" pitchFamily="2" charset="2"/>
              </a:rPr>
              <a:t>Muchos</a:t>
            </a:r>
            <a:r>
              <a:rPr kumimoji="0" lang="es-ES" sz="1200" b="0" i="0" u="none" strike="noStrike" kern="1200" cap="none" spc="0" normalizeH="0" baseline="0" noProof="0" dirty="0">
                <a:ln>
                  <a:noFill/>
                </a:ln>
                <a:solidFill>
                  <a:srgbClr val="002855"/>
                </a:solidFill>
                <a:effectLst/>
                <a:uLnTx/>
                <a:uFillTx/>
                <a:latin typeface="Arial"/>
                <a:ea typeface="+mn-ea"/>
                <a:cs typeface="+mn-cs"/>
                <a:sym typeface="Wingdings" panose="05000000000000000000" pitchFamily="2" charset="2"/>
              </a:rPr>
              <a:t> </a:t>
            </a:r>
            <a:r>
              <a:rPr kumimoji="0" lang="es-ES" sz="1200" b="1" i="0" u="none" strike="noStrike" kern="1200" cap="none" spc="0" normalizeH="0" baseline="0" noProof="0" dirty="0">
                <a:ln>
                  <a:noFill/>
                </a:ln>
                <a:solidFill>
                  <a:srgbClr val="002855"/>
                </a:solidFill>
                <a:effectLst/>
                <a:uLnTx/>
                <a:uFillTx/>
                <a:latin typeface="Arial"/>
                <a:ea typeface="+mn-ea"/>
                <a:cs typeface="+mn-cs"/>
                <a:sym typeface="Wingdings" panose="05000000000000000000" pitchFamily="2" charset="2"/>
              </a:rPr>
              <a:t>pacientes están infra-diagnosticados e infra-tratados </a:t>
            </a:r>
            <a:r>
              <a:rPr kumimoji="0" lang="es-ES" sz="1200" b="0" i="0" u="none" strike="noStrike" kern="1200" cap="none" spc="0" normalizeH="0" baseline="0" noProof="0" dirty="0">
                <a:ln>
                  <a:noFill/>
                </a:ln>
                <a:solidFill>
                  <a:srgbClr val="002855"/>
                </a:solidFill>
                <a:effectLst/>
                <a:uLnTx/>
                <a:uFillTx/>
                <a:latin typeface="Arial"/>
                <a:ea typeface="+mn-ea"/>
                <a:cs typeface="+mn-cs"/>
                <a:sym typeface="Wingdings" panose="05000000000000000000" pitchFamily="2" charset="2"/>
              </a:rPr>
              <a:t>en comparación con la enfermedad coronaria</a:t>
            </a:r>
            <a:r>
              <a:rPr lang="es-ES" sz="1200" b="1" baseline="30000" dirty="0">
                <a:solidFill>
                  <a:schemeClr val="accent1"/>
                </a:solidFill>
              </a:rPr>
              <a:t>1</a:t>
            </a:r>
            <a:r>
              <a:rPr kumimoji="0" lang="es-ES" sz="1200" b="0" i="0" u="none" strike="noStrike" kern="1200" cap="none" spc="0" normalizeH="0" baseline="0" noProof="0" dirty="0">
                <a:ln>
                  <a:noFill/>
                </a:ln>
                <a:solidFill>
                  <a:srgbClr val="002855"/>
                </a:solidFill>
                <a:effectLst/>
                <a:uLnTx/>
                <a:uFillTx/>
                <a:latin typeface="Arial"/>
                <a:ea typeface="+mn-ea"/>
                <a:cs typeface="+mn-cs"/>
                <a:sym typeface="Wingdings" panose="05000000000000000000" pitchFamily="2" charset="2"/>
              </a:rPr>
              <a:t>.</a:t>
            </a:r>
            <a:endParaRPr kumimoji="0" lang="es-ES" sz="1200" b="0" i="0" u="none" strike="noStrike" kern="1200" cap="none" spc="0" normalizeH="0" baseline="0" noProof="0" dirty="0">
              <a:ln>
                <a:noFill/>
              </a:ln>
              <a:solidFill>
                <a:srgbClr val="002855"/>
              </a:solidFill>
              <a:effectLst/>
              <a:uLnTx/>
              <a:uFillTx/>
              <a:latin typeface="Arial"/>
              <a:ea typeface="+mn-ea"/>
              <a:cs typeface="+mn-cs"/>
            </a:endParaRPr>
          </a:p>
        </p:txBody>
      </p:sp>
      <p:pic>
        <p:nvPicPr>
          <p:cNvPr id="16" name="Imagen 15">
            <a:extLst>
              <a:ext uri="{FF2B5EF4-FFF2-40B4-BE49-F238E27FC236}">
                <a16:creationId xmlns:a16="http://schemas.microsoft.com/office/drawing/2014/main" id="{2C40736F-B8FB-ED38-684B-B3106C70357D}"/>
              </a:ext>
            </a:extLst>
          </p:cNvPr>
          <p:cNvPicPr>
            <a:picLocks noChangeAspect="1"/>
          </p:cNvPicPr>
          <p:nvPr/>
        </p:nvPicPr>
        <p:blipFill>
          <a:blip r:embed="rId4"/>
          <a:stretch>
            <a:fillRect/>
          </a:stretch>
        </p:blipFill>
        <p:spPr>
          <a:xfrm>
            <a:off x="6037393" y="2049660"/>
            <a:ext cx="5143946" cy="2758679"/>
          </a:xfrm>
          <a:prstGeom prst="rect">
            <a:avLst/>
          </a:prstGeom>
        </p:spPr>
      </p:pic>
      <p:sp>
        <p:nvSpPr>
          <p:cNvPr id="18" name="CuadroTexto 17">
            <a:extLst>
              <a:ext uri="{FF2B5EF4-FFF2-40B4-BE49-F238E27FC236}">
                <a16:creationId xmlns:a16="http://schemas.microsoft.com/office/drawing/2014/main" id="{4132E567-28C7-1F9B-1650-8887D98A7C31}"/>
              </a:ext>
            </a:extLst>
          </p:cNvPr>
          <p:cNvSpPr txBox="1"/>
          <p:nvPr/>
        </p:nvSpPr>
        <p:spPr>
          <a:xfrm>
            <a:off x="6210300" y="1421138"/>
            <a:ext cx="4865289" cy="461665"/>
          </a:xfrm>
          <a:prstGeom prst="rect">
            <a:avLst/>
          </a:prstGeom>
          <a:solidFill>
            <a:schemeClr val="accent2"/>
          </a:solidFill>
          <a:ln>
            <a:solidFill>
              <a:schemeClr val="accent4"/>
            </a:solidFill>
          </a:ln>
        </p:spPr>
        <p:txBody>
          <a:bodyPr wrap="square">
            <a:spAutoFit/>
          </a:bodyPr>
          <a:lstStyle/>
          <a:p>
            <a:pPr algn="ctr"/>
            <a:r>
              <a:rPr lang="es-ES" sz="1200" dirty="0">
                <a:solidFill>
                  <a:schemeClr val="accent1"/>
                </a:solidFill>
              </a:rPr>
              <a:t>Prevalencia específica estimada de EAP, por sexo, en personas </a:t>
            </a:r>
            <a:r>
              <a:rPr kumimoji="0" lang="es-ES" sz="1200" b="0" i="0" u="none" strike="noStrike" kern="1200" cap="none" spc="0" normalizeH="0" baseline="0" noProof="0" dirty="0">
                <a:ln>
                  <a:noFill/>
                </a:ln>
                <a:solidFill>
                  <a:srgbClr val="002855"/>
                </a:solidFill>
                <a:effectLst/>
                <a:uLnTx/>
                <a:uFillTx/>
                <a:latin typeface="Arial"/>
                <a:ea typeface="+mn-ea"/>
                <a:cs typeface="+mn-cs"/>
              </a:rPr>
              <a:t>≥ </a:t>
            </a:r>
            <a:r>
              <a:rPr lang="es-ES" sz="1200" dirty="0">
                <a:solidFill>
                  <a:schemeClr val="accent1"/>
                </a:solidFill>
              </a:rPr>
              <a:t>40 años</a:t>
            </a:r>
            <a:r>
              <a:rPr lang="es-ES" sz="1200" b="1" baseline="30000" dirty="0">
                <a:solidFill>
                  <a:schemeClr val="accent1"/>
                </a:solidFill>
              </a:rPr>
              <a:t>1</a:t>
            </a:r>
            <a:r>
              <a:rPr lang="es-ES" sz="1200" dirty="0">
                <a:solidFill>
                  <a:schemeClr val="accent1"/>
                </a:solidFill>
              </a:rPr>
              <a:t>.</a:t>
            </a:r>
          </a:p>
        </p:txBody>
      </p:sp>
      <p:sp>
        <p:nvSpPr>
          <p:cNvPr id="21" name="CuadroTexto 20">
            <a:extLst>
              <a:ext uri="{FF2B5EF4-FFF2-40B4-BE49-F238E27FC236}">
                <a16:creationId xmlns:a16="http://schemas.microsoft.com/office/drawing/2014/main" id="{F86E9A0F-88BA-3606-A9DE-471A90C64B77}"/>
              </a:ext>
            </a:extLst>
          </p:cNvPr>
          <p:cNvSpPr txBox="1"/>
          <p:nvPr/>
        </p:nvSpPr>
        <p:spPr>
          <a:xfrm>
            <a:off x="6549620" y="4989749"/>
            <a:ext cx="4119491" cy="461665"/>
          </a:xfrm>
          <a:prstGeom prst="rect">
            <a:avLst/>
          </a:prstGeom>
          <a:noFill/>
          <a:ln>
            <a:solidFill>
              <a:schemeClr val="accent5"/>
            </a:solidFill>
          </a:ln>
        </p:spPr>
        <p:txBody>
          <a:bodyPr wrap="square">
            <a:spAutoFit/>
          </a:bodyPr>
          <a:lstStyle/>
          <a:p>
            <a:pPr marR="0" lvl="0" algn="ctr" defTabSz="914400" rtl="0" eaLnBrk="1" fontAlgn="auto" latinLnBrk="0" hangingPunct="1">
              <a:lnSpc>
                <a:spcPct val="100000"/>
              </a:lnSpc>
              <a:spcBef>
                <a:spcPts val="0"/>
              </a:spcBef>
              <a:spcAft>
                <a:spcPts val="0"/>
              </a:spcAft>
              <a:buClrTx/>
              <a:buSzTx/>
              <a:tabLst/>
              <a:defRPr/>
            </a:pPr>
            <a:r>
              <a:rPr lang="es-ES" sz="1200" dirty="0">
                <a:solidFill>
                  <a:srgbClr val="002855"/>
                </a:solidFill>
                <a:latin typeface="Arial"/>
              </a:rPr>
              <a:t>Tasa de crecimiento del 45% en la población mundial de 1990 a 2019</a:t>
            </a:r>
            <a:r>
              <a:rPr lang="es-ES" sz="1200" b="1" baseline="30000" dirty="0">
                <a:solidFill>
                  <a:schemeClr val="accent1"/>
                </a:solidFill>
              </a:rPr>
              <a:t>1</a:t>
            </a:r>
            <a:r>
              <a:rPr lang="es-ES" sz="1200" dirty="0">
                <a:solidFill>
                  <a:srgbClr val="002855"/>
                </a:solidFill>
                <a:latin typeface="Arial"/>
              </a:rPr>
              <a:t>.</a:t>
            </a:r>
            <a:endParaRPr kumimoji="0" lang="es-ES" sz="1200" b="0" i="0" u="none" strike="noStrike" kern="1200" cap="none" spc="0" normalizeH="0" baseline="0" noProof="0" dirty="0">
              <a:ln>
                <a:noFill/>
              </a:ln>
              <a:solidFill>
                <a:srgbClr val="002855"/>
              </a:solidFill>
              <a:effectLst/>
              <a:uLnTx/>
              <a:uFillTx/>
              <a:latin typeface="Arial"/>
              <a:ea typeface="+mn-ea"/>
              <a:cs typeface="+mn-cs"/>
            </a:endParaRPr>
          </a:p>
        </p:txBody>
      </p:sp>
      <p:sp>
        <p:nvSpPr>
          <p:cNvPr id="7" name="CuadroTexto 6">
            <a:extLst>
              <a:ext uri="{FF2B5EF4-FFF2-40B4-BE49-F238E27FC236}">
                <a16:creationId xmlns:a16="http://schemas.microsoft.com/office/drawing/2014/main" id="{9B42FCD7-E08D-B659-82BE-73F312AFD2D8}"/>
              </a:ext>
            </a:extLst>
          </p:cNvPr>
          <p:cNvSpPr txBox="1"/>
          <p:nvPr/>
        </p:nvSpPr>
        <p:spPr>
          <a:xfrm>
            <a:off x="3984275" y="6012981"/>
            <a:ext cx="4187109" cy="261610"/>
          </a:xfrm>
          <a:prstGeom prst="rect">
            <a:avLst/>
          </a:prstGeom>
          <a:noFill/>
        </p:spPr>
        <p:txBody>
          <a:bodyPr wrap="square">
            <a:spAutoFit/>
          </a:bodyPr>
          <a:lstStyle/>
          <a:p>
            <a:pPr algn="ctr"/>
            <a:r>
              <a:rPr lang="es-ES" sz="1050" dirty="0">
                <a:solidFill>
                  <a:schemeClr val="accent1"/>
                </a:solidFill>
              </a:rPr>
              <a:t>Guía ESC 2024 Enfermedades arteriales periféricas y aórticas</a:t>
            </a:r>
          </a:p>
        </p:txBody>
      </p:sp>
      <p:sp>
        <p:nvSpPr>
          <p:cNvPr id="11" name="CuadroTexto 10">
            <a:extLst>
              <a:ext uri="{FF2B5EF4-FFF2-40B4-BE49-F238E27FC236}">
                <a16:creationId xmlns:a16="http://schemas.microsoft.com/office/drawing/2014/main" id="{BE514F58-F0E3-23A2-FE56-99709EF334AA}"/>
              </a:ext>
            </a:extLst>
          </p:cNvPr>
          <p:cNvSpPr txBox="1"/>
          <p:nvPr/>
        </p:nvSpPr>
        <p:spPr>
          <a:xfrm>
            <a:off x="1210987" y="6221414"/>
            <a:ext cx="9733684"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r>
              <a:rPr lang="es-ES" dirty="0"/>
              <a:t>1. </a:t>
            </a:r>
            <a:r>
              <a:rPr lang="es-ES" dirty="0" err="1"/>
              <a:t>Mazzolai</a:t>
            </a:r>
            <a:r>
              <a:rPr lang="es-ES" dirty="0"/>
              <a:t> L, et al. 2024 ESC </a:t>
            </a:r>
            <a:r>
              <a:rPr lang="es-ES" dirty="0" err="1"/>
              <a:t>Guidelines</a:t>
            </a:r>
            <a:r>
              <a:rPr lang="es-ES" dirty="0"/>
              <a:t> </a:t>
            </a:r>
            <a:r>
              <a:rPr lang="es-ES" dirty="0" err="1"/>
              <a:t>for</a:t>
            </a:r>
            <a:r>
              <a:rPr lang="es-ES" dirty="0"/>
              <a:t> </a:t>
            </a:r>
            <a:r>
              <a:rPr lang="es-ES" dirty="0" err="1"/>
              <a:t>the</a:t>
            </a:r>
            <a:r>
              <a:rPr lang="es-ES" dirty="0"/>
              <a:t> </a:t>
            </a:r>
            <a:r>
              <a:rPr lang="es-ES" dirty="0" err="1"/>
              <a:t>management</a:t>
            </a:r>
            <a:r>
              <a:rPr lang="es-ES" dirty="0"/>
              <a:t> </a:t>
            </a:r>
            <a:r>
              <a:rPr lang="es-ES" dirty="0" err="1"/>
              <a:t>of</a:t>
            </a:r>
            <a:r>
              <a:rPr lang="es-ES" dirty="0"/>
              <a:t> </a:t>
            </a:r>
            <a:r>
              <a:rPr lang="es-ES" dirty="0" err="1"/>
              <a:t>peripheral</a:t>
            </a:r>
            <a:r>
              <a:rPr lang="es-ES" dirty="0"/>
              <a:t> arterial and </a:t>
            </a:r>
            <a:r>
              <a:rPr lang="es-ES" dirty="0" err="1"/>
              <a:t>aortic</a:t>
            </a:r>
            <a:r>
              <a:rPr lang="es-ES" dirty="0"/>
              <a:t> </a:t>
            </a:r>
            <a:r>
              <a:rPr lang="es-ES" dirty="0" err="1"/>
              <a:t>diseases</a:t>
            </a:r>
            <a:r>
              <a:rPr lang="es-ES" dirty="0"/>
              <a:t>. </a:t>
            </a:r>
            <a:r>
              <a:rPr lang="es-ES" dirty="0" err="1"/>
              <a:t>Eur</a:t>
            </a:r>
            <a:r>
              <a:rPr lang="es-ES" dirty="0"/>
              <a:t> Heart J. 2024 </a:t>
            </a:r>
            <a:r>
              <a:rPr lang="es-ES" dirty="0" err="1"/>
              <a:t>Sep</a:t>
            </a:r>
            <a:r>
              <a:rPr lang="es-ES" dirty="0"/>
              <a:t> 29;45(36):3538-3700. </a:t>
            </a:r>
            <a:r>
              <a:rPr lang="es-ES" dirty="0" err="1"/>
              <a:t>doi</a:t>
            </a:r>
            <a:r>
              <a:rPr lang="es-ES" dirty="0"/>
              <a:t>: 10.1093/</a:t>
            </a:r>
            <a:r>
              <a:rPr lang="es-ES" dirty="0" err="1"/>
              <a:t>eurheartj</a:t>
            </a:r>
            <a:r>
              <a:rPr lang="es-ES" dirty="0"/>
              <a:t>/ehae179.</a:t>
            </a:r>
          </a:p>
        </p:txBody>
      </p:sp>
      <p:sp>
        <p:nvSpPr>
          <p:cNvPr id="13" name="CuadroTexto 12">
            <a:extLst>
              <a:ext uri="{FF2B5EF4-FFF2-40B4-BE49-F238E27FC236}">
                <a16:creationId xmlns:a16="http://schemas.microsoft.com/office/drawing/2014/main" id="{AD76E5CD-2A66-C80D-10B7-C21E1B61E8A1}"/>
              </a:ext>
            </a:extLst>
          </p:cNvPr>
          <p:cNvSpPr txBox="1"/>
          <p:nvPr/>
        </p:nvSpPr>
        <p:spPr>
          <a:xfrm>
            <a:off x="8541681" y="4726863"/>
            <a:ext cx="2022234"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pPr algn="r"/>
            <a:r>
              <a:rPr lang="es-ES" dirty="0" err="1"/>
              <a:t>Eur</a:t>
            </a:r>
            <a:r>
              <a:rPr lang="es-ES" dirty="0"/>
              <a:t> Heart J. 2024 </a:t>
            </a:r>
            <a:r>
              <a:rPr lang="es-ES" dirty="0" err="1"/>
              <a:t>Sep</a:t>
            </a:r>
            <a:r>
              <a:rPr lang="es-ES" dirty="0"/>
              <a:t> 29;45(36):3538-3700</a:t>
            </a:r>
          </a:p>
        </p:txBody>
      </p:sp>
      <p:sp>
        <p:nvSpPr>
          <p:cNvPr id="5" name="CuadroTexto 4">
            <a:extLst>
              <a:ext uri="{FF2B5EF4-FFF2-40B4-BE49-F238E27FC236}">
                <a16:creationId xmlns:a16="http://schemas.microsoft.com/office/drawing/2014/main" id="{09831567-2F32-911C-ECE0-D6DF044C0E4C}"/>
              </a:ext>
            </a:extLst>
          </p:cNvPr>
          <p:cNvSpPr txBox="1"/>
          <p:nvPr/>
        </p:nvSpPr>
        <p:spPr>
          <a:xfrm rot="16200000">
            <a:off x="10633273" y="3376069"/>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29518889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825CC6-EC45-A88F-710A-B0576318EEB7}"/>
            </a:ext>
          </a:extLst>
        </p:cNvPr>
        <p:cNvGrpSpPr/>
        <p:nvPr/>
      </p:nvGrpSpPr>
      <p:grpSpPr>
        <a:xfrm>
          <a:off x="0" y="0"/>
          <a:ext cx="0" cy="0"/>
          <a:chOff x="0" y="0"/>
          <a:chExt cx="0" cy="0"/>
        </a:xfrm>
      </p:grpSpPr>
      <p:pic>
        <p:nvPicPr>
          <p:cNvPr id="27" name="Imagen 26">
            <a:extLst>
              <a:ext uri="{FF2B5EF4-FFF2-40B4-BE49-F238E27FC236}">
                <a16:creationId xmlns:a16="http://schemas.microsoft.com/office/drawing/2014/main" id="{9DF62061-0B5C-61D1-4C93-81F49DBA4E29}"/>
              </a:ext>
            </a:extLst>
          </p:cNvPr>
          <p:cNvPicPr>
            <a:picLocks noChangeAspect="1"/>
          </p:cNvPicPr>
          <p:nvPr/>
        </p:nvPicPr>
        <p:blipFill>
          <a:blip r:embed="rId3"/>
          <a:stretch>
            <a:fillRect/>
          </a:stretch>
        </p:blipFill>
        <p:spPr>
          <a:xfrm>
            <a:off x="6864682" y="1159365"/>
            <a:ext cx="4451862" cy="4132503"/>
          </a:xfrm>
          <a:prstGeom prst="rect">
            <a:avLst/>
          </a:prstGeom>
          <a:ln>
            <a:solidFill>
              <a:schemeClr val="accent4"/>
            </a:solidFill>
          </a:ln>
        </p:spPr>
      </p:pic>
      <p:sp>
        <p:nvSpPr>
          <p:cNvPr id="4" name="Marcador de texto 3">
            <a:extLst>
              <a:ext uri="{FF2B5EF4-FFF2-40B4-BE49-F238E27FC236}">
                <a16:creationId xmlns:a16="http://schemas.microsoft.com/office/drawing/2014/main" id="{6A7D3DC1-3DF0-ACBF-B7F5-DE5C04A08024}"/>
              </a:ext>
            </a:extLst>
          </p:cNvPr>
          <p:cNvSpPr>
            <a:spLocks noGrp="1"/>
          </p:cNvSpPr>
          <p:nvPr>
            <p:ph type="body" sz="quarter" idx="24"/>
          </p:nvPr>
        </p:nvSpPr>
        <p:spPr/>
        <p:txBody>
          <a:bodyPr/>
          <a:lstStyle/>
          <a:p>
            <a:endParaRPr lang="es-ES" dirty="0"/>
          </a:p>
        </p:txBody>
      </p:sp>
      <p:sp>
        <p:nvSpPr>
          <p:cNvPr id="6" name="Marcador de número de diapositiva 5">
            <a:extLst>
              <a:ext uri="{FF2B5EF4-FFF2-40B4-BE49-F238E27FC236}">
                <a16:creationId xmlns:a16="http://schemas.microsoft.com/office/drawing/2014/main" id="{B5AB4140-3750-88C5-DF4A-BDFA00631C27}"/>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sp>
        <p:nvSpPr>
          <p:cNvPr id="12" name="6 CuadroTexto">
            <a:extLst>
              <a:ext uri="{FF2B5EF4-FFF2-40B4-BE49-F238E27FC236}">
                <a16:creationId xmlns:a16="http://schemas.microsoft.com/office/drawing/2014/main" id="{71665F13-2B99-2C5C-8784-920FD067EAF6}"/>
              </a:ext>
            </a:extLst>
          </p:cNvPr>
          <p:cNvSpPr txBox="1"/>
          <p:nvPr/>
        </p:nvSpPr>
        <p:spPr>
          <a:xfrm>
            <a:off x="6885497" y="3562763"/>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2" name="Imagen 1">
            <a:extLst>
              <a:ext uri="{FF2B5EF4-FFF2-40B4-BE49-F238E27FC236}">
                <a16:creationId xmlns:a16="http://schemas.microsoft.com/office/drawing/2014/main" id="{3C99444D-A018-C993-0903-5B3C8E1890DF}"/>
              </a:ext>
            </a:extLst>
          </p:cNvPr>
          <p:cNvPicPr>
            <a:picLocks noChangeAspect="1"/>
          </p:cNvPicPr>
          <p:nvPr/>
        </p:nvPicPr>
        <p:blipFill>
          <a:blip r:embed="rId4"/>
          <a:stretch>
            <a:fillRect/>
          </a:stretch>
        </p:blipFill>
        <p:spPr>
          <a:xfrm>
            <a:off x="10623775" y="231972"/>
            <a:ext cx="1329043" cy="457240"/>
          </a:xfrm>
          <a:prstGeom prst="rect">
            <a:avLst/>
          </a:prstGeom>
        </p:spPr>
      </p:pic>
      <p:sp>
        <p:nvSpPr>
          <p:cNvPr id="9" name="Título 3">
            <a:extLst>
              <a:ext uri="{FF2B5EF4-FFF2-40B4-BE49-F238E27FC236}">
                <a16:creationId xmlns:a16="http://schemas.microsoft.com/office/drawing/2014/main" id="{4B0FAA88-3C41-F3A1-DB20-CAF74B8AA650}"/>
              </a:ext>
            </a:extLst>
          </p:cNvPr>
          <p:cNvSpPr txBox="1">
            <a:spLocks/>
          </p:cNvSpPr>
          <p:nvPr/>
        </p:nvSpPr>
        <p:spPr>
          <a:xfrm>
            <a:off x="1116411" y="286370"/>
            <a:ext cx="8683049" cy="1469134"/>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_tradnl" sz="2800" dirty="0"/>
              <a:t>Prevalencia de la EAP en España</a:t>
            </a:r>
            <a:endParaRPr lang="es-ES" sz="2800" dirty="0">
              <a:solidFill>
                <a:srgbClr val="FF0000"/>
              </a:solidFill>
            </a:endParaRPr>
          </a:p>
        </p:txBody>
      </p:sp>
      <p:sp>
        <p:nvSpPr>
          <p:cNvPr id="10" name="CuadroTexto 9">
            <a:extLst>
              <a:ext uri="{FF2B5EF4-FFF2-40B4-BE49-F238E27FC236}">
                <a16:creationId xmlns:a16="http://schemas.microsoft.com/office/drawing/2014/main" id="{25BFF386-EA7B-4B76-E053-2F23F432E7C3}"/>
              </a:ext>
            </a:extLst>
          </p:cNvPr>
          <p:cNvSpPr txBox="1"/>
          <p:nvPr/>
        </p:nvSpPr>
        <p:spPr>
          <a:xfrm>
            <a:off x="6894518" y="5817866"/>
            <a:ext cx="4537092" cy="307777"/>
          </a:xfrm>
          <a:prstGeom prst="rect">
            <a:avLst/>
          </a:prstGeom>
          <a:noFill/>
        </p:spPr>
        <p:txBody>
          <a:bodyPr wrap="square" rtlCol="0">
            <a:spAutoFit/>
          </a:bodyPr>
          <a:lstStyle/>
          <a:p>
            <a:pPr algn="ctr"/>
            <a:r>
              <a:rPr lang="es-ES" sz="700" b="0" i="1" dirty="0">
                <a:solidFill>
                  <a:schemeClr val="accent1"/>
                </a:solidFill>
                <a:effectLst/>
              </a:rPr>
              <a:t>1. </a:t>
            </a:r>
            <a:r>
              <a:rPr lang="es-ES" sz="700" b="0" i="1" dirty="0" err="1">
                <a:solidFill>
                  <a:schemeClr val="accent1"/>
                </a:solidFill>
                <a:effectLst/>
              </a:rPr>
              <a:t>Forés</a:t>
            </a:r>
            <a:r>
              <a:rPr lang="es-ES" sz="700" b="0" i="1" dirty="0">
                <a:solidFill>
                  <a:schemeClr val="accent1"/>
                </a:solidFill>
                <a:effectLst/>
              </a:rPr>
              <a:t> R. et al, Evolución de la prevalencia de arteriopatía periférica en la práctica clínica: Estudio descriptivo  poblacional con bases de datos reales (SIDIAP-CMBD). </a:t>
            </a:r>
            <a:r>
              <a:rPr lang="it-IT" sz="700" b="0" i="1" dirty="0" err="1">
                <a:solidFill>
                  <a:schemeClr val="accent1"/>
                </a:solidFill>
                <a:effectLst/>
              </a:rPr>
              <a:t>Aten</a:t>
            </a:r>
            <a:r>
              <a:rPr lang="it-IT" sz="700" b="0" i="1" dirty="0">
                <a:solidFill>
                  <a:schemeClr val="accent1"/>
                </a:solidFill>
                <a:effectLst/>
              </a:rPr>
              <a:t> Primaria. 2022 </a:t>
            </a:r>
            <a:r>
              <a:rPr lang="it-IT" sz="700" b="0" i="1" dirty="0" err="1">
                <a:solidFill>
                  <a:schemeClr val="accent1"/>
                </a:solidFill>
                <a:effectLst/>
              </a:rPr>
              <a:t>Aug</a:t>
            </a:r>
            <a:r>
              <a:rPr lang="it-IT" sz="700" b="0" i="1" dirty="0">
                <a:solidFill>
                  <a:schemeClr val="accent1"/>
                </a:solidFill>
                <a:effectLst/>
              </a:rPr>
              <a:t> 11;54(9):102437</a:t>
            </a:r>
            <a:endParaRPr lang="es-ES" sz="700" b="0" i="1" dirty="0">
              <a:solidFill>
                <a:schemeClr val="accent1"/>
              </a:solidFill>
              <a:effectLst/>
            </a:endParaRPr>
          </a:p>
        </p:txBody>
      </p:sp>
      <p:grpSp>
        <p:nvGrpSpPr>
          <p:cNvPr id="23" name="Grupo 22">
            <a:extLst>
              <a:ext uri="{FF2B5EF4-FFF2-40B4-BE49-F238E27FC236}">
                <a16:creationId xmlns:a16="http://schemas.microsoft.com/office/drawing/2014/main" id="{7422AE1D-877B-73E3-056F-48E972529D8F}"/>
              </a:ext>
            </a:extLst>
          </p:cNvPr>
          <p:cNvGrpSpPr/>
          <p:nvPr/>
        </p:nvGrpSpPr>
        <p:grpSpPr>
          <a:xfrm>
            <a:off x="2104948" y="3571907"/>
            <a:ext cx="3589683" cy="2661945"/>
            <a:chOff x="1911804" y="1632857"/>
            <a:chExt cx="6247763" cy="4375688"/>
          </a:xfrm>
        </p:grpSpPr>
        <p:pic>
          <p:nvPicPr>
            <p:cNvPr id="19" name="Imagen 18">
              <a:extLst>
                <a:ext uri="{FF2B5EF4-FFF2-40B4-BE49-F238E27FC236}">
                  <a16:creationId xmlns:a16="http://schemas.microsoft.com/office/drawing/2014/main" id="{BEA98806-AACE-A263-905B-25A3E78BF13E}"/>
                </a:ext>
              </a:extLst>
            </p:cNvPr>
            <p:cNvPicPr>
              <a:picLocks noChangeAspect="1"/>
            </p:cNvPicPr>
            <p:nvPr/>
          </p:nvPicPr>
          <p:blipFill>
            <a:blip r:embed="rId5"/>
            <a:stretch>
              <a:fillRect/>
            </a:stretch>
          </p:blipFill>
          <p:spPr>
            <a:xfrm>
              <a:off x="1911804" y="1855645"/>
              <a:ext cx="5314950" cy="4152900"/>
            </a:xfrm>
            <a:prstGeom prst="rect">
              <a:avLst/>
            </a:prstGeom>
          </p:spPr>
        </p:pic>
        <p:pic>
          <p:nvPicPr>
            <p:cNvPr id="22" name="Imagen 21">
              <a:extLst>
                <a:ext uri="{FF2B5EF4-FFF2-40B4-BE49-F238E27FC236}">
                  <a16:creationId xmlns:a16="http://schemas.microsoft.com/office/drawing/2014/main" id="{23714290-4A6B-2BED-9945-EE71C5960E55}"/>
                </a:ext>
              </a:extLst>
            </p:cNvPr>
            <p:cNvPicPr>
              <a:picLocks noChangeAspect="1"/>
            </p:cNvPicPr>
            <p:nvPr/>
          </p:nvPicPr>
          <p:blipFill>
            <a:blip r:embed="rId6"/>
            <a:stretch>
              <a:fillRect/>
            </a:stretch>
          </p:blipFill>
          <p:spPr>
            <a:xfrm>
              <a:off x="7212561" y="1632857"/>
              <a:ext cx="947006" cy="703925"/>
            </a:xfrm>
            <a:prstGeom prst="rect">
              <a:avLst/>
            </a:prstGeom>
          </p:spPr>
        </p:pic>
      </p:grpSp>
      <p:sp>
        <p:nvSpPr>
          <p:cNvPr id="24" name="CuadroTexto 23">
            <a:extLst>
              <a:ext uri="{FF2B5EF4-FFF2-40B4-BE49-F238E27FC236}">
                <a16:creationId xmlns:a16="http://schemas.microsoft.com/office/drawing/2014/main" id="{2ECCA719-9651-CA32-16E9-1A1C95B8DA71}"/>
              </a:ext>
            </a:extLst>
          </p:cNvPr>
          <p:cNvSpPr txBox="1"/>
          <p:nvPr/>
        </p:nvSpPr>
        <p:spPr>
          <a:xfrm>
            <a:off x="1844042" y="3024227"/>
            <a:ext cx="4047426" cy="276999"/>
          </a:xfrm>
          <a:prstGeom prst="rect">
            <a:avLst/>
          </a:prstGeom>
          <a:solidFill>
            <a:schemeClr val="accent2"/>
          </a:solidFill>
          <a:ln>
            <a:solidFill>
              <a:schemeClr val="accent4"/>
            </a:solidFill>
          </a:ln>
        </p:spPr>
        <p:txBody>
          <a:bodyPr wrap="square">
            <a:spAutoFit/>
          </a:bodyPr>
          <a:lstStyle/>
          <a:p>
            <a:pPr algn="ctr"/>
            <a:r>
              <a:rPr lang="es-ES" sz="1200" dirty="0">
                <a:solidFill>
                  <a:schemeClr val="accent1"/>
                </a:solidFill>
              </a:rPr>
              <a:t>Prevalencia de arteriopatía periférica por año y sexo</a:t>
            </a:r>
            <a:r>
              <a:rPr lang="es-ES" sz="1200" baseline="30000" dirty="0"/>
              <a:t>1</a:t>
            </a:r>
            <a:endParaRPr lang="es-ES" sz="1200" dirty="0">
              <a:solidFill>
                <a:schemeClr val="accent1"/>
              </a:solidFill>
            </a:endParaRPr>
          </a:p>
        </p:txBody>
      </p:sp>
      <p:sp>
        <p:nvSpPr>
          <p:cNvPr id="28" name="CuadroTexto 27">
            <a:extLst>
              <a:ext uri="{FF2B5EF4-FFF2-40B4-BE49-F238E27FC236}">
                <a16:creationId xmlns:a16="http://schemas.microsoft.com/office/drawing/2014/main" id="{116835B1-3DAD-C3C0-9120-5E3832634EEB}"/>
              </a:ext>
            </a:extLst>
          </p:cNvPr>
          <p:cNvSpPr txBox="1"/>
          <p:nvPr/>
        </p:nvSpPr>
        <p:spPr>
          <a:xfrm>
            <a:off x="6766830" y="785789"/>
            <a:ext cx="4655759" cy="276999"/>
          </a:xfrm>
          <a:prstGeom prst="rect">
            <a:avLst/>
          </a:prstGeom>
          <a:solidFill>
            <a:schemeClr val="accent2"/>
          </a:solidFill>
          <a:ln>
            <a:solidFill>
              <a:schemeClr val="accent4"/>
            </a:solidFill>
          </a:ln>
        </p:spPr>
        <p:txBody>
          <a:bodyPr wrap="square">
            <a:spAutoFit/>
          </a:bodyPr>
          <a:lstStyle/>
          <a:p>
            <a:pPr algn="ctr"/>
            <a:r>
              <a:rPr lang="es-ES" sz="1200" dirty="0">
                <a:solidFill>
                  <a:schemeClr val="accent1"/>
                </a:solidFill>
              </a:rPr>
              <a:t>Prevalencia de arteriopatía periférica por año y edad</a:t>
            </a:r>
            <a:r>
              <a:rPr lang="es-ES" sz="1200" baseline="30000" dirty="0"/>
              <a:t>1</a:t>
            </a:r>
            <a:endParaRPr lang="es-ES" sz="1200" dirty="0">
              <a:solidFill>
                <a:schemeClr val="accent1"/>
              </a:solidFill>
            </a:endParaRPr>
          </a:p>
        </p:txBody>
      </p:sp>
      <p:sp>
        <p:nvSpPr>
          <p:cNvPr id="29" name="CuadroTexto 28">
            <a:extLst>
              <a:ext uri="{FF2B5EF4-FFF2-40B4-BE49-F238E27FC236}">
                <a16:creationId xmlns:a16="http://schemas.microsoft.com/office/drawing/2014/main" id="{63F7867B-67B3-F966-F107-465D9FEFBCD7}"/>
              </a:ext>
            </a:extLst>
          </p:cNvPr>
          <p:cNvSpPr txBox="1"/>
          <p:nvPr/>
        </p:nvSpPr>
        <p:spPr>
          <a:xfrm>
            <a:off x="1802685" y="1020160"/>
            <a:ext cx="4130140" cy="1600438"/>
          </a:xfrm>
          <a:prstGeom prst="rect">
            <a:avLst/>
          </a:prstGeom>
          <a:noFill/>
          <a:ln>
            <a:solidFill>
              <a:schemeClr val="accent5"/>
            </a:solidFill>
          </a:ln>
        </p:spPr>
        <p:txBody>
          <a:bodyPr wrap="square">
            <a:spAutoFit/>
          </a:bodyPr>
          <a:lstStyle>
            <a:defPPr>
              <a:defRPr lang="es-ES"/>
            </a:defPPr>
            <a:lvl1pPr marR="0" lvl="0" algn="ctr" fontAlgn="auto">
              <a:lnSpc>
                <a:spcPct val="100000"/>
              </a:lnSpc>
              <a:spcBef>
                <a:spcPts val="0"/>
              </a:spcBef>
              <a:spcAft>
                <a:spcPts val="0"/>
              </a:spcAft>
              <a:buClrTx/>
              <a:buSzTx/>
              <a:tabLst/>
              <a:defRPr sz="1200">
                <a:solidFill>
                  <a:srgbClr val="002855"/>
                </a:solidFill>
                <a:latin typeface="Arial"/>
              </a:defRPr>
            </a:lvl1pPr>
          </a:lstStyle>
          <a:p>
            <a:pPr algn="just"/>
            <a:r>
              <a:rPr lang="es-ES" sz="1400" dirty="0"/>
              <a:t>Según los datos analizados de los bases de datos españoles del SIDIAP y el CMBD, la prevalencia de AP aumenta con la edad, con un incremento moderado en edades tempranas, y más pronunciado en &gt; 55 años, rebasando el 10% en &gt; 85 años. Los hombres tienen más prevalencia de la EAP que las mujeres</a:t>
            </a:r>
            <a:r>
              <a:rPr lang="es-ES" sz="1400" baseline="30000" dirty="0"/>
              <a:t>1</a:t>
            </a:r>
            <a:r>
              <a:rPr lang="es-ES" sz="1400" dirty="0"/>
              <a:t>. </a:t>
            </a:r>
          </a:p>
        </p:txBody>
      </p:sp>
      <p:sp>
        <p:nvSpPr>
          <p:cNvPr id="3" name="Rectángulo 2">
            <a:extLst>
              <a:ext uri="{FF2B5EF4-FFF2-40B4-BE49-F238E27FC236}">
                <a16:creationId xmlns:a16="http://schemas.microsoft.com/office/drawing/2014/main" id="{08B31B95-E203-7AC5-538E-E189D0A63E1E}"/>
              </a:ext>
            </a:extLst>
          </p:cNvPr>
          <p:cNvSpPr/>
          <p:nvPr/>
        </p:nvSpPr>
        <p:spPr>
          <a:xfrm>
            <a:off x="1844042" y="3392424"/>
            <a:ext cx="4088783" cy="2963927"/>
          </a:xfrm>
          <a:prstGeom prst="rect">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 name="CuadroTexto 6">
            <a:extLst>
              <a:ext uri="{FF2B5EF4-FFF2-40B4-BE49-F238E27FC236}">
                <a16:creationId xmlns:a16="http://schemas.microsoft.com/office/drawing/2014/main" id="{D7FDA0CA-7592-CC84-385E-445D77E867C1}"/>
              </a:ext>
            </a:extLst>
          </p:cNvPr>
          <p:cNvSpPr txBox="1"/>
          <p:nvPr/>
        </p:nvSpPr>
        <p:spPr>
          <a:xfrm>
            <a:off x="2834640" y="6386965"/>
            <a:ext cx="1929384" cy="200055"/>
          </a:xfrm>
          <a:prstGeom prst="rect">
            <a:avLst/>
          </a:prstGeom>
          <a:noFill/>
        </p:spPr>
        <p:txBody>
          <a:bodyPr wrap="square" rtlCol="0">
            <a:spAutoFit/>
          </a:bodyPr>
          <a:lstStyle>
            <a:defPPr>
              <a:defRPr lang="es-ES"/>
            </a:defPPr>
            <a:lvl1pPr algn="r">
              <a:defRPr sz="700" b="0" i="1">
                <a:solidFill>
                  <a:schemeClr val="accent1"/>
                </a:solidFill>
                <a:effectLst/>
              </a:defRPr>
            </a:lvl1pPr>
          </a:lstStyle>
          <a:p>
            <a:r>
              <a:rPr lang="it-IT" dirty="0" err="1"/>
              <a:t>Aten</a:t>
            </a:r>
            <a:r>
              <a:rPr lang="it-IT" dirty="0"/>
              <a:t> Primaria. 2022 </a:t>
            </a:r>
            <a:r>
              <a:rPr lang="it-IT" dirty="0" err="1"/>
              <a:t>Aug</a:t>
            </a:r>
            <a:r>
              <a:rPr lang="it-IT" dirty="0"/>
              <a:t> 11;54(9):102437</a:t>
            </a:r>
            <a:endParaRPr lang="es-ES" dirty="0"/>
          </a:p>
        </p:txBody>
      </p:sp>
      <p:sp>
        <p:nvSpPr>
          <p:cNvPr id="8" name="CuadroTexto 7">
            <a:extLst>
              <a:ext uri="{FF2B5EF4-FFF2-40B4-BE49-F238E27FC236}">
                <a16:creationId xmlns:a16="http://schemas.microsoft.com/office/drawing/2014/main" id="{6E4955D4-A761-3B75-2638-EC6A8E0CB271}"/>
              </a:ext>
            </a:extLst>
          </p:cNvPr>
          <p:cNvSpPr txBox="1"/>
          <p:nvPr/>
        </p:nvSpPr>
        <p:spPr>
          <a:xfrm>
            <a:off x="8157668" y="5338639"/>
            <a:ext cx="1929384" cy="200055"/>
          </a:xfrm>
          <a:prstGeom prst="rect">
            <a:avLst/>
          </a:prstGeom>
          <a:noFill/>
        </p:spPr>
        <p:txBody>
          <a:bodyPr wrap="square" rtlCol="0">
            <a:spAutoFit/>
          </a:bodyPr>
          <a:lstStyle>
            <a:defPPr>
              <a:defRPr lang="es-ES"/>
            </a:defPPr>
            <a:lvl1pPr algn="r">
              <a:defRPr sz="700" b="0" i="1">
                <a:solidFill>
                  <a:schemeClr val="accent1"/>
                </a:solidFill>
                <a:effectLst/>
              </a:defRPr>
            </a:lvl1pPr>
          </a:lstStyle>
          <a:p>
            <a:r>
              <a:rPr lang="it-IT" dirty="0" err="1"/>
              <a:t>Aten</a:t>
            </a:r>
            <a:r>
              <a:rPr lang="it-IT" dirty="0"/>
              <a:t> Primaria. 2022 </a:t>
            </a:r>
            <a:r>
              <a:rPr lang="it-IT" dirty="0" err="1"/>
              <a:t>Aug</a:t>
            </a:r>
            <a:r>
              <a:rPr lang="it-IT" dirty="0"/>
              <a:t> 11;54(9):102437</a:t>
            </a:r>
            <a:endParaRPr lang="es-ES" dirty="0"/>
          </a:p>
        </p:txBody>
      </p:sp>
      <p:sp>
        <p:nvSpPr>
          <p:cNvPr id="5" name="CuadroTexto 4">
            <a:extLst>
              <a:ext uri="{FF2B5EF4-FFF2-40B4-BE49-F238E27FC236}">
                <a16:creationId xmlns:a16="http://schemas.microsoft.com/office/drawing/2014/main" id="{2DCE8B1C-E431-0B68-3ABD-B80C38296B9A}"/>
              </a:ext>
            </a:extLst>
          </p:cNvPr>
          <p:cNvSpPr txBox="1"/>
          <p:nvPr/>
        </p:nvSpPr>
        <p:spPr>
          <a:xfrm rot="16200000">
            <a:off x="10633273" y="3376069"/>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184151004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1F19DC-98C5-A1C1-7082-1651EA8BE17A}"/>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96C2AA10-0C88-6E7F-7504-9E0705CD0929}"/>
              </a:ext>
            </a:extLst>
          </p:cNvPr>
          <p:cNvSpPr>
            <a:spLocks noGrp="1"/>
          </p:cNvSpPr>
          <p:nvPr>
            <p:ph type="body" sz="quarter" idx="24"/>
          </p:nvPr>
        </p:nvSpPr>
        <p:spPr/>
        <p:txBody>
          <a:bodyPr/>
          <a:lstStyle/>
          <a:p>
            <a:endParaRPr lang="es-ES" dirty="0"/>
          </a:p>
        </p:txBody>
      </p:sp>
      <p:sp>
        <p:nvSpPr>
          <p:cNvPr id="6" name="Marcador de número de diapositiva 5">
            <a:extLst>
              <a:ext uri="{FF2B5EF4-FFF2-40B4-BE49-F238E27FC236}">
                <a16:creationId xmlns:a16="http://schemas.microsoft.com/office/drawing/2014/main" id="{825E9662-3362-32E1-3483-8D281A9683D5}"/>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sp>
        <p:nvSpPr>
          <p:cNvPr id="12" name="6 CuadroTexto">
            <a:extLst>
              <a:ext uri="{FF2B5EF4-FFF2-40B4-BE49-F238E27FC236}">
                <a16:creationId xmlns:a16="http://schemas.microsoft.com/office/drawing/2014/main" id="{33F0A84F-E73A-6C99-DAB0-AD283790DCC2}"/>
              </a:ext>
            </a:extLst>
          </p:cNvPr>
          <p:cNvSpPr txBox="1"/>
          <p:nvPr/>
        </p:nvSpPr>
        <p:spPr>
          <a:xfrm>
            <a:off x="6885497" y="3562763"/>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2" name="Imagen 1">
            <a:extLst>
              <a:ext uri="{FF2B5EF4-FFF2-40B4-BE49-F238E27FC236}">
                <a16:creationId xmlns:a16="http://schemas.microsoft.com/office/drawing/2014/main" id="{DA1E2420-E33D-FC57-D223-068AB4599655}"/>
              </a:ext>
            </a:extLst>
          </p:cNvPr>
          <p:cNvPicPr>
            <a:picLocks noChangeAspect="1"/>
          </p:cNvPicPr>
          <p:nvPr/>
        </p:nvPicPr>
        <p:blipFill>
          <a:blip r:embed="rId3"/>
          <a:stretch>
            <a:fillRect/>
          </a:stretch>
        </p:blipFill>
        <p:spPr>
          <a:xfrm>
            <a:off x="10623775" y="231972"/>
            <a:ext cx="1329043" cy="457240"/>
          </a:xfrm>
          <a:prstGeom prst="rect">
            <a:avLst/>
          </a:prstGeom>
        </p:spPr>
      </p:pic>
      <p:sp>
        <p:nvSpPr>
          <p:cNvPr id="9" name="Título 3">
            <a:extLst>
              <a:ext uri="{FF2B5EF4-FFF2-40B4-BE49-F238E27FC236}">
                <a16:creationId xmlns:a16="http://schemas.microsoft.com/office/drawing/2014/main" id="{985CBFE9-8105-3BF1-D4A0-29CD2FD2B2C5}"/>
              </a:ext>
            </a:extLst>
          </p:cNvPr>
          <p:cNvSpPr txBox="1">
            <a:spLocks/>
          </p:cNvSpPr>
          <p:nvPr/>
        </p:nvSpPr>
        <p:spPr>
          <a:xfrm>
            <a:off x="1116411" y="286370"/>
            <a:ext cx="8683049" cy="1469134"/>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_tradnl" sz="2800" dirty="0"/>
              <a:t>Diagnóstico temprano </a:t>
            </a:r>
            <a:endParaRPr lang="es-ES" sz="2800" dirty="0"/>
          </a:p>
        </p:txBody>
      </p:sp>
      <p:pic>
        <p:nvPicPr>
          <p:cNvPr id="17" name="Imagen 16">
            <a:extLst>
              <a:ext uri="{FF2B5EF4-FFF2-40B4-BE49-F238E27FC236}">
                <a16:creationId xmlns:a16="http://schemas.microsoft.com/office/drawing/2014/main" id="{F362A20E-C5B1-1724-18DB-32BC6EE05E7D}"/>
              </a:ext>
            </a:extLst>
          </p:cNvPr>
          <p:cNvPicPr>
            <a:picLocks noChangeAspect="1"/>
          </p:cNvPicPr>
          <p:nvPr/>
        </p:nvPicPr>
        <p:blipFill>
          <a:blip r:embed="rId4"/>
          <a:stretch>
            <a:fillRect/>
          </a:stretch>
        </p:blipFill>
        <p:spPr>
          <a:xfrm>
            <a:off x="5431644" y="631775"/>
            <a:ext cx="5478759" cy="5594449"/>
          </a:xfrm>
          <a:prstGeom prst="rect">
            <a:avLst/>
          </a:prstGeom>
        </p:spPr>
      </p:pic>
      <p:sp>
        <p:nvSpPr>
          <p:cNvPr id="19" name="CuadroTexto 18">
            <a:extLst>
              <a:ext uri="{FF2B5EF4-FFF2-40B4-BE49-F238E27FC236}">
                <a16:creationId xmlns:a16="http://schemas.microsoft.com/office/drawing/2014/main" id="{7F89B598-931E-CFA7-FC33-CBF89CF63DF4}"/>
              </a:ext>
            </a:extLst>
          </p:cNvPr>
          <p:cNvSpPr txBox="1"/>
          <p:nvPr/>
        </p:nvSpPr>
        <p:spPr>
          <a:xfrm>
            <a:off x="1116410" y="858641"/>
            <a:ext cx="3915427" cy="3046988"/>
          </a:xfrm>
          <a:prstGeom prst="rect">
            <a:avLst/>
          </a:prstGeom>
          <a:noFill/>
        </p:spPr>
        <p:txBody>
          <a:bodyPr wrap="square" rtlCol="0">
            <a:spAutoFit/>
          </a:bodyPr>
          <a:lstStyle/>
          <a:p>
            <a:pPr marL="171450" indent="-171450" algn="just">
              <a:buFont typeface="Arial" panose="020B0604020202020204" pitchFamily="34" charset="0"/>
              <a:buChar char="•"/>
            </a:pPr>
            <a:r>
              <a:rPr lang="es-ES" sz="1200" b="1" dirty="0">
                <a:solidFill>
                  <a:schemeClr val="accent1"/>
                </a:solidFill>
              </a:rPr>
              <a:t>El índice tobillo-brazo (ITB) </a:t>
            </a:r>
            <a:r>
              <a:rPr lang="es-ES" sz="1200" dirty="0">
                <a:solidFill>
                  <a:schemeClr val="accent1"/>
                </a:solidFill>
                <a:sym typeface="Wingdings" panose="05000000000000000000" pitchFamily="2" charset="2"/>
              </a:rPr>
              <a:t> </a:t>
            </a:r>
            <a:r>
              <a:rPr lang="es-ES" sz="1200" b="1" dirty="0">
                <a:solidFill>
                  <a:schemeClr val="accent1"/>
                </a:solidFill>
              </a:rPr>
              <a:t>prueba de diagnóstico inicial recomendada </a:t>
            </a:r>
            <a:r>
              <a:rPr lang="es-ES" sz="1200" dirty="0">
                <a:solidFill>
                  <a:schemeClr val="accent1"/>
                </a:solidFill>
              </a:rPr>
              <a:t>para el cribado y diagnóstico</a:t>
            </a:r>
            <a:r>
              <a:rPr lang="es-ES" sz="1200" baseline="30000" dirty="0">
                <a:solidFill>
                  <a:schemeClr val="accent1"/>
                </a:solidFill>
              </a:rPr>
              <a:t>1</a:t>
            </a:r>
            <a:r>
              <a:rPr lang="es-ES" sz="1200" dirty="0">
                <a:solidFill>
                  <a:schemeClr val="accent1"/>
                </a:solidFill>
              </a:rPr>
              <a:t>.</a:t>
            </a:r>
          </a:p>
          <a:p>
            <a:pPr marL="171450" indent="-171450" algn="ctr">
              <a:buFont typeface="Arial" panose="020B0604020202020204" pitchFamily="34" charset="0"/>
              <a:buChar char="•"/>
            </a:pPr>
            <a:endParaRPr lang="es-ES" sz="1200" dirty="0">
              <a:solidFill>
                <a:schemeClr val="accent1"/>
              </a:solidFill>
            </a:endParaRPr>
          </a:p>
          <a:p>
            <a:pPr marL="171450" indent="-171450" algn="just">
              <a:buFont typeface="Arial" panose="020B0604020202020204" pitchFamily="34" charset="0"/>
              <a:buChar char="•"/>
            </a:pPr>
            <a:r>
              <a:rPr lang="es-ES" sz="1200" b="1" dirty="0">
                <a:solidFill>
                  <a:schemeClr val="accent1"/>
                </a:solidFill>
              </a:rPr>
              <a:t>ITB</a:t>
            </a:r>
            <a:r>
              <a:rPr lang="es-ES" sz="1200" dirty="0">
                <a:solidFill>
                  <a:schemeClr val="accent1"/>
                </a:solidFill>
              </a:rPr>
              <a:t> </a:t>
            </a:r>
            <a:r>
              <a:rPr lang="es-ES" sz="1200" dirty="0">
                <a:solidFill>
                  <a:schemeClr val="accent1"/>
                </a:solidFill>
                <a:sym typeface="Wingdings" panose="05000000000000000000" pitchFamily="2" charset="2"/>
              </a:rPr>
              <a:t> </a:t>
            </a:r>
            <a:r>
              <a:rPr lang="es-ES" sz="1200" dirty="0">
                <a:solidFill>
                  <a:schemeClr val="accent1"/>
                </a:solidFill>
              </a:rPr>
              <a:t>sirve como </a:t>
            </a:r>
            <a:r>
              <a:rPr lang="es-ES" sz="1200" b="1" dirty="0">
                <a:solidFill>
                  <a:schemeClr val="accent1"/>
                </a:solidFill>
              </a:rPr>
              <a:t>marcador sustituto de la mortalidad cardiovascular </a:t>
            </a:r>
            <a:r>
              <a:rPr lang="es-ES" sz="1200" dirty="0">
                <a:solidFill>
                  <a:schemeClr val="accent1"/>
                </a:solidFill>
              </a:rPr>
              <a:t>y por todas las causas</a:t>
            </a:r>
            <a:r>
              <a:rPr lang="es-ES" sz="1200" baseline="30000" dirty="0">
                <a:solidFill>
                  <a:schemeClr val="accent1"/>
                </a:solidFill>
              </a:rPr>
              <a:t>1</a:t>
            </a:r>
            <a:r>
              <a:rPr lang="es-ES" sz="1200" dirty="0">
                <a:solidFill>
                  <a:schemeClr val="accent1"/>
                </a:solidFill>
              </a:rPr>
              <a:t>.</a:t>
            </a:r>
          </a:p>
          <a:p>
            <a:pPr marL="171450" indent="-171450" algn="just">
              <a:buFont typeface="Arial" panose="020B0604020202020204" pitchFamily="34" charset="0"/>
              <a:buChar char="•"/>
            </a:pPr>
            <a:endParaRPr lang="es-ES" sz="1200" dirty="0">
              <a:solidFill>
                <a:schemeClr val="accent1"/>
              </a:solidFill>
            </a:endParaRPr>
          </a:p>
          <a:p>
            <a:pPr marL="171450" indent="-171450" algn="just">
              <a:buFont typeface="Arial" panose="020B0604020202020204" pitchFamily="34" charset="0"/>
              <a:buChar char="•"/>
            </a:pPr>
            <a:r>
              <a:rPr lang="es-ES" sz="1200" b="1" dirty="0">
                <a:solidFill>
                  <a:schemeClr val="accent1"/>
                </a:solidFill>
              </a:rPr>
              <a:t>Ecografía dúplex </a:t>
            </a:r>
            <a:r>
              <a:rPr lang="es-ES" sz="1200" dirty="0">
                <a:solidFill>
                  <a:schemeClr val="accent1"/>
                </a:solidFill>
                <a:sym typeface="Wingdings" panose="05000000000000000000" pitchFamily="2" charset="2"/>
              </a:rPr>
              <a:t> </a:t>
            </a:r>
            <a:r>
              <a:rPr lang="es-ES" sz="1200" b="1" dirty="0">
                <a:solidFill>
                  <a:schemeClr val="accent1"/>
                </a:solidFill>
                <a:sym typeface="Wingdings" panose="05000000000000000000" pitchFamily="2" charset="2"/>
              </a:rPr>
              <a:t>método de imagen de primera línea</a:t>
            </a:r>
            <a:r>
              <a:rPr lang="es-ES" sz="1200" dirty="0">
                <a:solidFill>
                  <a:schemeClr val="accent1"/>
                </a:solidFill>
                <a:sym typeface="Wingdings" panose="05000000000000000000" pitchFamily="2" charset="2"/>
              </a:rPr>
              <a:t> recomendado para confirmar la EAP</a:t>
            </a:r>
            <a:r>
              <a:rPr lang="es-ES" sz="1200" baseline="30000" dirty="0">
                <a:solidFill>
                  <a:schemeClr val="accent1"/>
                </a:solidFill>
              </a:rPr>
              <a:t>1</a:t>
            </a:r>
            <a:r>
              <a:rPr lang="es-ES" sz="1200" dirty="0">
                <a:solidFill>
                  <a:schemeClr val="accent1"/>
                </a:solidFill>
                <a:sym typeface="Wingdings" panose="05000000000000000000" pitchFamily="2" charset="2"/>
              </a:rPr>
              <a:t>.</a:t>
            </a:r>
          </a:p>
          <a:p>
            <a:pPr marL="171450" indent="-171450" algn="just">
              <a:buFont typeface="Arial" panose="020B0604020202020204" pitchFamily="34" charset="0"/>
              <a:buChar char="•"/>
            </a:pPr>
            <a:endParaRPr lang="es-ES" sz="1200" dirty="0">
              <a:solidFill>
                <a:schemeClr val="accent1"/>
              </a:solidFill>
              <a:sym typeface="Wingdings" panose="05000000000000000000" pitchFamily="2" charset="2"/>
            </a:endParaRPr>
          </a:p>
          <a:p>
            <a:pPr marL="171450" indent="-171450" algn="just">
              <a:buFont typeface="Arial" panose="020B0604020202020204" pitchFamily="34" charset="0"/>
              <a:buChar char="•"/>
            </a:pPr>
            <a:r>
              <a:rPr lang="es-ES" sz="1200" dirty="0">
                <a:solidFill>
                  <a:schemeClr val="accent1"/>
                </a:solidFill>
                <a:sym typeface="Wingdings" panose="05000000000000000000" pitchFamily="2" charset="2"/>
              </a:rPr>
              <a:t>En las mujeres, la prevalencia de los </a:t>
            </a:r>
            <a:r>
              <a:rPr lang="es-ES" sz="1200" b="1" dirty="0">
                <a:solidFill>
                  <a:schemeClr val="accent1"/>
                </a:solidFill>
                <a:sym typeface="Wingdings" panose="05000000000000000000" pitchFamily="2" charset="2"/>
              </a:rPr>
              <a:t>síntomas típicos </a:t>
            </a:r>
            <a:r>
              <a:rPr lang="es-ES" sz="1200" dirty="0">
                <a:solidFill>
                  <a:schemeClr val="accent1"/>
                </a:solidFill>
                <a:sym typeface="Wingdings" panose="05000000000000000000" pitchFamily="2" charset="2"/>
              </a:rPr>
              <a:t>es menor que en los hombres, mientras que los </a:t>
            </a:r>
            <a:r>
              <a:rPr lang="es-ES" sz="1200" b="1" dirty="0">
                <a:solidFill>
                  <a:schemeClr val="accent1"/>
                </a:solidFill>
                <a:sym typeface="Wingdings" panose="05000000000000000000" pitchFamily="2" charset="2"/>
              </a:rPr>
              <a:t>síntomas atípicos </a:t>
            </a:r>
            <a:r>
              <a:rPr lang="es-ES" sz="1200" dirty="0">
                <a:solidFill>
                  <a:schemeClr val="accent1"/>
                </a:solidFill>
                <a:sym typeface="Wingdings" panose="05000000000000000000" pitchFamily="2" charset="2"/>
              </a:rPr>
              <a:t>son más comunes  </a:t>
            </a:r>
            <a:r>
              <a:rPr lang="es-ES" sz="1200" b="1" dirty="0">
                <a:solidFill>
                  <a:schemeClr val="accent1"/>
                </a:solidFill>
                <a:sym typeface="Wingdings" panose="05000000000000000000" pitchFamily="2" charset="2"/>
              </a:rPr>
              <a:t>Cribado es esencial</a:t>
            </a:r>
            <a:r>
              <a:rPr lang="es-ES" sz="1200" baseline="30000" dirty="0">
                <a:solidFill>
                  <a:schemeClr val="accent1"/>
                </a:solidFill>
              </a:rPr>
              <a:t>1</a:t>
            </a:r>
            <a:r>
              <a:rPr lang="es-ES" sz="1200" b="1" dirty="0">
                <a:solidFill>
                  <a:schemeClr val="accent1"/>
                </a:solidFill>
                <a:sym typeface="Wingdings" panose="05000000000000000000" pitchFamily="2" charset="2"/>
              </a:rPr>
              <a:t>.</a:t>
            </a:r>
            <a:endParaRPr lang="es-ES" sz="1200" b="1" dirty="0">
              <a:solidFill>
                <a:schemeClr val="accent1"/>
              </a:solidFill>
            </a:endParaRPr>
          </a:p>
          <a:p>
            <a:pPr marL="171450" indent="-171450" algn="just">
              <a:buFont typeface="Arial" panose="020B0604020202020204" pitchFamily="34" charset="0"/>
              <a:buChar char="•"/>
            </a:pPr>
            <a:endParaRPr lang="es-ES" sz="1200" dirty="0">
              <a:solidFill>
                <a:schemeClr val="accent1"/>
              </a:solidFill>
            </a:endParaRPr>
          </a:p>
          <a:p>
            <a:pPr marL="171450" indent="-171450" algn="just">
              <a:buFont typeface="Arial" panose="020B0604020202020204" pitchFamily="34" charset="0"/>
              <a:buChar char="•"/>
            </a:pPr>
            <a:endParaRPr lang="es-ES" sz="1200" b="1" dirty="0">
              <a:solidFill>
                <a:schemeClr val="accent1"/>
              </a:solidFill>
            </a:endParaRPr>
          </a:p>
        </p:txBody>
      </p:sp>
      <p:pic>
        <p:nvPicPr>
          <p:cNvPr id="22" name="Imagen 21">
            <a:extLst>
              <a:ext uri="{FF2B5EF4-FFF2-40B4-BE49-F238E27FC236}">
                <a16:creationId xmlns:a16="http://schemas.microsoft.com/office/drawing/2014/main" id="{28246C75-2E0F-C309-84EF-453A7C267191}"/>
              </a:ext>
            </a:extLst>
          </p:cNvPr>
          <p:cNvPicPr>
            <a:picLocks noChangeAspect="1"/>
          </p:cNvPicPr>
          <p:nvPr/>
        </p:nvPicPr>
        <p:blipFill>
          <a:blip r:embed="rId5"/>
          <a:stretch>
            <a:fillRect/>
          </a:stretch>
        </p:blipFill>
        <p:spPr>
          <a:xfrm>
            <a:off x="1361045" y="3932095"/>
            <a:ext cx="3426158" cy="2230168"/>
          </a:xfrm>
          <a:prstGeom prst="rect">
            <a:avLst/>
          </a:prstGeom>
        </p:spPr>
      </p:pic>
      <p:sp>
        <p:nvSpPr>
          <p:cNvPr id="3" name="CuadroTexto 2">
            <a:extLst>
              <a:ext uri="{FF2B5EF4-FFF2-40B4-BE49-F238E27FC236}">
                <a16:creationId xmlns:a16="http://schemas.microsoft.com/office/drawing/2014/main" id="{4B508E35-107A-FDDE-A20A-98E7957A5304}"/>
              </a:ext>
            </a:extLst>
          </p:cNvPr>
          <p:cNvSpPr txBox="1"/>
          <p:nvPr/>
        </p:nvSpPr>
        <p:spPr>
          <a:xfrm>
            <a:off x="3837027" y="6310019"/>
            <a:ext cx="4187109" cy="261610"/>
          </a:xfrm>
          <a:prstGeom prst="rect">
            <a:avLst/>
          </a:prstGeom>
          <a:noFill/>
        </p:spPr>
        <p:txBody>
          <a:bodyPr wrap="square">
            <a:spAutoFit/>
          </a:bodyPr>
          <a:lstStyle/>
          <a:p>
            <a:pPr algn="ctr"/>
            <a:r>
              <a:rPr lang="es-ES" sz="1050" dirty="0">
                <a:solidFill>
                  <a:schemeClr val="accent1"/>
                </a:solidFill>
              </a:rPr>
              <a:t>Guía ESC 2024 Enfermedades arteriales periféricas y aórticas</a:t>
            </a:r>
          </a:p>
        </p:txBody>
      </p:sp>
      <p:sp>
        <p:nvSpPr>
          <p:cNvPr id="8" name="CuadroTexto 7">
            <a:extLst>
              <a:ext uri="{FF2B5EF4-FFF2-40B4-BE49-F238E27FC236}">
                <a16:creationId xmlns:a16="http://schemas.microsoft.com/office/drawing/2014/main" id="{E550CC62-5263-443A-23E7-450C9FE5815A}"/>
              </a:ext>
            </a:extLst>
          </p:cNvPr>
          <p:cNvSpPr txBox="1"/>
          <p:nvPr/>
        </p:nvSpPr>
        <p:spPr>
          <a:xfrm>
            <a:off x="2061703" y="6509879"/>
            <a:ext cx="7737757"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r>
              <a:rPr lang="es-ES" dirty="0"/>
              <a:t>1. </a:t>
            </a:r>
            <a:r>
              <a:rPr lang="es-ES" dirty="0" err="1"/>
              <a:t>Mazzolai</a:t>
            </a:r>
            <a:r>
              <a:rPr lang="es-ES" dirty="0"/>
              <a:t> L, et al. 2024 ESC </a:t>
            </a:r>
            <a:r>
              <a:rPr lang="es-ES" dirty="0" err="1"/>
              <a:t>Guidelines</a:t>
            </a:r>
            <a:r>
              <a:rPr lang="es-ES" dirty="0"/>
              <a:t> </a:t>
            </a:r>
            <a:r>
              <a:rPr lang="es-ES" dirty="0" err="1"/>
              <a:t>for</a:t>
            </a:r>
            <a:r>
              <a:rPr lang="es-ES" dirty="0"/>
              <a:t> </a:t>
            </a:r>
            <a:r>
              <a:rPr lang="es-ES" dirty="0" err="1"/>
              <a:t>the</a:t>
            </a:r>
            <a:r>
              <a:rPr lang="es-ES" dirty="0"/>
              <a:t> </a:t>
            </a:r>
            <a:r>
              <a:rPr lang="es-ES" dirty="0" err="1"/>
              <a:t>management</a:t>
            </a:r>
            <a:r>
              <a:rPr lang="es-ES" dirty="0"/>
              <a:t> </a:t>
            </a:r>
            <a:r>
              <a:rPr lang="es-ES" dirty="0" err="1"/>
              <a:t>of</a:t>
            </a:r>
            <a:r>
              <a:rPr lang="es-ES" dirty="0"/>
              <a:t> </a:t>
            </a:r>
            <a:r>
              <a:rPr lang="es-ES" dirty="0" err="1"/>
              <a:t>peripheral</a:t>
            </a:r>
            <a:r>
              <a:rPr lang="es-ES" dirty="0"/>
              <a:t> arterial and </a:t>
            </a:r>
            <a:r>
              <a:rPr lang="es-ES" dirty="0" err="1"/>
              <a:t>aortic</a:t>
            </a:r>
            <a:r>
              <a:rPr lang="es-ES" dirty="0"/>
              <a:t> </a:t>
            </a:r>
            <a:r>
              <a:rPr lang="es-ES" dirty="0" err="1"/>
              <a:t>diseases</a:t>
            </a:r>
            <a:r>
              <a:rPr lang="es-ES" dirty="0"/>
              <a:t>. </a:t>
            </a:r>
            <a:r>
              <a:rPr lang="es-ES" dirty="0" err="1"/>
              <a:t>Eur</a:t>
            </a:r>
            <a:r>
              <a:rPr lang="es-ES" dirty="0"/>
              <a:t> Heart J. 2024 </a:t>
            </a:r>
            <a:r>
              <a:rPr lang="es-ES" dirty="0" err="1"/>
              <a:t>Sep</a:t>
            </a:r>
            <a:r>
              <a:rPr lang="es-ES" dirty="0"/>
              <a:t> 29;45(36):3538-3700. </a:t>
            </a:r>
            <a:r>
              <a:rPr lang="es-ES" dirty="0" err="1"/>
              <a:t>doi</a:t>
            </a:r>
            <a:r>
              <a:rPr lang="es-ES" dirty="0"/>
              <a:t>: 10.1093/</a:t>
            </a:r>
            <a:r>
              <a:rPr lang="es-ES" dirty="0" err="1"/>
              <a:t>eurheartj</a:t>
            </a:r>
            <a:r>
              <a:rPr lang="es-ES" dirty="0"/>
              <a:t>/ehae179.</a:t>
            </a:r>
          </a:p>
        </p:txBody>
      </p:sp>
      <p:sp>
        <p:nvSpPr>
          <p:cNvPr id="11" name="CuadroTexto 10">
            <a:extLst>
              <a:ext uri="{FF2B5EF4-FFF2-40B4-BE49-F238E27FC236}">
                <a16:creationId xmlns:a16="http://schemas.microsoft.com/office/drawing/2014/main" id="{E3D58F3A-5686-F647-F6C8-3F98AB72A7F6}"/>
              </a:ext>
            </a:extLst>
          </p:cNvPr>
          <p:cNvSpPr txBox="1"/>
          <p:nvPr/>
        </p:nvSpPr>
        <p:spPr>
          <a:xfrm>
            <a:off x="2319338" y="3927488"/>
            <a:ext cx="261937" cy="307777"/>
          </a:xfrm>
          <a:prstGeom prst="rect">
            <a:avLst/>
          </a:prstGeom>
          <a:noFill/>
        </p:spPr>
        <p:txBody>
          <a:bodyPr wrap="square">
            <a:spAutoFit/>
          </a:bodyPr>
          <a:lstStyle/>
          <a:p>
            <a:r>
              <a:rPr lang="es-ES" sz="1400" baseline="30000" dirty="0">
                <a:solidFill>
                  <a:schemeClr val="accent1"/>
                </a:solidFill>
              </a:rPr>
              <a:t>1</a:t>
            </a:r>
            <a:endParaRPr lang="es-ES" sz="1400" dirty="0"/>
          </a:p>
        </p:txBody>
      </p:sp>
      <p:sp>
        <p:nvSpPr>
          <p:cNvPr id="14" name="CuadroTexto 13">
            <a:extLst>
              <a:ext uri="{FF2B5EF4-FFF2-40B4-BE49-F238E27FC236}">
                <a16:creationId xmlns:a16="http://schemas.microsoft.com/office/drawing/2014/main" id="{34F1312B-8428-40C2-686A-C105F8C8C328}"/>
              </a:ext>
            </a:extLst>
          </p:cNvPr>
          <p:cNvSpPr txBox="1"/>
          <p:nvPr/>
        </p:nvSpPr>
        <p:spPr>
          <a:xfrm>
            <a:off x="8146117" y="6151240"/>
            <a:ext cx="2022234"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pPr algn="r"/>
            <a:r>
              <a:rPr lang="es-ES" dirty="0" err="1"/>
              <a:t>Eur</a:t>
            </a:r>
            <a:r>
              <a:rPr lang="es-ES" dirty="0"/>
              <a:t> Heart J. 2024 </a:t>
            </a:r>
            <a:r>
              <a:rPr lang="es-ES" dirty="0" err="1"/>
              <a:t>Sep</a:t>
            </a:r>
            <a:r>
              <a:rPr lang="es-ES" dirty="0"/>
              <a:t> 29;45(36):3538-3700</a:t>
            </a:r>
          </a:p>
        </p:txBody>
      </p:sp>
      <p:sp>
        <p:nvSpPr>
          <p:cNvPr id="5" name="CuadroTexto 4">
            <a:extLst>
              <a:ext uri="{FF2B5EF4-FFF2-40B4-BE49-F238E27FC236}">
                <a16:creationId xmlns:a16="http://schemas.microsoft.com/office/drawing/2014/main" id="{A902202B-487C-6D45-9B0D-01AE66936C67}"/>
              </a:ext>
            </a:extLst>
          </p:cNvPr>
          <p:cNvSpPr txBox="1"/>
          <p:nvPr/>
        </p:nvSpPr>
        <p:spPr>
          <a:xfrm>
            <a:off x="2825910" y="5853768"/>
            <a:ext cx="2022234"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pPr algn="r"/>
            <a:r>
              <a:rPr lang="es-ES" dirty="0" err="1"/>
              <a:t>Eur</a:t>
            </a:r>
            <a:r>
              <a:rPr lang="es-ES" dirty="0"/>
              <a:t> Heart J. 2024 </a:t>
            </a:r>
            <a:r>
              <a:rPr lang="es-ES" dirty="0" err="1"/>
              <a:t>Sep</a:t>
            </a:r>
            <a:r>
              <a:rPr lang="es-ES" dirty="0"/>
              <a:t> 29;45(36):3538-3700</a:t>
            </a:r>
          </a:p>
        </p:txBody>
      </p:sp>
      <p:sp>
        <p:nvSpPr>
          <p:cNvPr id="7" name="CuadroTexto 6">
            <a:extLst>
              <a:ext uri="{FF2B5EF4-FFF2-40B4-BE49-F238E27FC236}">
                <a16:creationId xmlns:a16="http://schemas.microsoft.com/office/drawing/2014/main" id="{AE0A7941-3A18-D1E2-B743-06D661887130}"/>
              </a:ext>
            </a:extLst>
          </p:cNvPr>
          <p:cNvSpPr txBox="1"/>
          <p:nvPr/>
        </p:nvSpPr>
        <p:spPr>
          <a:xfrm rot="16200000">
            <a:off x="10633273" y="3376069"/>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31237773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3">
            <a:extLst>
              <a:ext uri="{FF2B5EF4-FFF2-40B4-BE49-F238E27FC236}">
                <a16:creationId xmlns:a16="http://schemas.microsoft.com/office/drawing/2014/main" id="{ACDBE0D5-ED9C-E651-75FE-32BB87B304C1}"/>
              </a:ext>
            </a:extLst>
          </p:cNvPr>
          <p:cNvSpPr txBox="1">
            <a:spLocks/>
          </p:cNvSpPr>
          <p:nvPr/>
        </p:nvSpPr>
        <p:spPr>
          <a:xfrm>
            <a:off x="791039" y="415912"/>
            <a:ext cx="11220451" cy="511200"/>
          </a:xfrm>
          <a:prstGeom prst="rect">
            <a:avLst/>
          </a:prstGeom>
        </p:spPr>
        <p:txBody>
          <a:bodyPr vert="horz"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pPr>
              <a:spcAft>
                <a:spcPts val="600"/>
              </a:spcAft>
            </a:pPr>
            <a:r>
              <a:rPr lang="en-US" sz="2933" b="1" dirty="0" err="1"/>
              <a:t>Índice</a:t>
            </a:r>
            <a:endParaRPr lang="en-US" sz="2933" b="1" dirty="0"/>
          </a:p>
        </p:txBody>
      </p:sp>
      <p:graphicFrame>
        <p:nvGraphicFramePr>
          <p:cNvPr id="7" name="CuadroTexto 2">
            <a:extLst>
              <a:ext uri="{FF2B5EF4-FFF2-40B4-BE49-F238E27FC236}">
                <a16:creationId xmlns:a16="http://schemas.microsoft.com/office/drawing/2014/main" id="{E1F0BF9D-12C4-BFD8-425D-A4672CFABCEA}"/>
              </a:ext>
            </a:extLst>
          </p:cNvPr>
          <p:cNvGraphicFramePr/>
          <p:nvPr>
            <p:extLst>
              <p:ext uri="{D42A27DB-BD31-4B8C-83A1-F6EECF244321}">
                <p14:modId xmlns:p14="http://schemas.microsoft.com/office/powerpoint/2010/main" val="3208673543"/>
              </p:ext>
            </p:extLst>
          </p:nvPr>
        </p:nvGraphicFramePr>
        <p:xfrm>
          <a:off x="1450848" y="1589469"/>
          <a:ext cx="8940800" cy="44259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CuadroTexto 2">
            <a:extLst>
              <a:ext uri="{FF2B5EF4-FFF2-40B4-BE49-F238E27FC236}">
                <a16:creationId xmlns:a16="http://schemas.microsoft.com/office/drawing/2014/main" id="{602134C6-8229-9A43-25C8-882E6B7191FA}"/>
              </a:ext>
            </a:extLst>
          </p:cNvPr>
          <p:cNvSpPr txBox="1"/>
          <p:nvPr/>
        </p:nvSpPr>
        <p:spPr>
          <a:xfrm rot="16200000">
            <a:off x="10633273" y="3376069"/>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191317245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E8D50D-8A0D-CFFD-AEAF-4F26388C1E09}"/>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8791074C-7B5D-992B-D3A9-15A5CBEEF696}"/>
              </a:ext>
            </a:extLst>
          </p:cNvPr>
          <p:cNvSpPr>
            <a:spLocks noGrp="1"/>
          </p:cNvSpPr>
          <p:nvPr>
            <p:ph type="body" sz="quarter" idx="24"/>
          </p:nvPr>
        </p:nvSpPr>
        <p:spPr/>
        <p:txBody>
          <a:bodyPr/>
          <a:lstStyle/>
          <a:p>
            <a:endParaRPr lang="es-ES" dirty="0"/>
          </a:p>
        </p:txBody>
      </p:sp>
      <p:sp>
        <p:nvSpPr>
          <p:cNvPr id="6" name="Marcador de número de diapositiva 5">
            <a:extLst>
              <a:ext uri="{FF2B5EF4-FFF2-40B4-BE49-F238E27FC236}">
                <a16:creationId xmlns:a16="http://schemas.microsoft.com/office/drawing/2014/main" id="{6E1AB2F6-D432-FB44-D18D-7B12B5048C9B}"/>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sp>
        <p:nvSpPr>
          <p:cNvPr id="12" name="6 CuadroTexto">
            <a:extLst>
              <a:ext uri="{FF2B5EF4-FFF2-40B4-BE49-F238E27FC236}">
                <a16:creationId xmlns:a16="http://schemas.microsoft.com/office/drawing/2014/main" id="{FBCDB503-2C09-62D1-2DDD-7F2DF03A071A}"/>
              </a:ext>
            </a:extLst>
          </p:cNvPr>
          <p:cNvSpPr txBox="1"/>
          <p:nvPr/>
        </p:nvSpPr>
        <p:spPr>
          <a:xfrm>
            <a:off x="716605" y="3464573"/>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2" name="Imagen 1">
            <a:extLst>
              <a:ext uri="{FF2B5EF4-FFF2-40B4-BE49-F238E27FC236}">
                <a16:creationId xmlns:a16="http://schemas.microsoft.com/office/drawing/2014/main" id="{4768F6F7-C59E-3B95-D410-760917FF992D}"/>
              </a:ext>
            </a:extLst>
          </p:cNvPr>
          <p:cNvPicPr>
            <a:picLocks noChangeAspect="1"/>
          </p:cNvPicPr>
          <p:nvPr/>
        </p:nvPicPr>
        <p:blipFill>
          <a:blip r:embed="rId3"/>
          <a:stretch>
            <a:fillRect/>
          </a:stretch>
        </p:blipFill>
        <p:spPr>
          <a:xfrm>
            <a:off x="10623775" y="231972"/>
            <a:ext cx="1329043" cy="457240"/>
          </a:xfrm>
          <a:prstGeom prst="rect">
            <a:avLst/>
          </a:prstGeom>
        </p:spPr>
      </p:pic>
      <p:sp>
        <p:nvSpPr>
          <p:cNvPr id="9" name="Título 3">
            <a:extLst>
              <a:ext uri="{FF2B5EF4-FFF2-40B4-BE49-F238E27FC236}">
                <a16:creationId xmlns:a16="http://schemas.microsoft.com/office/drawing/2014/main" id="{F73107BA-21D9-CA79-9635-E30F185A0C12}"/>
              </a:ext>
            </a:extLst>
          </p:cNvPr>
          <p:cNvSpPr txBox="1">
            <a:spLocks/>
          </p:cNvSpPr>
          <p:nvPr/>
        </p:nvSpPr>
        <p:spPr>
          <a:xfrm>
            <a:off x="1116411" y="286370"/>
            <a:ext cx="9507364" cy="1469134"/>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 sz="2800" dirty="0"/>
              <a:t>Tratamiento médico óptimo basado en 3 pilares</a:t>
            </a:r>
          </a:p>
        </p:txBody>
      </p:sp>
      <p:sp>
        <p:nvSpPr>
          <p:cNvPr id="17" name="CuadroTexto 16">
            <a:extLst>
              <a:ext uri="{FF2B5EF4-FFF2-40B4-BE49-F238E27FC236}">
                <a16:creationId xmlns:a16="http://schemas.microsoft.com/office/drawing/2014/main" id="{B6E04F6F-AD34-8BE9-746F-DFE325B1E103}"/>
              </a:ext>
            </a:extLst>
          </p:cNvPr>
          <p:cNvSpPr txBox="1"/>
          <p:nvPr/>
        </p:nvSpPr>
        <p:spPr>
          <a:xfrm>
            <a:off x="1983828" y="1478505"/>
            <a:ext cx="2757683" cy="276999"/>
          </a:xfrm>
          <a:prstGeom prst="rect">
            <a:avLst/>
          </a:prstGeom>
          <a:solidFill>
            <a:schemeClr val="accent2"/>
          </a:solidFill>
          <a:ln>
            <a:solidFill>
              <a:schemeClr val="accent4"/>
            </a:solidFill>
          </a:ln>
        </p:spPr>
        <p:txBody>
          <a:bodyPr wrap="square">
            <a:spAutoFit/>
          </a:bodyPr>
          <a:lstStyle/>
          <a:p>
            <a:pPr algn="ctr"/>
            <a:r>
              <a:rPr lang="es-ES" sz="1200" dirty="0">
                <a:solidFill>
                  <a:schemeClr val="accent1"/>
                </a:solidFill>
              </a:rPr>
              <a:t>Tratamiento farmacológico</a:t>
            </a:r>
            <a:r>
              <a:rPr lang="es-ES" sz="1200" baseline="30000" dirty="0">
                <a:solidFill>
                  <a:schemeClr val="accent1"/>
                </a:solidFill>
              </a:rPr>
              <a:t>1</a:t>
            </a:r>
          </a:p>
        </p:txBody>
      </p:sp>
      <p:sp>
        <p:nvSpPr>
          <p:cNvPr id="19" name="CuadroTexto 18">
            <a:extLst>
              <a:ext uri="{FF2B5EF4-FFF2-40B4-BE49-F238E27FC236}">
                <a16:creationId xmlns:a16="http://schemas.microsoft.com/office/drawing/2014/main" id="{247647F0-F081-D8B0-9747-7F3CA42EF67D}"/>
              </a:ext>
            </a:extLst>
          </p:cNvPr>
          <p:cNvSpPr txBox="1"/>
          <p:nvPr/>
        </p:nvSpPr>
        <p:spPr>
          <a:xfrm>
            <a:off x="1983827" y="2172644"/>
            <a:ext cx="2757683" cy="276999"/>
          </a:xfrm>
          <a:prstGeom prst="rect">
            <a:avLst/>
          </a:prstGeom>
          <a:solidFill>
            <a:schemeClr val="accent2"/>
          </a:solidFill>
          <a:ln>
            <a:solidFill>
              <a:schemeClr val="accent4"/>
            </a:solidFill>
          </a:ln>
        </p:spPr>
        <p:txBody>
          <a:bodyPr wrap="square">
            <a:spAutoFit/>
          </a:bodyPr>
          <a:lstStyle/>
          <a:p>
            <a:pPr algn="ctr"/>
            <a:r>
              <a:rPr lang="es-ES" sz="1200" dirty="0">
                <a:solidFill>
                  <a:schemeClr val="accent1"/>
                </a:solidFill>
              </a:rPr>
              <a:t>Entrenamiento físico supervisado</a:t>
            </a:r>
            <a:r>
              <a:rPr lang="es-ES" sz="1200" baseline="30000" dirty="0">
                <a:solidFill>
                  <a:schemeClr val="accent1"/>
                </a:solidFill>
              </a:rPr>
              <a:t>1</a:t>
            </a:r>
            <a:endParaRPr lang="es-ES" sz="1200" b="1" dirty="0">
              <a:solidFill>
                <a:schemeClr val="accent1"/>
              </a:solidFill>
            </a:endParaRPr>
          </a:p>
        </p:txBody>
      </p:sp>
      <p:sp>
        <p:nvSpPr>
          <p:cNvPr id="22" name="CuadroTexto 21">
            <a:extLst>
              <a:ext uri="{FF2B5EF4-FFF2-40B4-BE49-F238E27FC236}">
                <a16:creationId xmlns:a16="http://schemas.microsoft.com/office/drawing/2014/main" id="{7B99E277-6D1A-9FD9-E5AA-C0B946CA40EA}"/>
              </a:ext>
            </a:extLst>
          </p:cNvPr>
          <p:cNvSpPr txBox="1"/>
          <p:nvPr/>
        </p:nvSpPr>
        <p:spPr>
          <a:xfrm>
            <a:off x="1983827" y="2936708"/>
            <a:ext cx="2757683" cy="276999"/>
          </a:xfrm>
          <a:prstGeom prst="rect">
            <a:avLst/>
          </a:prstGeom>
          <a:solidFill>
            <a:schemeClr val="accent2"/>
          </a:solidFill>
          <a:ln>
            <a:solidFill>
              <a:schemeClr val="accent4"/>
            </a:solidFill>
          </a:ln>
        </p:spPr>
        <p:txBody>
          <a:bodyPr wrap="square">
            <a:spAutoFit/>
          </a:bodyPr>
          <a:lstStyle/>
          <a:p>
            <a:pPr algn="ctr"/>
            <a:r>
              <a:rPr lang="es-ES" sz="1200" dirty="0">
                <a:solidFill>
                  <a:schemeClr val="accent1"/>
                </a:solidFill>
              </a:rPr>
              <a:t>Modificación estilo de vida</a:t>
            </a:r>
            <a:r>
              <a:rPr lang="es-ES" sz="1200" baseline="30000" dirty="0">
                <a:solidFill>
                  <a:schemeClr val="accent1"/>
                </a:solidFill>
              </a:rPr>
              <a:t>1</a:t>
            </a:r>
            <a:endParaRPr lang="es-ES" sz="1200" b="1" dirty="0">
              <a:solidFill>
                <a:schemeClr val="accent1"/>
              </a:solidFill>
            </a:endParaRPr>
          </a:p>
        </p:txBody>
      </p:sp>
      <p:sp>
        <p:nvSpPr>
          <p:cNvPr id="25" name="Rectángulo 24">
            <a:extLst>
              <a:ext uri="{FF2B5EF4-FFF2-40B4-BE49-F238E27FC236}">
                <a16:creationId xmlns:a16="http://schemas.microsoft.com/office/drawing/2014/main" id="{7DA0C01F-A57F-EDD7-DC40-3F8BCB920F0E}"/>
              </a:ext>
            </a:extLst>
          </p:cNvPr>
          <p:cNvSpPr/>
          <p:nvPr/>
        </p:nvSpPr>
        <p:spPr>
          <a:xfrm>
            <a:off x="1866219" y="3889459"/>
            <a:ext cx="3894072" cy="1278053"/>
          </a:xfrm>
          <a:prstGeom prst="rect">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lgn="just">
              <a:buFont typeface="Arial" panose="020B0604020202020204" pitchFamily="34" charset="0"/>
              <a:buChar char="•"/>
            </a:pPr>
            <a:r>
              <a:rPr lang="es-ES" sz="1200" b="1" dirty="0">
                <a:solidFill>
                  <a:schemeClr val="accent1"/>
                </a:solidFill>
              </a:rPr>
              <a:t>Revascularización NO recomendada en la EAP </a:t>
            </a:r>
            <a:r>
              <a:rPr lang="es-ES" sz="1200" b="1" u="sng" dirty="0">
                <a:solidFill>
                  <a:schemeClr val="accent1"/>
                </a:solidFill>
              </a:rPr>
              <a:t>asintomática</a:t>
            </a:r>
            <a:r>
              <a:rPr lang="es-ES" sz="1200" baseline="30000" dirty="0">
                <a:solidFill>
                  <a:schemeClr val="accent1"/>
                </a:solidFill>
              </a:rPr>
              <a:t>1</a:t>
            </a:r>
            <a:r>
              <a:rPr lang="es-ES" sz="1200" b="1" u="sng" dirty="0">
                <a:solidFill>
                  <a:schemeClr val="accent1"/>
                </a:solidFill>
              </a:rPr>
              <a:t>.</a:t>
            </a:r>
          </a:p>
          <a:p>
            <a:pPr marL="285750" indent="-285750" algn="just">
              <a:buFont typeface="Arial" panose="020B0604020202020204" pitchFamily="34" charset="0"/>
              <a:buChar char="•"/>
            </a:pPr>
            <a:endParaRPr lang="es-ES" sz="1200" dirty="0">
              <a:solidFill>
                <a:schemeClr val="accent1"/>
              </a:solidFill>
            </a:endParaRPr>
          </a:p>
          <a:p>
            <a:pPr marL="285750" indent="-285750" algn="just">
              <a:buFont typeface="Arial" panose="020B0604020202020204" pitchFamily="34" charset="0"/>
              <a:buChar char="•"/>
            </a:pPr>
            <a:r>
              <a:rPr lang="es-ES" sz="1200" dirty="0">
                <a:solidFill>
                  <a:schemeClr val="accent1"/>
                </a:solidFill>
              </a:rPr>
              <a:t>Revascularización en la </a:t>
            </a:r>
            <a:r>
              <a:rPr lang="es-ES" sz="1200" b="1" dirty="0">
                <a:solidFill>
                  <a:schemeClr val="accent1"/>
                </a:solidFill>
              </a:rPr>
              <a:t>EAP </a:t>
            </a:r>
            <a:r>
              <a:rPr lang="es-ES" sz="1200" b="1" u="sng" dirty="0">
                <a:solidFill>
                  <a:schemeClr val="accent1"/>
                </a:solidFill>
              </a:rPr>
              <a:t>sintomática</a:t>
            </a:r>
            <a:r>
              <a:rPr lang="es-ES" sz="1200" b="1" dirty="0">
                <a:solidFill>
                  <a:schemeClr val="accent1"/>
                </a:solidFill>
              </a:rPr>
              <a:t> </a:t>
            </a:r>
            <a:r>
              <a:rPr lang="es-ES" sz="1200" dirty="0">
                <a:solidFill>
                  <a:schemeClr val="accent1"/>
                </a:solidFill>
              </a:rPr>
              <a:t>debe realizarse </a:t>
            </a:r>
            <a:r>
              <a:rPr lang="es-ES" sz="1200" b="1" dirty="0">
                <a:solidFill>
                  <a:schemeClr val="accent1"/>
                </a:solidFill>
              </a:rPr>
              <a:t>tras un periodo de tratamiento médico óptimo y ejercicio</a:t>
            </a:r>
            <a:r>
              <a:rPr lang="es-ES" sz="1200" baseline="30000" dirty="0">
                <a:solidFill>
                  <a:schemeClr val="accent1"/>
                </a:solidFill>
              </a:rPr>
              <a:t>1</a:t>
            </a:r>
            <a:r>
              <a:rPr lang="es-ES" sz="1200" dirty="0">
                <a:solidFill>
                  <a:schemeClr val="accent1"/>
                </a:solidFill>
              </a:rPr>
              <a:t>. </a:t>
            </a:r>
          </a:p>
        </p:txBody>
      </p:sp>
      <p:pic>
        <p:nvPicPr>
          <p:cNvPr id="1026" name="Picture 2" descr="Pastillas - Iconos gratis de médico">
            <a:extLst>
              <a:ext uri="{FF2B5EF4-FFF2-40B4-BE49-F238E27FC236}">
                <a16:creationId xmlns:a16="http://schemas.microsoft.com/office/drawing/2014/main" id="{5B6397EB-F1D5-6E66-D66E-A51F3FEEE3A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42015" y="1184457"/>
            <a:ext cx="865094" cy="86509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alentamiento arriba aptitud icono símbolo. rutina de ejercicio y yoga logo  23220178 PNG">
            <a:extLst>
              <a:ext uri="{FF2B5EF4-FFF2-40B4-BE49-F238E27FC236}">
                <a16:creationId xmlns:a16="http://schemas.microsoft.com/office/drawing/2014/main" id="{97CCA1AE-35E5-0A98-FFD0-F5699ADB105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34037" y="1952856"/>
            <a:ext cx="716605" cy="71660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Logotipo de estilo de vida saludable - Iconos gratis de logo">
            <a:extLst>
              <a:ext uri="{FF2B5EF4-FFF2-40B4-BE49-F238E27FC236}">
                <a16:creationId xmlns:a16="http://schemas.microsoft.com/office/drawing/2014/main" id="{83E5CB33-4B8E-A6DF-27C5-092C8AC10FB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70370" y="2561026"/>
            <a:ext cx="947054" cy="947054"/>
          </a:xfrm>
          <a:prstGeom prst="rect">
            <a:avLst/>
          </a:prstGeom>
          <a:noFill/>
          <a:extLst>
            <a:ext uri="{909E8E84-426E-40DD-AFC4-6F175D3DCCD1}">
              <a14:hiddenFill xmlns:a14="http://schemas.microsoft.com/office/drawing/2010/main">
                <a:solidFill>
                  <a:srgbClr val="FFFFFF"/>
                </a:solidFill>
              </a14:hiddenFill>
            </a:ext>
          </a:extLst>
        </p:spPr>
      </p:pic>
      <p:sp>
        <p:nvSpPr>
          <p:cNvPr id="26" name="Signo de multiplicación 25">
            <a:extLst>
              <a:ext uri="{FF2B5EF4-FFF2-40B4-BE49-F238E27FC236}">
                <a16:creationId xmlns:a16="http://schemas.microsoft.com/office/drawing/2014/main" id="{FB5A9B2B-0C8F-7222-F66C-DDB958A442D9}"/>
              </a:ext>
            </a:extLst>
          </p:cNvPr>
          <p:cNvSpPr/>
          <p:nvPr/>
        </p:nvSpPr>
        <p:spPr>
          <a:xfrm>
            <a:off x="1255055" y="3844575"/>
            <a:ext cx="624115" cy="637352"/>
          </a:xfrm>
          <a:prstGeom prst="mathMultiply">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032" name="Picture 8" descr="7,600+ Ok Logo Stock Illustrations, Royalty-Free Vector Graphics &amp; Clip Art  - iStock">
            <a:extLst>
              <a:ext uri="{FF2B5EF4-FFF2-40B4-BE49-F238E27FC236}">
                <a16:creationId xmlns:a16="http://schemas.microsoft.com/office/drawing/2014/main" id="{7E3EEC78-5763-738B-E96E-E2695012F5A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10135" y="4584778"/>
            <a:ext cx="542637" cy="542637"/>
          </a:xfrm>
          <a:prstGeom prst="rect">
            <a:avLst/>
          </a:prstGeom>
          <a:noFill/>
          <a:extLst>
            <a:ext uri="{909E8E84-426E-40DD-AFC4-6F175D3DCCD1}">
              <a14:hiddenFill xmlns:a14="http://schemas.microsoft.com/office/drawing/2010/main">
                <a:solidFill>
                  <a:srgbClr val="FFFFFF"/>
                </a:solidFill>
              </a14:hiddenFill>
            </a:ext>
          </a:extLst>
        </p:spPr>
      </p:pic>
      <p:sp>
        <p:nvSpPr>
          <p:cNvPr id="7" name="CuadroTexto 6">
            <a:extLst>
              <a:ext uri="{FF2B5EF4-FFF2-40B4-BE49-F238E27FC236}">
                <a16:creationId xmlns:a16="http://schemas.microsoft.com/office/drawing/2014/main" id="{CF4A8B2C-3187-963C-251D-1C5148F33033}"/>
              </a:ext>
            </a:extLst>
          </p:cNvPr>
          <p:cNvSpPr txBox="1"/>
          <p:nvPr/>
        </p:nvSpPr>
        <p:spPr>
          <a:xfrm>
            <a:off x="1866219" y="5642035"/>
            <a:ext cx="3913002" cy="430887"/>
          </a:xfrm>
          <a:prstGeom prst="rect">
            <a:avLst/>
          </a:prstGeom>
          <a:noFill/>
        </p:spPr>
        <p:txBody>
          <a:bodyPr wrap="square">
            <a:spAutoFit/>
          </a:bodyPr>
          <a:lstStyle/>
          <a:p>
            <a:pPr algn="ctr"/>
            <a:r>
              <a:rPr lang="es-ES" sz="700" dirty="0" err="1">
                <a:solidFill>
                  <a:schemeClr val="accent1"/>
                </a:solidFill>
              </a:rPr>
              <a:t>ACEi</a:t>
            </a:r>
            <a:r>
              <a:rPr lang="es-ES" sz="700" dirty="0">
                <a:solidFill>
                  <a:schemeClr val="accent1"/>
                </a:solidFill>
              </a:rPr>
              <a:t>: </a:t>
            </a:r>
            <a:r>
              <a:rPr lang="es-ES" sz="700" dirty="0" err="1">
                <a:solidFill>
                  <a:schemeClr val="accent1"/>
                </a:solidFill>
              </a:rPr>
              <a:t>angiotensin-converting</a:t>
            </a:r>
            <a:r>
              <a:rPr lang="es-ES" sz="700" dirty="0">
                <a:solidFill>
                  <a:schemeClr val="accent1"/>
                </a:solidFill>
              </a:rPr>
              <a:t> </a:t>
            </a:r>
            <a:r>
              <a:rPr lang="es-ES" sz="700" dirty="0" err="1">
                <a:solidFill>
                  <a:schemeClr val="accent1"/>
                </a:solidFill>
              </a:rPr>
              <a:t>enzyme</a:t>
            </a:r>
            <a:r>
              <a:rPr lang="es-ES" sz="700" dirty="0">
                <a:solidFill>
                  <a:schemeClr val="accent1"/>
                </a:solidFill>
              </a:rPr>
              <a:t> </a:t>
            </a:r>
            <a:r>
              <a:rPr lang="es-ES" sz="700" dirty="0" err="1">
                <a:solidFill>
                  <a:schemeClr val="accent1"/>
                </a:solidFill>
              </a:rPr>
              <a:t>inhibitors</a:t>
            </a:r>
            <a:r>
              <a:rPr lang="es-ES" sz="700" dirty="0">
                <a:solidFill>
                  <a:schemeClr val="accent1"/>
                </a:solidFill>
              </a:rPr>
              <a:t>; ARB: </a:t>
            </a:r>
            <a:r>
              <a:rPr lang="es-ES" sz="700" dirty="0" err="1">
                <a:solidFill>
                  <a:schemeClr val="accent1"/>
                </a:solidFill>
              </a:rPr>
              <a:t>angiotensin</a:t>
            </a:r>
            <a:r>
              <a:rPr lang="es-ES" sz="700" dirty="0">
                <a:solidFill>
                  <a:schemeClr val="accent1"/>
                </a:solidFill>
              </a:rPr>
              <a:t> receptor </a:t>
            </a:r>
            <a:r>
              <a:rPr lang="es-ES" sz="700" dirty="0" err="1">
                <a:solidFill>
                  <a:schemeClr val="accent1"/>
                </a:solidFill>
              </a:rPr>
              <a:t>blocker</a:t>
            </a:r>
            <a:r>
              <a:rPr lang="es-ES" sz="700" dirty="0">
                <a:solidFill>
                  <a:schemeClr val="accent1"/>
                </a:solidFill>
              </a:rPr>
              <a:t>; BMI: </a:t>
            </a:r>
            <a:r>
              <a:rPr lang="es-ES" sz="700" dirty="0" err="1">
                <a:solidFill>
                  <a:schemeClr val="accent1"/>
                </a:solidFill>
              </a:rPr>
              <a:t>body</a:t>
            </a:r>
            <a:r>
              <a:rPr lang="es-ES" sz="700" dirty="0">
                <a:solidFill>
                  <a:schemeClr val="accent1"/>
                </a:solidFill>
              </a:rPr>
              <a:t> </a:t>
            </a:r>
            <a:r>
              <a:rPr lang="es-ES" sz="700" dirty="0" err="1">
                <a:solidFill>
                  <a:schemeClr val="accent1"/>
                </a:solidFill>
              </a:rPr>
              <a:t>mass</a:t>
            </a:r>
            <a:r>
              <a:rPr lang="es-ES" sz="700" dirty="0">
                <a:solidFill>
                  <a:schemeClr val="accent1"/>
                </a:solidFill>
              </a:rPr>
              <a:t> </a:t>
            </a:r>
            <a:r>
              <a:rPr lang="es-ES" sz="700" dirty="0" err="1">
                <a:solidFill>
                  <a:schemeClr val="accent1"/>
                </a:solidFill>
              </a:rPr>
              <a:t>index</a:t>
            </a:r>
            <a:r>
              <a:rPr lang="es-ES" sz="700" dirty="0">
                <a:solidFill>
                  <a:schemeClr val="accent1"/>
                </a:solidFill>
              </a:rPr>
              <a:t>; LDL: </a:t>
            </a:r>
            <a:r>
              <a:rPr lang="es-ES" sz="700" dirty="0" err="1">
                <a:solidFill>
                  <a:schemeClr val="accent1"/>
                </a:solidFill>
              </a:rPr>
              <a:t>low-density</a:t>
            </a:r>
            <a:r>
              <a:rPr lang="es-ES" sz="700" dirty="0">
                <a:solidFill>
                  <a:schemeClr val="accent1"/>
                </a:solidFill>
              </a:rPr>
              <a:t> </a:t>
            </a:r>
            <a:r>
              <a:rPr lang="es-ES" sz="700" dirty="0" err="1">
                <a:solidFill>
                  <a:schemeClr val="accent1"/>
                </a:solidFill>
              </a:rPr>
              <a:t>lipoprotein</a:t>
            </a:r>
            <a:r>
              <a:rPr lang="es-ES" sz="700" dirty="0">
                <a:solidFill>
                  <a:schemeClr val="accent1"/>
                </a:solidFill>
              </a:rPr>
              <a:t>; PCSK9i: </a:t>
            </a:r>
            <a:r>
              <a:rPr lang="es-ES" sz="700" dirty="0" err="1">
                <a:solidFill>
                  <a:schemeClr val="accent1"/>
                </a:solidFill>
              </a:rPr>
              <a:t>proprotein</a:t>
            </a:r>
            <a:r>
              <a:rPr lang="es-ES" sz="700" dirty="0">
                <a:solidFill>
                  <a:schemeClr val="accent1"/>
                </a:solidFill>
              </a:rPr>
              <a:t> </a:t>
            </a:r>
            <a:r>
              <a:rPr lang="es-ES" sz="700" dirty="0" err="1">
                <a:solidFill>
                  <a:schemeClr val="accent1"/>
                </a:solidFill>
              </a:rPr>
              <a:t>convertase</a:t>
            </a:r>
            <a:r>
              <a:rPr lang="es-ES" sz="700" dirty="0">
                <a:solidFill>
                  <a:schemeClr val="accent1"/>
                </a:solidFill>
              </a:rPr>
              <a:t> </a:t>
            </a:r>
            <a:r>
              <a:rPr lang="es-ES" sz="700" dirty="0" err="1">
                <a:solidFill>
                  <a:schemeClr val="accent1"/>
                </a:solidFill>
              </a:rPr>
              <a:t>subtilisin</a:t>
            </a:r>
            <a:r>
              <a:rPr lang="es-ES" sz="700" dirty="0">
                <a:solidFill>
                  <a:schemeClr val="accent1"/>
                </a:solidFill>
              </a:rPr>
              <a:t>/</a:t>
            </a:r>
            <a:r>
              <a:rPr lang="es-ES" sz="700" dirty="0" err="1">
                <a:solidFill>
                  <a:schemeClr val="accent1"/>
                </a:solidFill>
              </a:rPr>
              <a:t>kexin</a:t>
            </a:r>
            <a:r>
              <a:rPr lang="es-ES" sz="700" dirty="0">
                <a:solidFill>
                  <a:schemeClr val="accent1"/>
                </a:solidFill>
              </a:rPr>
              <a:t> </a:t>
            </a:r>
            <a:r>
              <a:rPr lang="es-ES" sz="700" dirty="0" err="1">
                <a:solidFill>
                  <a:schemeClr val="accent1"/>
                </a:solidFill>
              </a:rPr>
              <a:t>type</a:t>
            </a:r>
            <a:r>
              <a:rPr lang="es-ES" sz="700" dirty="0">
                <a:solidFill>
                  <a:schemeClr val="accent1"/>
                </a:solidFill>
              </a:rPr>
              <a:t> 9 </a:t>
            </a:r>
            <a:r>
              <a:rPr lang="es-ES" sz="700" dirty="0" err="1">
                <a:solidFill>
                  <a:schemeClr val="accent1"/>
                </a:solidFill>
              </a:rPr>
              <a:t>inhibitor</a:t>
            </a:r>
            <a:r>
              <a:rPr lang="es-ES" sz="700" dirty="0">
                <a:solidFill>
                  <a:schemeClr val="accent1"/>
                </a:solidFill>
              </a:rPr>
              <a:t>; HbA1c: </a:t>
            </a:r>
            <a:r>
              <a:rPr lang="es-ES" sz="700" dirty="0" err="1">
                <a:solidFill>
                  <a:schemeClr val="accent1"/>
                </a:solidFill>
              </a:rPr>
              <a:t>glycated</a:t>
            </a:r>
            <a:r>
              <a:rPr lang="es-ES" sz="700" dirty="0">
                <a:solidFill>
                  <a:schemeClr val="accent1"/>
                </a:solidFill>
              </a:rPr>
              <a:t> </a:t>
            </a:r>
            <a:r>
              <a:rPr lang="es-ES" sz="700" dirty="0" err="1">
                <a:solidFill>
                  <a:schemeClr val="accent1"/>
                </a:solidFill>
              </a:rPr>
              <a:t>haemoglobin</a:t>
            </a:r>
            <a:r>
              <a:rPr lang="es-ES" sz="800" dirty="0">
                <a:solidFill>
                  <a:schemeClr val="accent1"/>
                </a:solidFill>
              </a:rPr>
              <a:t>.</a:t>
            </a:r>
          </a:p>
        </p:txBody>
      </p:sp>
      <p:pic>
        <p:nvPicPr>
          <p:cNvPr id="11" name="Imagen 10">
            <a:extLst>
              <a:ext uri="{FF2B5EF4-FFF2-40B4-BE49-F238E27FC236}">
                <a16:creationId xmlns:a16="http://schemas.microsoft.com/office/drawing/2014/main" id="{F09EE6CB-97B9-57F1-4CAB-35DCD889729D}"/>
              </a:ext>
            </a:extLst>
          </p:cNvPr>
          <p:cNvPicPr>
            <a:picLocks noChangeAspect="1"/>
          </p:cNvPicPr>
          <p:nvPr/>
        </p:nvPicPr>
        <p:blipFill>
          <a:blip r:embed="rId8"/>
          <a:stretch>
            <a:fillRect/>
          </a:stretch>
        </p:blipFill>
        <p:spPr>
          <a:xfrm>
            <a:off x="6298742" y="784530"/>
            <a:ext cx="5220110" cy="5547169"/>
          </a:xfrm>
          <a:prstGeom prst="rect">
            <a:avLst/>
          </a:prstGeom>
        </p:spPr>
      </p:pic>
      <p:sp>
        <p:nvSpPr>
          <p:cNvPr id="3" name="CuadroTexto 2">
            <a:extLst>
              <a:ext uri="{FF2B5EF4-FFF2-40B4-BE49-F238E27FC236}">
                <a16:creationId xmlns:a16="http://schemas.microsoft.com/office/drawing/2014/main" id="{0B7B202E-C7F2-1BF9-35B2-423B1EBA86EA}"/>
              </a:ext>
            </a:extLst>
          </p:cNvPr>
          <p:cNvSpPr txBox="1"/>
          <p:nvPr/>
        </p:nvSpPr>
        <p:spPr>
          <a:xfrm>
            <a:off x="4002445" y="6357209"/>
            <a:ext cx="4187109" cy="246221"/>
          </a:xfrm>
          <a:prstGeom prst="rect">
            <a:avLst/>
          </a:prstGeom>
          <a:noFill/>
        </p:spPr>
        <p:txBody>
          <a:bodyPr wrap="square">
            <a:spAutoFit/>
          </a:bodyPr>
          <a:lstStyle/>
          <a:p>
            <a:pPr algn="ctr"/>
            <a:r>
              <a:rPr lang="es-ES" sz="1000" dirty="0">
                <a:solidFill>
                  <a:schemeClr val="accent1"/>
                </a:solidFill>
              </a:rPr>
              <a:t>Guía ESC 2024 Enfermedades arteriales periféricas y aórticas</a:t>
            </a:r>
          </a:p>
        </p:txBody>
      </p:sp>
      <p:sp>
        <p:nvSpPr>
          <p:cNvPr id="5" name="CuadroTexto 4">
            <a:extLst>
              <a:ext uri="{FF2B5EF4-FFF2-40B4-BE49-F238E27FC236}">
                <a16:creationId xmlns:a16="http://schemas.microsoft.com/office/drawing/2014/main" id="{763F8C37-FB97-5ED8-5A6B-CDFE72C688CA}"/>
              </a:ext>
            </a:extLst>
          </p:cNvPr>
          <p:cNvSpPr txBox="1"/>
          <p:nvPr/>
        </p:nvSpPr>
        <p:spPr>
          <a:xfrm>
            <a:off x="1401128" y="6516949"/>
            <a:ext cx="8802272"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r>
              <a:rPr lang="es-ES" dirty="0"/>
              <a:t>1. </a:t>
            </a:r>
            <a:r>
              <a:rPr lang="es-ES" dirty="0" err="1"/>
              <a:t>Mazzolai</a:t>
            </a:r>
            <a:r>
              <a:rPr lang="es-ES" dirty="0"/>
              <a:t> L, et al. 2024 ESC </a:t>
            </a:r>
            <a:r>
              <a:rPr lang="es-ES" dirty="0" err="1"/>
              <a:t>Guidelines</a:t>
            </a:r>
            <a:r>
              <a:rPr lang="es-ES" dirty="0"/>
              <a:t> </a:t>
            </a:r>
            <a:r>
              <a:rPr lang="es-ES" dirty="0" err="1"/>
              <a:t>for</a:t>
            </a:r>
            <a:r>
              <a:rPr lang="es-ES" dirty="0"/>
              <a:t> </a:t>
            </a:r>
            <a:r>
              <a:rPr lang="es-ES" dirty="0" err="1"/>
              <a:t>the</a:t>
            </a:r>
            <a:r>
              <a:rPr lang="es-ES" dirty="0"/>
              <a:t> </a:t>
            </a:r>
            <a:r>
              <a:rPr lang="es-ES" dirty="0" err="1"/>
              <a:t>management</a:t>
            </a:r>
            <a:r>
              <a:rPr lang="es-ES" dirty="0"/>
              <a:t> </a:t>
            </a:r>
            <a:r>
              <a:rPr lang="es-ES" dirty="0" err="1"/>
              <a:t>of</a:t>
            </a:r>
            <a:r>
              <a:rPr lang="es-ES" dirty="0"/>
              <a:t> </a:t>
            </a:r>
            <a:r>
              <a:rPr lang="es-ES" dirty="0" err="1"/>
              <a:t>peripheral</a:t>
            </a:r>
            <a:r>
              <a:rPr lang="es-ES" dirty="0"/>
              <a:t> arterial and </a:t>
            </a:r>
            <a:r>
              <a:rPr lang="es-ES" dirty="0" err="1"/>
              <a:t>aortic</a:t>
            </a:r>
            <a:r>
              <a:rPr lang="es-ES" dirty="0"/>
              <a:t> </a:t>
            </a:r>
            <a:r>
              <a:rPr lang="es-ES" dirty="0" err="1"/>
              <a:t>diseases</a:t>
            </a:r>
            <a:r>
              <a:rPr lang="es-ES" dirty="0"/>
              <a:t>. </a:t>
            </a:r>
            <a:r>
              <a:rPr lang="es-ES" dirty="0" err="1"/>
              <a:t>Eur</a:t>
            </a:r>
            <a:r>
              <a:rPr lang="es-ES" dirty="0"/>
              <a:t> Heart J. 2024 </a:t>
            </a:r>
            <a:r>
              <a:rPr lang="es-ES" dirty="0" err="1"/>
              <a:t>Sep</a:t>
            </a:r>
            <a:r>
              <a:rPr lang="es-ES" dirty="0"/>
              <a:t> 29;45(36):3538-3700. </a:t>
            </a:r>
            <a:r>
              <a:rPr lang="es-ES" dirty="0" err="1"/>
              <a:t>doi</a:t>
            </a:r>
            <a:r>
              <a:rPr lang="es-ES" dirty="0"/>
              <a:t>: 10.1093/</a:t>
            </a:r>
            <a:r>
              <a:rPr lang="es-ES" dirty="0" err="1"/>
              <a:t>eurheartj</a:t>
            </a:r>
            <a:r>
              <a:rPr lang="es-ES" dirty="0"/>
              <a:t>/ehae179.</a:t>
            </a:r>
          </a:p>
        </p:txBody>
      </p:sp>
      <p:sp>
        <p:nvSpPr>
          <p:cNvPr id="14" name="CuadroTexto 13">
            <a:extLst>
              <a:ext uri="{FF2B5EF4-FFF2-40B4-BE49-F238E27FC236}">
                <a16:creationId xmlns:a16="http://schemas.microsoft.com/office/drawing/2014/main" id="{146CFF87-5490-3885-A5C7-D7C5F9C5F8B4}"/>
              </a:ext>
            </a:extLst>
          </p:cNvPr>
          <p:cNvSpPr txBox="1"/>
          <p:nvPr/>
        </p:nvSpPr>
        <p:spPr>
          <a:xfrm>
            <a:off x="8669395" y="6188559"/>
            <a:ext cx="2272790"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r>
              <a:rPr lang="es-ES" dirty="0" err="1"/>
              <a:t>Eur</a:t>
            </a:r>
            <a:r>
              <a:rPr lang="es-ES" dirty="0"/>
              <a:t> Heart J. 2024 </a:t>
            </a:r>
            <a:r>
              <a:rPr lang="es-ES" dirty="0" err="1"/>
              <a:t>Sep</a:t>
            </a:r>
            <a:r>
              <a:rPr lang="es-ES" dirty="0"/>
              <a:t> 29;45(36):3538-3700</a:t>
            </a:r>
          </a:p>
        </p:txBody>
      </p:sp>
      <p:sp>
        <p:nvSpPr>
          <p:cNvPr id="8" name="CuadroTexto 7">
            <a:extLst>
              <a:ext uri="{FF2B5EF4-FFF2-40B4-BE49-F238E27FC236}">
                <a16:creationId xmlns:a16="http://schemas.microsoft.com/office/drawing/2014/main" id="{E17E77A9-D4CB-133C-93DE-9E29454EEC3F}"/>
              </a:ext>
            </a:extLst>
          </p:cNvPr>
          <p:cNvSpPr txBox="1"/>
          <p:nvPr/>
        </p:nvSpPr>
        <p:spPr>
          <a:xfrm rot="16200000">
            <a:off x="10633273" y="3376069"/>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29540948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3C9A21-916B-E459-E533-A60395D46F85}"/>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7328CD63-8D95-F3C4-95B2-ED846E3A9B86}"/>
              </a:ext>
            </a:extLst>
          </p:cNvPr>
          <p:cNvSpPr>
            <a:spLocks noGrp="1"/>
          </p:cNvSpPr>
          <p:nvPr>
            <p:ph type="body" sz="quarter" idx="24"/>
          </p:nvPr>
        </p:nvSpPr>
        <p:spPr/>
        <p:txBody>
          <a:bodyPr/>
          <a:lstStyle/>
          <a:p>
            <a:endParaRPr lang="es-ES" dirty="0"/>
          </a:p>
        </p:txBody>
      </p:sp>
      <p:sp>
        <p:nvSpPr>
          <p:cNvPr id="6" name="Marcador de número de diapositiva 5">
            <a:extLst>
              <a:ext uri="{FF2B5EF4-FFF2-40B4-BE49-F238E27FC236}">
                <a16:creationId xmlns:a16="http://schemas.microsoft.com/office/drawing/2014/main" id="{0057DA0C-6B5B-1B38-B093-85A83BFDF836}"/>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sp>
        <p:nvSpPr>
          <p:cNvPr id="12" name="6 CuadroTexto">
            <a:extLst>
              <a:ext uri="{FF2B5EF4-FFF2-40B4-BE49-F238E27FC236}">
                <a16:creationId xmlns:a16="http://schemas.microsoft.com/office/drawing/2014/main" id="{428E80A0-AE40-6B8E-F1B1-A7B9127F5E32}"/>
              </a:ext>
            </a:extLst>
          </p:cNvPr>
          <p:cNvSpPr txBox="1"/>
          <p:nvPr/>
        </p:nvSpPr>
        <p:spPr>
          <a:xfrm>
            <a:off x="6885497" y="3477038"/>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2" name="Imagen 1">
            <a:extLst>
              <a:ext uri="{FF2B5EF4-FFF2-40B4-BE49-F238E27FC236}">
                <a16:creationId xmlns:a16="http://schemas.microsoft.com/office/drawing/2014/main" id="{24497E30-AB25-E0C8-6434-FB754369CA7F}"/>
              </a:ext>
            </a:extLst>
          </p:cNvPr>
          <p:cNvPicPr>
            <a:picLocks noChangeAspect="1"/>
          </p:cNvPicPr>
          <p:nvPr/>
        </p:nvPicPr>
        <p:blipFill>
          <a:blip r:embed="rId3"/>
          <a:stretch>
            <a:fillRect/>
          </a:stretch>
        </p:blipFill>
        <p:spPr>
          <a:xfrm>
            <a:off x="10623775" y="231972"/>
            <a:ext cx="1329043" cy="457240"/>
          </a:xfrm>
          <a:prstGeom prst="rect">
            <a:avLst/>
          </a:prstGeom>
        </p:spPr>
      </p:pic>
      <p:sp>
        <p:nvSpPr>
          <p:cNvPr id="9" name="Título 3">
            <a:extLst>
              <a:ext uri="{FF2B5EF4-FFF2-40B4-BE49-F238E27FC236}">
                <a16:creationId xmlns:a16="http://schemas.microsoft.com/office/drawing/2014/main" id="{781446FC-F082-8978-EA6C-665F3F80668C}"/>
              </a:ext>
            </a:extLst>
          </p:cNvPr>
          <p:cNvSpPr txBox="1">
            <a:spLocks/>
          </p:cNvSpPr>
          <p:nvPr/>
        </p:nvSpPr>
        <p:spPr>
          <a:xfrm>
            <a:off x="1116411" y="198070"/>
            <a:ext cx="9507364" cy="491045"/>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 sz="2800" dirty="0"/>
              <a:t>Tratamiento médico óptimo e integrado</a:t>
            </a:r>
          </a:p>
        </p:txBody>
      </p:sp>
      <p:pic>
        <p:nvPicPr>
          <p:cNvPr id="7" name="Imagen 6">
            <a:extLst>
              <a:ext uri="{FF2B5EF4-FFF2-40B4-BE49-F238E27FC236}">
                <a16:creationId xmlns:a16="http://schemas.microsoft.com/office/drawing/2014/main" id="{94A2CAB9-9905-7A24-F80F-2E5B76DD4380}"/>
              </a:ext>
            </a:extLst>
          </p:cNvPr>
          <p:cNvPicPr>
            <a:picLocks noChangeAspect="1"/>
          </p:cNvPicPr>
          <p:nvPr/>
        </p:nvPicPr>
        <p:blipFill>
          <a:blip r:embed="rId4"/>
          <a:stretch>
            <a:fillRect/>
          </a:stretch>
        </p:blipFill>
        <p:spPr>
          <a:xfrm>
            <a:off x="1439657" y="693876"/>
            <a:ext cx="4805037" cy="5516423"/>
          </a:xfrm>
          <a:prstGeom prst="rect">
            <a:avLst/>
          </a:prstGeom>
        </p:spPr>
      </p:pic>
      <p:pic>
        <p:nvPicPr>
          <p:cNvPr id="11" name="Imagen 10">
            <a:extLst>
              <a:ext uri="{FF2B5EF4-FFF2-40B4-BE49-F238E27FC236}">
                <a16:creationId xmlns:a16="http://schemas.microsoft.com/office/drawing/2014/main" id="{67B66201-8174-D8E4-AB39-30C15BA65474}"/>
              </a:ext>
            </a:extLst>
          </p:cNvPr>
          <p:cNvPicPr>
            <a:picLocks noChangeAspect="1"/>
          </p:cNvPicPr>
          <p:nvPr/>
        </p:nvPicPr>
        <p:blipFill>
          <a:blip r:embed="rId5"/>
          <a:stretch>
            <a:fillRect/>
          </a:stretch>
        </p:blipFill>
        <p:spPr>
          <a:xfrm>
            <a:off x="6749657" y="722451"/>
            <a:ext cx="4132757" cy="5446434"/>
          </a:xfrm>
          <a:prstGeom prst="rect">
            <a:avLst/>
          </a:prstGeom>
        </p:spPr>
      </p:pic>
      <p:sp>
        <p:nvSpPr>
          <p:cNvPr id="8" name="CuadroTexto 7">
            <a:extLst>
              <a:ext uri="{FF2B5EF4-FFF2-40B4-BE49-F238E27FC236}">
                <a16:creationId xmlns:a16="http://schemas.microsoft.com/office/drawing/2014/main" id="{9EE9ED82-ED37-A0FD-9736-08852D52F4EB}"/>
              </a:ext>
            </a:extLst>
          </p:cNvPr>
          <p:cNvSpPr txBox="1"/>
          <p:nvPr/>
        </p:nvSpPr>
        <p:spPr>
          <a:xfrm>
            <a:off x="1470184" y="6122850"/>
            <a:ext cx="2187733" cy="338554"/>
          </a:xfrm>
          <a:prstGeom prst="rect">
            <a:avLst/>
          </a:prstGeom>
          <a:noFill/>
        </p:spPr>
        <p:txBody>
          <a:bodyPr wrap="square">
            <a:spAutoFit/>
          </a:bodyPr>
          <a:lstStyle/>
          <a:p>
            <a:r>
              <a:rPr lang="es-ES" sz="800" dirty="0">
                <a:solidFill>
                  <a:schemeClr val="accent1"/>
                </a:solidFill>
              </a:rPr>
              <a:t>CLTI: </a:t>
            </a:r>
            <a:r>
              <a:rPr lang="es-ES" sz="800" dirty="0" err="1">
                <a:solidFill>
                  <a:schemeClr val="accent1"/>
                </a:solidFill>
              </a:rPr>
              <a:t>chronic</a:t>
            </a:r>
            <a:r>
              <a:rPr lang="es-ES" sz="800" dirty="0">
                <a:solidFill>
                  <a:schemeClr val="accent1"/>
                </a:solidFill>
              </a:rPr>
              <a:t> </a:t>
            </a:r>
            <a:r>
              <a:rPr lang="es-ES" sz="800" dirty="0" err="1">
                <a:solidFill>
                  <a:schemeClr val="accent1"/>
                </a:solidFill>
              </a:rPr>
              <a:t>limb-threatening</a:t>
            </a:r>
            <a:r>
              <a:rPr lang="es-ES" sz="800" dirty="0">
                <a:solidFill>
                  <a:schemeClr val="accent1"/>
                </a:solidFill>
              </a:rPr>
              <a:t> </a:t>
            </a:r>
            <a:r>
              <a:rPr lang="es-ES" sz="800" dirty="0" err="1">
                <a:solidFill>
                  <a:schemeClr val="accent1"/>
                </a:solidFill>
              </a:rPr>
              <a:t>ischaemia</a:t>
            </a:r>
            <a:r>
              <a:rPr lang="es-ES" sz="800" dirty="0">
                <a:solidFill>
                  <a:schemeClr val="accent1"/>
                </a:solidFill>
              </a:rPr>
              <a:t>; PAD: </a:t>
            </a:r>
            <a:r>
              <a:rPr lang="es-ES" sz="800" dirty="0" err="1">
                <a:solidFill>
                  <a:schemeClr val="accent1"/>
                </a:solidFill>
              </a:rPr>
              <a:t>peripheral</a:t>
            </a:r>
            <a:r>
              <a:rPr lang="es-ES" sz="800" dirty="0">
                <a:solidFill>
                  <a:schemeClr val="accent1"/>
                </a:solidFill>
              </a:rPr>
              <a:t> arterial </a:t>
            </a:r>
            <a:r>
              <a:rPr lang="es-ES" sz="800" dirty="0" err="1">
                <a:solidFill>
                  <a:schemeClr val="accent1"/>
                </a:solidFill>
              </a:rPr>
              <a:t>disease</a:t>
            </a:r>
            <a:r>
              <a:rPr lang="es-ES" sz="800" dirty="0">
                <a:solidFill>
                  <a:schemeClr val="accent1"/>
                </a:solidFill>
              </a:rPr>
              <a:t>.</a:t>
            </a:r>
          </a:p>
        </p:txBody>
      </p:sp>
      <p:sp>
        <p:nvSpPr>
          <p:cNvPr id="3" name="CuadroTexto 2">
            <a:extLst>
              <a:ext uri="{FF2B5EF4-FFF2-40B4-BE49-F238E27FC236}">
                <a16:creationId xmlns:a16="http://schemas.microsoft.com/office/drawing/2014/main" id="{4F3D3D55-02B5-A4BD-1E36-901A90C3EFF7}"/>
              </a:ext>
            </a:extLst>
          </p:cNvPr>
          <p:cNvSpPr txBox="1"/>
          <p:nvPr/>
        </p:nvSpPr>
        <p:spPr>
          <a:xfrm>
            <a:off x="4324900" y="6423485"/>
            <a:ext cx="4187109" cy="246221"/>
          </a:xfrm>
          <a:prstGeom prst="rect">
            <a:avLst/>
          </a:prstGeom>
          <a:noFill/>
        </p:spPr>
        <p:txBody>
          <a:bodyPr wrap="square">
            <a:spAutoFit/>
          </a:bodyPr>
          <a:lstStyle/>
          <a:p>
            <a:pPr algn="ctr"/>
            <a:r>
              <a:rPr lang="es-ES" sz="1000" dirty="0">
                <a:solidFill>
                  <a:schemeClr val="accent1"/>
                </a:solidFill>
              </a:rPr>
              <a:t>Guía ESC 2024 Enfermedades arteriales periféricas y aórticas</a:t>
            </a:r>
          </a:p>
        </p:txBody>
      </p:sp>
      <p:sp>
        <p:nvSpPr>
          <p:cNvPr id="17" name="CuadroTexto 16">
            <a:extLst>
              <a:ext uri="{FF2B5EF4-FFF2-40B4-BE49-F238E27FC236}">
                <a16:creationId xmlns:a16="http://schemas.microsoft.com/office/drawing/2014/main" id="{8B82D860-24E1-17B3-3E62-1BE9D2BF6997}"/>
              </a:ext>
            </a:extLst>
          </p:cNvPr>
          <p:cNvSpPr txBox="1"/>
          <p:nvPr/>
        </p:nvSpPr>
        <p:spPr>
          <a:xfrm>
            <a:off x="2316400" y="6585916"/>
            <a:ext cx="8201025"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r>
              <a:rPr lang="es-ES" dirty="0"/>
              <a:t>1. </a:t>
            </a:r>
            <a:r>
              <a:rPr lang="es-ES" dirty="0" err="1"/>
              <a:t>Mazzolai</a:t>
            </a:r>
            <a:r>
              <a:rPr lang="es-ES" dirty="0"/>
              <a:t> L, et al. 2024 ESC </a:t>
            </a:r>
            <a:r>
              <a:rPr lang="es-ES" dirty="0" err="1"/>
              <a:t>Guidelines</a:t>
            </a:r>
            <a:r>
              <a:rPr lang="es-ES" dirty="0"/>
              <a:t> </a:t>
            </a:r>
            <a:r>
              <a:rPr lang="es-ES" dirty="0" err="1"/>
              <a:t>for</a:t>
            </a:r>
            <a:r>
              <a:rPr lang="es-ES" dirty="0"/>
              <a:t> </a:t>
            </a:r>
            <a:r>
              <a:rPr lang="es-ES" dirty="0" err="1"/>
              <a:t>the</a:t>
            </a:r>
            <a:r>
              <a:rPr lang="es-ES" dirty="0"/>
              <a:t> </a:t>
            </a:r>
            <a:r>
              <a:rPr lang="es-ES" dirty="0" err="1"/>
              <a:t>management</a:t>
            </a:r>
            <a:r>
              <a:rPr lang="es-ES" dirty="0"/>
              <a:t> </a:t>
            </a:r>
            <a:r>
              <a:rPr lang="es-ES" dirty="0" err="1"/>
              <a:t>of</a:t>
            </a:r>
            <a:r>
              <a:rPr lang="es-ES" dirty="0"/>
              <a:t> </a:t>
            </a:r>
            <a:r>
              <a:rPr lang="es-ES" dirty="0" err="1"/>
              <a:t>peripheral</a:t>
            </a:r>
            <a:r>
              <a:rPr lang="es-ES" dirty="0"/>
              <a:t> arterial and </a:t>
            </a:r>
            <a:r>
              <a:rPr lang="es-ES" dirty="0" err="1"/>
              <a:t>aortic</a:t>
            </a:r>
            <a:r>
              <a:rPr lang="es-ES" dirty="0"/>
              <a:t> </a:t>
            </a:r>
            <a:r>
              <a:rPr lang="es-ES" dirty="0" err="1"/>
              <a:t>diseases</a:t>
            </a:r>
            <a:r>
              <a:rPr lang="es-ES" dirty="0"/>
              <a:t>. </a:t>
            </a:r>
            <a:r>
              <a:rPr lang="es-ES" dirty="0" err="1"/>
              <a:t>Eur</a:t>
            </a:r>
            <a:r>
              <a:rPr lang="es-ES" dirty="0"/>
              <a:t> Heart J. 2024 </a:t>
            </a:r>
            <a:r>
              <a:rPr lang="es-ES" dirty="0" err="1"/>
              <a:t>Sep</a:t>
            </a:r>
            <a:r>
              <a:rPr lang="es-ES" dirty="0"/>
              <a:t> 29;45(36):3538-3700. </a:t>
            </a:r>
            <a:r>
              <a:rPr lang="es-ES" dirty="0" err="1"/>
              <a:t>doi</a:t>
            </a:r>
            <a:r>
              <a:rPr lang="es-ES" dirty="0"/>
              <a:t>: 10.1093/</a:t>
            </a:r>
            <a:r>
              <a:rPr lang="es-ES" dirty="0" err="1"/>
              <a:t>eurheartj</a:t>
            </a:r>
            <a:r>
              <a:rPr lang="es-ES" dirty="0"/>
              <a:t>/ehae179.</a:t>
            </a:r>
          </a:p>
        </p:txBody>
      </p:sp>
      <p:sp>
        <p:nvSpPr>
          <p:cNvPr id="20" name="CuadroTexto 19">
            <a:extLst>
              <a:ext uri="{FF2B5EF4-FFF2-40B4-BE49-F238E27FC236}">
                <a16:creationId xmlns:a16="http://schemas.microsoft.com/office/drawing/2014/main" id="{8440C5C3-7747-93A7-D93B-ABF354FA6860}"/>
              </a:ext>
            </a:extLst>
          </p:cNvPr>
          <p:cNvSpPr txBox="1"/>
          <p:nvPr/>
        </p:nvSpPr>
        <p:spPr>
          <a:xfrm>
            <a:off x="4133319" y="6168817"/>
            <a:ext cx="2272790"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r>
              <a:rPr lang="es-ES" dirty="0" err="1"/>
              <a:t>Eur</a:t>
            </a:r>
            <a:r>
              <a:rPr lang="es-ES" dirty="0"/>
              <a:t> Heart J. 2024 </a:t>
            </a:r>
            <a:r>
              <a:rPr lang="es-ES" dirty="0" err="1"/>
              <a:t>Sep</a:t>
            </a:r>
            <a:r>
              <a:rPr lang="es-ES" dirty="0"/>
              <a:t> 29;45(36):3538-3700</a:t>
            </a:r>
          </a:p>
        </p:txBody>
      </p:sp>
      <p:sp>
        <p:nvSpPr>
          <p:cNvPr id="21" name="CuadroTexto 20">
            <a:extLst>
              <a:ext uri="{FF2B5EF4-FFF2-40B4-BE49-F238E27FC236}">
                <a16:creationId xmlns:a16="http://schemas.microsoft.com/office/drawing/2014/main" id="{E90AA6EB-F814-4104-78BD-9B0D030664DE}"/>
              </a:ext>
            </a:extLst>
          </p:cNvPr>
          <p:cNvSpPr txBox="1"/>
          <p:nvPr/>
        </p:nvSpPr>
        <p:spPr>
          <a:xfrm>
            <a:off x="8609624" y="6192099"/>
            <a:ext cx="2272790"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r>
              <a:rPr lang="es-ES" dirty="0" err="1"/>
              <a:t>Eur</a:t>
            </a:r>
            <a:r>
              <a:rPr lang="es-ES" dirty="0"/>
              <a:t> Heart J. 2024 </a:t>
            </a:r>
            <a:r>
              <a:rPr lang="es-ES" dirty="0" err="1"/>
              <a:t>Sep</a:t>
            </a:r>
            <a:r>
              <a:rPr lang="es-ES" dirty="0"/>
              <a:t> 29;45(36):3538-3700</a:t>
            </a:r>
          </a:p>
        </p:txBody>
      </p:sp>
      <p:sp>
        <p:nvSpPr>
          <p:cNvPr id="22" name="CuadroTexto 21">
            <a:extLst>
              <a:ext uri="{FF2B5EF4-FFF2-40B4-BE49-F238E27FC236}">
                <a16:creationId xmlns:a16="http://schemas.microsoft.com/office/drawing/2014/main" id="{F166A6F9-B4BD-DE4A-09A8-70AFB9847C36}"/>
              </a:ext>
            </a:extLst>
          </p:cNvPr>
          <p:cNvSpPr txBox="1"/>
          <p:nvPr/>
        </p:nvSpPr>
        <p:spPr>
          <a:xfrm>
            <a:off x="4541866" y="820531"/>
            <a:ext cx="308102" cy="215444"/>
          </a:xfrm>
          <a:prstGeom prst="rect">
            <a:avLst/>
          </a:prstGeom>
          <a:noFill/>
        </p:spPr>
        <p:txBody>
          <a:bodyPr wrap="square">
            <a:spAutoFit/>
          </a:bodyPr>
          <a:lstStyle/>
          <a:p>
            <a:pPr algn="ctr"/>
            <a:r>
              <a:rPr lang="es-ES" sz="800" dirty="0">
                <a:solidFill>
                  <a:schemeClr val="accent1"/>
                </a:solidFill>
              </a:rPr>
              <a:t>1</a:t>
            </a:r>
          </a:p>
        </p:txBody>
      </p:sp>
      <p:sp>
        <p:nvSpPr>
          <p:cNvPr id="23" name="CuadroTexto 22">
            <a:extLst>
              <a:ext uri="{FF2B5EF4-FFF2-40B4-BE49-F238E27FC236}">
                <a16:creationId xmlns:a16="http://schemas.microsoft.com/office/drawing/2014/main" id="{BDA96668-646F-3E27-34C2-E42DB47CAD2B}"/>
              </a:ext>
            </a:extLst>
          </p:cNvPr>
          <p:cNvSpPr txBox="1"/>
          <p:nvPr/>
        </p:nvSpPr>
        <p:spPr>
          <a:xfrm>
            <a:off x="9365953" y="789908"/>
            <a:ext cx="308102" cy="215444"/>
          </a:xfrm>
          <a:prstGeom prst="rect">
            <a:avLst/>
          </a:prstGeom>
          <a:noFill/>
        </p:spPr>
        <p:txBody>
          <a:bodyPr wrap="square">
            <a:spAutoFit/>
          </a:bodyPr>
          <a:lstStyle/>
          <a:p>
            <a:pPr algn="ctr"/>
            <a:r>
              <a:rPr lang="es-ES" sz="800" dirty="0">
                <a:solidFill>
                  <a:schemeClr val="accent1"/>
                </a:solidFill>
              </a:rPr>
              <a:t>1</a:t>
            </a:r>
          </a:p>
        </p:txBody>
      </p:sp>
      <p:sp>
        <p:nvSpPr>
          <p:cNvPr id="5" name="CuadroTexto 4">
            <a:extLst>
              <a:ext uri="{FF2B5EF4-FFF2-40B4-BE49-F238E27FC236}">
                <a16:creationId xmlns:a16="http://schemas.microsoft.com/office/drawing/2014/main" id="{4AABE980-5576-15AC-1B1C-34049F91D014}"/>
              </a:ext>
            </a:extLst>
          </p:cNvPr>
          <p:cNvSpPr txBox="1"/>
          <p:nvPr/>
        </p:nvSpPr>
        <p:spPr>
          <a:xfrm rot="16200000">
            <a:off x="10633273" y="3376069"/>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7972674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C79B34-25F3-3F76-02D6-88C30A38A6BB}"/>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FF8DD982-D0FB-C89D-0D64-27DDAA828EE6}"/>
              </a:ext>
            </a:extLst>
          </p:cNvPr>
          <p:cNvSpPr>
            <a:spLocks noGrp="1"/>
          </p:cNvSpPr>
          <p:nvPr>
            <p:ph type="body" sz="quarter" idx="24"/>
          </p:nvPr>
        </p:nvSpPr>
        <p:spPr/>
        <p:txBody>
          <a:bodyPr/>
          <a:lstStyle/>
          <a:p>
            <a:endParaRPr lang="es-ES" dirty="0"/>
          </a:p>
        </p:txBody>
      </p:sp>
      <p:sp>
        <p:nvSpPr>
          <p:cNvPr id="6" name="Marcador de número de diapositiva 5">
            <a:extLst>
              <a:ext uri="{FF2B5EF4-FFF2-40B4-BE49-F238E27FC236}">
                <a16:creationId xmlns:a16="http://schemas.microsoft.com/office/drawing/2014/main" id="{B2D49C1F-360E-ECD0-5863-DA35CA85A402}"/>
              </a:ext>
            </a:extLst>
          </p:cNvPr>
          <p:cNvSpPr>
            <a:spLocks noGrp="1"/>
          </p:cNvSpPr>
          <p:nvPr>
            <p:ph type="sldNum" sz="quarter" idx="4"/>
          </p:nvPr>
        </p:nvSpPr>
        <p:spPr>
          <a:xfrm>
            <a:off x="10910403" y="6275666"/>
            <a:ext cx="1042415"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sp>
        <p:nvSpPr>
          <p:cNvPr id="12" name="6 CuadroTexto">
            <a:extLst>
              <a:ext uri="{FF2B5EF4-FFF2-40B4-BE49-F238E27FC236}">
                <a16:creationId xmlns:a16="http://schemas.microsoft.com/office/drawing/2014/main" id="{9F48D459-89BD-F168-85C9-4E2DE46C447D}"/>
              </a:ext>
            </a:extLst>
          </p:cNvPr>
          <p:cNvSpPr txBox="1"/>
          <p:nvPr/>
        </p:nvSpPr>
        <p:spPr>
          <a:xfrm>
            <a:off x="6590222" y="3457988"/>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2" name="Imagen 1">
            <a:extLst>
              <a:ext uri="{FF2B5EF4-FFF2-40B4-BE49-F238E27FC236}">
                <a16:creationId xmlns:a16="http://schemas.microsoft.com/office/drawing/2014/main" id="{503B2AAA-C58D-048F-DE61-7FF2066493F7}"/>
              </a:ext>
            </a:extLst>
          </p:cNvPr>
          <p:cNvPicPr>
            <a:picLocks noChangeAspect="1"/>
          </p:cNvPicPr>
          <p:nvPr/>
        </p:nvPicPr>
        <p:blipFill>
          <a:blip r:embed="rId3"/>
          <a:stretch>
            <a:fillRect/>
          </a:stretch>
        </p:blipFill>
        <p:spPr>
          <a:xfrm>
            <a:off x="10623775" y="231972"/>
            <a:ext cx="1329043" cy="457240"/>
          </a:xfrm>
          <a:prstGeom prst="rect">
            <a:avLst/>
          </a:prstGeom>
        </p:spPr>
      </p:pic>
      <p:sp>
        <p:nvSpPr>
          <p:cNvPr id="9" name="Título 3">
            <a:extLst>
              <a:ext uri="{FF2B5EF4-FFF2-40B4-BE49-F238E27FC236}">
                <a16:creationId xmlns:a16="http://schemas.microsoft.com/office/drawing/2014/main" id="{F4753FEF-D93F-B673-F07F-D7530EFA1A89}"/>
              </a:ext>
            </a:extLst>
          </p:cNvPr>
          <p:cNvSpPr txBox="1">
            <a:spLocks/>
          </p:cNvSpPr>
          <p:nvPr/>
        </p:nvSpPr>
        <p:spPr>
          <a:xfrm>
            <a:off x="1116411" y="264287"/>
            <a:ext cx="9507364" cy="535486"/>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 sz="2800" dirty="0"/>
              <a:t>Nuevas recomendaciones sobre el ejercicio y seguimiento</a:t>
            </a:r>
          </a:p>
        </p:txBody>
      </p:sp>
      <p:pic>
        <p:nvPicPr>
          <p:cNvPr id="19" name="Imagen 18">
            <a:extLst>
              <a:ext uri="{FF2B5EF4-FFF2-40B4-BE49-F238E27FC236}">
                <a16:creationId xmlns:a16="http://schemas.microsoft.com/office/drawing/2014/main" id="{23734B66-FE32-658A-4BF8-67E2987D66DE}"/>
              </a:ext>
            </a:extLst>
          </p:cNvPr>
          <p:cNvPicPr>
            <a:picLocks noChangeAspect="1"/>
          </p:cNvPicPr>
          <p:nvPr/>
        </p:nvPicPr>
        <p:blipFill>
          <a:blip r:embed="rId4"/>
          <a:stretch>
            <a:fillRect/>
          </a:stretch>
        </p:blipFill>
        <p:spPr>
          <a:xfrm>
            <a:off x="6446750" y="1215028"/>
            <a:ext cx="4838904" cy="1252693"/>
          </a:xfrm>
          <a:prstGeom prst="rect">
            <a:avLst/>
          </a:prstGeom>
        </p:spPr>
      </p:pic>
      <p:sp>
        <p:nvSpPr>
          <p:cNvPr id="20" name="Rectángulo 19">
            <a:extLst>
              <a:ext uri="{FF2B5EF4-FFF2-40B4-BE49-F238E27FC236}">
                <a16:creationId xmlns:a16="http://schemas.microsoft.com/office/drawing/2014/main" id="{4183ECBD-7177-6B4C-AF80-7E3E67E8333F}"/>
              </a:ext>
            </a:extLst>
          </p:cNvPr>
          <p:cNvSpPr/>
          <p:nvPr/>
        </p:nvSpPr>
        <p:spPr>
          <a:xfrm>
            <a:off x="6446750" y="5211190"/>
            <a:ext cx="4838904" cy="668122"/>
          </a:xfrm>
          <a:prstGeom prst="rect">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1100" b="1" dirty="0">
                <a:solidFill>
                  <a:schemeClr val="accent1"/>
                </a:solidFill>
              </a:rPr>
              <a:t>Frecuencia y duración del entrenamiento</a:t>
            </a:r>
            <a:r>
              <a:rPr lang="es-ES" sz="1100" baseline="30000" dirty="0">
                <a:solidFill>
                  <a:schemeClr val="accent1"/>
                </a:solidFill>
              </a:rPr>
              <a:t>1</a:t>
            </a:r>
            <a:r>
              <a:rPr lang="es-ES" sz="1100" b="1" dirty="0">
                <a:solidFill>
                  <a:schemeClr val="accent1"/>
                </a:solidFill>
              </a:rPr>
              <a:t>:</a:t>
            </a:r>
          </a:p>
          <a:p>
            <a:pPr algn="just"/>
            <a:endParaRPr lang="es-ES" sz="1100" dirty="0">
              <a:solidFill>
                <a:schemeClr val="accent1"/>
              </a:solidFill>
            </a:endParaRPr>
          </a:p>
          <a:p>
            <a:pPr algn="ctr"/>
            <a:r>
              <a:rPr lang="es-ES" sz="1100" dirty="0">
                <a:solidFill>
                  <a:schemeClr val="accent1"/>
                </a:solidFill>
              </a:rPr>
              <a:t>30 minutos, 3 veces x semana, 3 meses.</a:t>
            </a:r>
            <a:endParaRPr lang="es-ES" sz="1200" dirty="0">
              <a:solidFill>
                <a:schemeClr val="accent1"/>
              </a:solidFill>
            </a:endParaRPr>
          </a:p>
        </p:txBody>
      </p:sp>
      <p:pic>
        <p:nvPicPr>
          <p:cNvPr id="11" name="Imagen 10">
            <a:extLst>
              <a:ext uri="{FF2B5EF4-FFF2-40B4-BE49-F238E27FC236}">
                <a16:creationId xmlns:a16="http://schemas.microsoft.com/office/drawing/2014/main" id="{62511323-DE32-BA1C-849D-C3AFFE191364}"/>
              </a:ext>
            </a:extLst>
          </p:cNvPr>
          <p:cNvPicPr>
            <a:picLocks noChangeAspect="1"/>
          </p:cNvPicPr>
          <p:nvPr/>
        </p:nvPicPr>
        <p:blipFill>
          <a:blip r:embed="rId5"/>
          <a:stretch>
            <a:fillRect/>
          </a:stretch>
        </p:blipFill>
        <p:spPr>
          <a:xfrm>
            <a:off x="6446750" y="2688842"/>
            <a:ext cx="4838904" cy="1119654"/>
          </a:xfrm>
          <a:prstGeom prst="rect">
            <a:avLst/>
          </a:prstGeom>
        </p:spPr>
      </p:pic>
      <p:sp>
        <p:nvSpPr>
          <p:cNvPr id="13" name="Flecha: a la derecha 12">
            <a:extLst>
              <a:ext uri="{FF2B5EF4-FFF2-40B4-BE49-F238E27FC236}">
                <a16:creationId xmlns:a16="http://schemas.microsoft.com/office/drawing/2014/main" id="{56B31FE1-FD86-D0CC-58B4-79D4E7A8B4D2}"/>
              </a:ext>
            </a:extLst>
          </p:cNvPr>
          <p:cNvSpPr/>
          <p:nvPr/>
        </p:nvSpPr>
        <p:spPr>
          <a:xfrm rot="5400000">
            <a:off x="8569579" y="3931247"/>
            <a:ext cx="593239" cy="338554"/>
          </a:xfrm>
          <a:prstGeom prst="rightArrow">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s-ES"/>
          </a:p>
        </p:txBody>
      </p:sp>
      <p:sp>
        <p:nvSpPr>
          <p:cNvPr id="14" name="Rectángulo 13">
            <a:extLst>
              <a:ext uri="{FF2B5EF4-FFF2-40B4-BE49-F238E27FC236}">
                <a16:creationId xmlns:a16="http://schemas.microsoft.com/office/drawing/2014/main" id="{64C7CF4F-D600-0107-1FF9-B858A8C0E905}"/>
              </a:ext>
            </a:extLst>
          </p:cNvPr>
          <p:cNvSpPr/>
          <p:nvPr/>
        </p:nvSpPr>
        <p:spPr>
          <a:xfrm>
            <a:off x="6446750" y="4470106"/>
            <a:ext cx="4838904" cy="668121"/>
          </a:xfrm>
          <a:prstGeom prst="rect">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1200" dirty="0">
                <a:solidFill>
                  <a:schemeClr val="accent1"/>
                </a:solidFill>
              </a:rPr>
              <a:t>Enfermedad </a:t>
            </a:r>
            <a:r>
              <a:rPr lang="es-ES" sz="1200" b="1" dirty="0">
                <a:solidFill>
                  <a:schemeClr val="accent1"/>
                </a:solidFill>
              </a:rPr>
              <a:t>crónica</a:t>
            </a:r>
            <a:r>
              <a:rPr lang="es-ES" sz="1200" dirty="0">
                <a:solidFill>
                  <a:schemeClr val="accent1"/>
                </a:solidFill>
              </a:rPr>
              <a:t> que precisa un seguimiento </a:t>
            </a:r>
            <a:r>
              <a:rPr lang="es-ES" sz="1200" b="1" dirty="0">
                <a:solidFill>
                  <a:schemeClr val="accent1"/>
                </a:solidFill>
              </a:rPr>
              <a:t>continuo</a:t>
            </a:r>
            <a:r>
              <a:rPr lang="es-ES" sz="1200" dirty="0">
                <a:solidFill>
                  <a:schemeClr val="accent1"/>
                </a:solidFill>
              </a:rPr>
              <a:t> y a </a:t>
            </a:r>
            <a:r>
              <a:rPr lang="es-ES" sz="1200" b="1" dirty="0">
                <a:solidFill>
                  <a:schemeClr val="accent1"/>
                </a:solidFill>
              </a:rPr>
              <a:t>largo plazo</a:t>
            </a:r>
            <a:r>
              <a:rPr lang="es-ES" sz="1200" baseline="30000" dirty="0">
                <a:solidFill>
                  <a:schemeClr val="accent1"/>
                </a:solidFill>
              </a:rPr>
              <a:t>1</a:t>
            </a:r>
            <a:r>
              <a:rPr lang="es-ES" sz="1200" b="1" dirty="0">
                <a:solidFill>
                  <a:schemeClr val="accent1"/>
                </a:solidFill>
              </a:rPr>
              <a:t>.</a:t>
            </a:r>
          </a:p>
        </p:txBody>
      </p:sp>
      <p:sp>
        <p:nvSpPr>
          <p:cNvPr id="10" name="CuadroTexto 9">
            <a:extLst>
              <a:ext uri="{FF2B5EF4-FFF2-40B4-BE49-F238E27FC236}">
                <a16:creationId xmlns:a16="http://schemas.microsoft.com/office/drawing/2014/main" id="{54B39A37-FA5D-AABB-F56F-8642E96AAF7F}"/>
              </a:ext>
            </a:extLst>
          </p:cNvPr>
          <p:cNvSpPr txBox="1"/>
          <p:nvPr/>
        </p:nvSpPr>
        <p:spPr>
          <a:xfrm>
            <a:off x="6772645" y="6163685"/>
            <a:ext cx="4187109" cy="261610"/>
          </a:xfrm>
          <a:prstGeom prst="rect">
            <a:avLst/>
          </a:prstGeom>
          <a:noFill/>
        </p:spPr>
        <p:txBody>
          <a:bodyPr wrap="square">
            <a:spAutoFit/>
          </a:bodyPr>
          <a:lstStyle/>
          <a:p>
            <a:pPr algn="ctr"/>
            <a:r>
              <a:rPr lang="es-ES" sz="1050" dirty="0">
                <a:solidFill>
                  <a:schemeClr val="accent1"/>
                </a:solidFill>
              </a:rPr>
              <a:t>Guía ESC 2024 Enfermedades arteriales periféricas y aórticas</a:t>
            </a:r>
          </a:p>
        </p:txBody>
      </p:sp>
      <p:sp>
        <p:nvSpPr>
          <p:cNvPr id="18" name="CuadroTexto 17">
            <a:extLst>
              <a:ext uri="{FF2B5EF4-FFF2-40B4-BE49-F238E27FC236}">
                <a16:creationId xmlns:a16="http://schemas.microsoft.com/office/drawing/2014/main" id="{3044183D-F57D-65B4-DDEC-139A58A29AF8}"/>
              </a:ext>
            </a:extLst>
          </p:cNvPr>
          <p:cNvSpPr txBox="1"/>
          <p:nvPr/>
        </p:nvSpPr>
        <p:spPr>
          <a:xfrm>
            <a:off x="6446749" y="6327876"/>
            <a:ext cx="4838904" cy="307777"/>
          </a:xfrm>
          <a:prstGeom prst="rect">
            <a:avLst/>
          </a:prstGeom>
          <a:noFill/>
        </p:spPr>
        <p:txBody>
          <a:bodyPr wrap="square" rtlCol="0">
            <a:spAutoFit/>
          </a:bodyPr>
          <a:lstStyle>
            <a:defPPr>
              <a:defRPr lang="es-ES"/>
            </a:defPPr>
            <a:lvl1pPr algn="ctr">
              <a:defRPr sz="700" b="0" i="1">
                <a:solidFill>
                  <a:schemeClr val="accent1"/>
                </a:solidFill>
                <a:effectLst/>
              </a:defRPr>
            </a:lvl1pPr>
          </a:lstStyle>
          <a:p>
            <a:r>
              <a:rPr lang="es-ES" dirty="0"/>
              <a:t>1. </a:t>
            </a:r>
            <a:r>
              <a:rPr lang="es-ES" dirty="0" err="1"/>
              <a:t>Mazzolai</a:t>
            </a:r>
            <a:r>
              <a:rPr lang="es-ES" dirty="0"/>
              <a:t> L, et al. 2024 ESC </a:t>
            </a:r>
            <a:r>
              <a:rPr lang="es-ES" dirty="0" err="1"/>
              <a:t>Guidelines</a:t>
            </a:r>
            <a:r>
              <a:rPr lang="es-ES" dirty="0"/>
              <a:t> </a:t>
            </a:r>
            <a:r>
              <a:rPr lang="es-ES" dirty="0" err="1"/>
              <a:t>for</a:t>
            </a:r>
            <a:r>
              <a:rPr lang="es-ES" dirty="0"/>
              <a:t> </a:t>
            </a:r>
            <a:r>
              <a:rPr lang="es-ES" dirty="0" err="1"/>
              <a:t>the</a:t>
            </a:r>
            <a:r>
              <a:rPr lang="es-ES" dirty="0"/>
              <a:t> </a:t>
            </a:r>
            <a:r>
              <a:rPr lang="es-ES" dirty="0" err="1"/>
              <a:t>management</a:t>
            </a:r>
            <a:r>
              <a:rPr lang="es-ES" dirty="0"/>
              <a:t> </a:t>
            </a:r>
            <a:r>
              <a:rPr lang="es-ES" dirty="0" err="1"/>
              <a:t>of</a:t>
            </a:r>
            <a:r>
              <a:rPr lang="es-ES" dirty="0"/>
              <a:t> </a:t>
            </a:r>
            <a:r>
              <a:rPr lang="es-ES" dirty="0" err="1"/>
              <a:t>peripheral</a:t>
            </a:r>
            <a:r>
              <a:rPr lang="es-ES" dirty="0"/>
              <a:t> arterial and </a:t>
            </a:r>
            <a:r>
              <a:rPr lang="es-ES" dirty="0" err="1"/>
              <a:t>aortic</a:t>
            </a:r>
            <a:r>
              <a:rPr lang="es-ES" dirty="0"/>
              <a:t> </a:t>
            </a:r>
            <a:r>
              <a:rPr lang="es-ES" dirty="0" err="1"/>
              <a:t>diseases</a:t>
            </a:r>
            <a:r>
              <a:rPr lang="es-ES" dirty="0"/>
              <a:t>. </a:t>
            </a:r>
            <a:r>
              <a:rPr lang="es-ES" dirty="0" err="1"/>
              <a:t>Eur</a:t>
            </a:r>
            <a:r>
              <a:rPr lang="es-ES" dirty="0"/>
              <a:t> Heart J. 2024 </a:t>
            </a:r>
            <a:r>
              <a:rPr lang="es-ES" dirty="0" err="1"/>
              <a:t>Sep</a:t>
            </a:r>
            <a:r>
              <a:rPr lang="es-ES" dirty="0"/>
              <a:t> 29;45(36):3538-3700. </a:t>
            </a:r>
            <a:r>
              <a:rPr lang="es-ES" dirty="0" err="1"/>
              <a:t>doi</a:t>
            </a:r>
            <a:r>
              <a:rPr lang="es-ES" dirty="0"/>
              <a:t>: 10.1093/</a:t>
            </a:r>
            <a:r>
              <a:rPr lang="es-ES" dirty="0" err="1"/>
              <a:t>eurheartj</a:t>
            </a:r>
            <a:r>
              <a:rPr lang="es-ES" dirty="0"/>
              <a:t>/ehae179.</a:t>
            </a:r>
          </a:p>
        </p:txBody>
      </p:sp>
      <p:pic>
        <p:nvPicPr>
          <p:cNvPr id="24" name="Imagen 23">
            <a:extLst>
              <a:ext uri="{FF2B5EF4-FFF2-40B4-BE49-F238E27FC236}">
                <a16:creationId xmlns:a16="http://schemas.microsoft.com/office/drawing/2014/main" id="{93869793-95CD-B267-E591-F1B75F79FCF6}"/>
              </a:ext>
            </a:extLst>
          </p:cNvPr>
          <p:cNvPicPr>
            <a:picLocks noChangeAspect="1"/>
          </p:cNvPicPr>
          <p:nvPr/>
        </p:nvPicPr>
        <p:blipFill>
          <a:blip r:embed="rId6"/>
          <a:stretch>
            <a:fillRect/>
          </a:stretch>
        </p:blipFill>
        <p:spPr>
          <a:xfrm>
            <a:off x="1121204" y="689212"/>
            <a:ext cx="5125643" cy="5642972"/>
          </a:xfrm>
          <a:prstGeom prst="rect">
            <a:avLst/>
          </a:prstGeom>
        </p:spPr>
      </p:pic>
      <p:sp>
        <p:nvSpPr>
          <p:cNvPr id="22" name="CuadroTexto 21">
            <a:extLst>
              <a:ext uri="{FF2B5EF4-FFF2-40B4-BE49-F238E27FC236}">
                <a16:creationId xmlns:a16="http://schemas.microsoft.com/office/drawing/2014/main" id="{179B53C3-26A5-05D4-26E6-7239F816BEB7}"/>
              </a:ext>
            </a:extLst>
          </p:cNvPr>
          <p:cNvSpPr txBox="1"/>
          <p:nvPr/>
        </p:nvSpPr>
        <p:spPr>
          <a:xfrm>
            <a:off x="1101125" y="6259811"/>
            <a:ext cx="3753238" cy="584775"/>
          </a:xfrm>
          <a:prstGeom prst="rect">
            <a:avLst/>
          </a:prstGeom>
          <a:noFill/>
        </p:spPr>
        <p:txBody>
          <a:bodyPr wrap="square">
            <a:spAutoFit/>
          </a:bodyPr>
          <a:lstStyle/>
          <a:p>
            <a:pPr algn="just"/>
            <a:r>
              <a:rPr lang="es-ES" sz="800" dirty="0">
                <a:solidFill>
                  <a:schemeClr val="accent1"/>
                </a:solidFill>
              </a:rPr>
              <a:t>CVR: cardiovascular </a:t>
            </a:r>
            <a:r>
              <a:rPr lang="es-ES" sz="800" dirty="0" err="1">
                <a:solidFill>
                  <a:schemeClr val="accent1"/>
                </a:solidFill>
              </a:rPr>
              <a:t>risk</a:t>
            </a:r>
            <a:r>
              <a:rPr lang="es-ES" sz="800" dirty="0">
                <a:solidFill>
                  <a:schemeClr val="accent1"/>
                </a:solidFill>
              </a:rPr>
              <a:t>; </a:t>
            </a:r>
            <a:r>
              <a:rPr lang="en-US" sz="800" dirty="0">
                <a:solidFill>
                  <a:schemeClr val="accent1"/>
                </a:solidFill>
              </a:rPr>
              <a:t>CVRFs: cardiovascular risk factors; DUS: duplex ultrasound;</a:t>
            </a:r>
            <a:r>
              <a:rPr lang="es-ES" sz="800" dirty="0">
                <a:solidFill>
                  <a:schemeClr val="accent1"/>
                </a:solidFill>
              </a:rPr>
              <a:t> </a:t>
            </a:r>
            <a:r>
              <a:rPr lang="en-US" sz="800" dirty="0">
                <a:solidFill>
                  <a:schemeClr val="accent1"/>
                </a:solidFill>
              </a:rPr>
              <a:t>HBET: home-based exercise training; PAD: peripheral arterial disease; OMT: optimal medical treatment; QoL, quality of life; SET: supervised exercise training. </a:t>
            </a:r>
            <a:endParaRPr lang="es-ES" sz="800" dirty="0">
              <a:solidFill>
                <a:schemeClr val="accent1"/>
              </a:solidFill>
            </a:endParaRPr>
          </a:p>
        </p:txBody>
      </p:sp>
      <p:sp>
        <p:nvSpPr>
          <p:cNvPr id="26" name="CuadroTexto 25">
            <a:extLst>
              <a:ext uri="{FF2B5EF4-FFF2-40B4-BE49-F238E27FC236}">
                <a16:creationId xmlns:a16="http://schemas.microsoft.com/office/drawing/2014/main" id="{25945DE4-8416-28BF-B91E-5CF00197653B}"/>
              </a:ext>
            </a:extLst>
          </p:cNvPr>
          <p:cNvSpPr txBox="1"/>
          <p:nvPr/>
        </p:nvSpPr>
        <p:spPr>
          <a:xfrm>
            <a:off x="9147441" y="3799820"/>
            <a:ext cx="2138213"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pPr algn="r"/>
            <a:r>
              <a:rPr lang="es-ES" dirty="0" err="1"/>
              <a:t>Eur</a:t>
            </a:r>
            <a:r>
              <a:rPr lang="es-ES" dirty="0"/>
              <a:t> Heart J. 2024 </a:t>
            </a:r>
            <a:r>
              <a:rPr lang="es-ES" dirty="0" err="1"/>
              <a:t>Sep</a:t>
            </a:r>
            <a:r>
              <a:rPr lang="es-ES" dirty="0"/>
              <a:t> 29;45(36):3538-3700</a:t>
            </a:r>
          </a:p>
        </p:txBody>
      </p:sp>
      <p:sp>
        <p:nvSpPr>
          <p:cNvPr id="27" name="CuadroTexto 26">
            <a:extLst>
              <a:ext uri="{FF2B5EF4-FFF2-40B4-BE49-F238E27FC236}">
                <a16:creationId xmlns:a16="http://schemas.microsoft.com/office/drawing/2014/main" id="{01ECB847-C2FA-2017-F958-1A34DBAC6282}"/>
              </a:ext>
            </a:extLst>
          </p:cNvPr>
          <p:cNvSpPr txBox="1"/>
          <p:nvPr/>
        </p:nvSpPr>
        <p:spPr>
          <a:xfrm>
            <a:off x="9214116" y="2431857"/>
            <a:ext cx="2138213"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pPr algn="r"/>
            <a:r>
              <a:rPr lang="es-ES" dirty="0" err="1"/>
              <a:t>Eur</a:t>
            </a:r>
            <a:r>
              <a:rPr lang="es-ES" dirty="0"/>
              <a:t> Heart J. 2024 </a:t>
            </a:r>
            <a:r>
              <a:rPr lang="es-ES" dirty="0" err="1"/>
              <a:t>Sep</a:t>
            </a:r>
            <a:r>
              <a:rPr lang="es-ES" dirty="0"/>
              <a:t> 29;45(36):3538-3700</a:t>
            </a:r>
          </a:p>
        </p:txBody>
      </p:sp>
      <p:sp>
        <p:nvSpPr>
          <p:cNvPr id="28" name="CuadroTexto 27">
            <a:extLst>
              <a:ext uri="{FF2B5EF4-FFF2-40B4-BE49-F238E27FC236}">
                <a16:creationId xmlns:a16="http://schemas.microsoft.com/office/drawing/2014/main" id="{54EEC3C0-96F9-8B7F-27A9-EB3DF45632BC}"/>
              </a:ext>
            </a:extLst>
          </p:cNvPr>
          <p:cNvSpPr txBox="1"/>
          <p:nvPr/>
        </p:nvSpPr>
        <p:spPr>
          <a:xfrm>
            <a:off x="4854362" y="6281215"/>
            <a:ext cx="1319865" cy="307777"/>
          </a:xfrm>
          <a:prstGeom prst="rect">
            <a:avLst/>
          </a:prstGeom>
          <a:noFill/>
        </p:spPr>
        <p:txBody>
          <a:bodyPr wrap="square" rtlCol="0">
            <a:spAutoFit/>
          </a:bodyPr>
          <a:lstStyle>
            <a:defPPr>
              <a:defRPr lang="es-ES"/>
            </a:defPPr>
            <a:lvl1pPr algn="ctr">
              <a:defRPr sz="700" b="0" i="1">
                <a:solidFill>
                  <a:schemeClr val="accent1"/>
                </a:solidFill>
                <a:effectLst/>
              </a:defRPr>
            </a:lvl1pPr>
          </a:lstStyle>
          <a:p>
            <a:pPr algn="r"/>
            <a:r>
              <a:rPr lang="es-ES" dirty="0" err="1"/>
              <a:t>Eur</a:t>
            </a:r>
            <a:r>
              <a:rPr lang="es-ES" dirty="0"/>
              <a:t> Heart J. 2024 </a:t>
            </a:r>
            <a:r>
              <a:rPr lang="es-ES" dirty="0" err="1"/>
              <a:t>Sep</a:t>
            </a:r>
            <a:r>
              <a:rPr lang="es-ES" dirty="0"/>
              <a:t> 29;45(36):3538-3700</a:t>
            </a:r>
          </a:p>
        </p:txBody>
      </p:sp>
      <p:sp>
        <p:nvSpPr>
          <p:cNvPr id="29" name="CuadroTexto 28">
            <a:extLst>
              <a:ext uri="{FF2B5EF4-FFF2-40B4-BE49-F238E27FC236}">
                <a16:creationId xmlns:a16="http://schemas.microsoft.com/office/drawing/2014/main" id="{3552A1DC-5E5D-20D0-9A05-D21BF67D69AE}"/>
              </a:ext>
            </a:extLst>
          </p:cNvPr>
          <p:cNvSpPr txBox="1"/>
          <p:nvPr/>
        </p:nvSpPr>
        <p:spPr>
          <a:xfrm>
            <a:off x="4179916" y="791956"/>
            <a:ext cx="308102" cy="215444"/>
          </a:xfrm>
          <a:prstGeom prst="rect">
            <a:avLst/>
          </a:prstGeom>
          <a:noFill/>
        </p:spPr>
        <p:txBody>
          <a:bodyPr wrap="square">
            <a:spAutoFit/>
          </a:bodyPr>
          <a:lstStyle/>
          <a:p>
            <a:pPr algn="ctr"/>
            <a:r>
              <a:rPr lang="es-ES" sz="800" dirty="0">
                <a:solidFill>
                  <a:schemeClr val="accent1"/>
                </a:solidFill>
              </a:rPr>
              <a:t>1</a:t>
            </a:r>
          </a:p>
        </p:txBody>
      </p:sp>
      <p:sp>
        <p:nvSpPr>
          <p:cNvPr id="30" name="CuadroTexto 29">
            <a:extLst>
              <a:ext uri="{FF2B5EF4-FFF2-40B4-BE49-F238E27FC236}">
                <a16:creationId xmlns:a16="http://schemas.microsoft.com/office/drawing/2014/main" id="{1D68AC65-7FF2-0F04-5BAF-CB8703A838FD}"/>
              </a:ext>
            </a:extLst>
          </p:cNvPr>
          <p:cNvSpPr txBox="1"/>
          <p:nvPr/>
        </p:nvSpPr>
        <p:spPr>
          <a:xfrm>
            <a:off x="7233195" y="1170512"/>
            <a:ext cx="308102" cy="215444"/>
          </a:xfrm>
          <a:prstGeom prst="rect">
            <a:avLst/>
          </a:prstGeom>
          <a:noFill/>
        </p:spPr>
        <p:txBody>
          <a:bodyPr wrap="square">
            <a:spAutoFit/>
          </a:bodyPr>
          <a:lstStyle/>
          <a:p>
            <a:pPr algn="ctr"/>
            <a:r>
              <a:rPr lang="es-ES" sz="800" dirty="0">
                <a:solidFill>
                  <a:schemeClr val="accent1"/>
                </a:solidFill>
              </a:rPr>
              <a:t>1</a:t>
            </a:r>
          </a:p>
        </p:txBody>
      </p:sp>
      <p:sp>
        <p:nvSpPr>
          <p:cNvPr id="31" name="CuadroTexto 30">
            <a:extLst>
              <a:ext uri="{FF2B5EF4-FFF2-40B4-BE49-F238E27FC236}">
                <a16:creationId xmlns:a16="http://schemas.microsoft.com/office/drawing/2014/main" id="{22917899-2818-3E2C-97D4-C38613FA64CD}"/>
              </a:ext>
            </a:extLst>
          </p:cNvPr>
          <p:cNvSpPr txBox="1"/>
          <p:nvPr/>
        </p:nvSpPr>
        <p:spPr>
          <a:xfrm>
            <a:off x="7195095" y="2636574"/>
            <a:ext cx="308102" cy="215444"/>
          </a:xfrm>
          <a:prstGeom prst="rect">
            <a:avLst/>
          </a:prstGeom>
          <a:noFill/>
        </p:spPr>
        <p:txBody>
          <a:bodyPr wrap="square">
            <a:spAutoFit/>
          </a:bodyPr>
          <a:lstStyle/>
          <a:p>
            <a:pPr algn="ctr"/>
            <a:r>
              <a:rPr lang="es-ES" sz="800" dirty="0">
                <a:solidFill>
                  <a:schemeClr val="accent1"/>
                </a:solidFill>
              </a:rPr>
              <a:t>1</a:t>
            </a:r>
          </a:p>
        </p:txBody>
      </p:sp>
      <p:sp>
        <p:nvSpPr>
          <p:cNvPr id="3" name="CuadroTexto 2">
            <a:extLst>
              <a:ext uri="{FF2B5EF4-FFF2-40B4-BE49-F238E27FC236}">
                <a16:creationId xmlns:a16="http://schemas.microsoft.com/office/drawing/2014/main" id="{C46B26E1-95D1-AF31-232E-E1168D4D8F46}"/>
              </a:ext>
            </a:extLst>
          </p:cNvPr>
          <p:cNvSpPr txBox="1"/>
          <p:nvPr/>
        </p:nvSpPr>
        <p:spPr>
          <a:xfrm rot="16200000">
            <a:off x="10633273" y="3376069"/>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333802371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75C11F-8C4D-AFCE-1682-0C4FF7AEDE20}"/>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DCCCD4F2-62DE-174E-18B9-98863FB8940A}"/>
              </a:ext>
            </a:extLst>
          </p:cNvPr>
          <p:cNvSpPr>
            <a:spLocks noGrp="1"/>
          </p:cNvSpPr>
          <p:nvPr>
            <p:ph type="body" sz="quarter" idx="24"/>
          </p:nvPr>
        </p:nvSpPr>
        <p:spPr/>
        <p:txBody>
          <a:bodyPr/>
          <a:lstStyle/>
          <a:p>
            <a:endParaRPr lang="es-ES" dirty="0"/>
          </a:p>
        </p:txBody>
      </p:sp>
      <p:sp>
        <p:nvSpPr>
          <p:cNvPr id="6" name="Marcador de número de diapositiva 5">
            <a:extLst>
              <a:ext uri="{FF2B5EF4-FFF2-40B4-BE49-F238E27FC236}">
                <a16:creationId xmlns:a16="http://schemas.microsoft.com/office/drawing/2014/main" id="{8DE2F476-0BCC-75A7-69C1-235B643B648C}"/>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sp>
        <p:nvSpPr>
          <p:cNvPr id="12" name="6 CuadroTexto">
            <a:extLst>
              <a:ext uri="{FF2B5EF4-FFF2-40B4-BE49-F238E27FC236}">
                <a16:creationId xmlns:a16="http://schemas.microsoft.com/office/drawing/2014/main" id="{B23E9D82-04E2-C473-FCE7-E98089E4B629}"/>
              </a:ext>
            </a:extLst>
          </p:cNvPr>
          <p:cNvSpPr txBox="1"/>
          <p:nvPr/>
        </p:nvSpPr>
        <p:spPr>
          <a:xfrm>
            <a:off x="6885497" y="3562763"/>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2" name="Imagen 1">
            <a:extLst>
              <a:ext uri="{FF2B5EF4-FFF2-40B4-BE49-F238E27FC236}">
                <a16:creationId xmlns:a16="http://schemas.microsoft.com/office/drawing/2014/main" id="{7A2E0C04-B80F-3A24-52B3-8C1AA2F837BE}"/>
              </a:ext>
            </a:extLst>
          </p:cNvPr>
          <p:cNvPicPr>
            <a:picLocks noChangeAspect="1"/>
          </p:cNvPicPr>
          <p:nvPr/>
        </p:nvPicPr>
        <p:blipFill>
          <a:blip r:embed="rId3"/>
          <a:stretch>
            <a:fillRect/>
          </a:stretch>
        </p:blipFill>
        <p:spPr>
          <a:xfrm>
            <a:off x="10623775" y="231972"/>
            <a:ext cx="1329043" cy="457240"/>
          </a:xfrm>
          <a:prstGeom prst="rect">
            <a:avLst/>
          </a:prstGeom>
        </p:spPr>
      </p:pic>
      <p:sp>
        <p:nvSpPr>
          <p:cNvPr id="9" name="Título 3">
            <a:extLst>
              <a:ext uri="{FF2B5EF4-FFF2-40B4-BE49-F238E27FC236}">
                <a16:creationId xmlns:a16="http://schemas.microsoft.com/office/drawing/2014/main" id="{62881F43-A449-17A2-34EA-5296F793E083}"/>
              </a:ext>
            </a:extLst>
          </p:cNvPr>
          <p:cNvSpPr txBox="1">
            <a:spLocks/>
          </p:cNvSpPr>
          <p:nvPr/>
        </p:nvSpPr>
        <p:spPr>
          <a:xfrm>
            <a:off x="1116411" y="153726"/>
            <a:ext cx="9507364" cy="1469134"/>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 sz="2800" dirty="0"/>
              <a:t>Nuevas recomendaciones sobre terapia antitrombótica</a:t>
            </a:r>
          </a:p>
        </p:txBody>
      </p:sp>
      <p:pic>
        <p:nvPicPr>
          <p:cNvPr id="17" name="Imagen 16">
            <a:extLst>
              <a:ext uri="{FF2B5EF4-FFF2-40B4-BE49-F238E27FC236}">
                <a16:creationId xmlns:a16="http://schemas.microsoft.com/office/drawing/2014/main" id="{FAB111EF-E975-BAA6-2BA4-A9DF001ADA80}"/>
              </a:ext>
            </a:extLst>
          </p:cNvPr>
          <p:cNvPicPr>
            <a:picLocks noChangeAspect="1"/>
          </p:cNvPicPr>
          <p:nvPr/>
        </p:nvPicPr>
        <p:blipFill>
          <a:blip r:embed="rId4"/>
          <a:stretch>
            <a:fillRect/>
          </a:stretch>
        </p:blipFill>
        <p:spPr>
          <a:xfrm>
            <a:off x="5287348" y="2841855"/>
            <a:ext cx="6957337" cy="3177852"/>
          </a:xfrm>
          <a:prstGeom prst="rect">
            <a:avLst/>
          </a:prstGeom>
        </p:spPr>
      </p:pic>
      <p:pic>
        <p:nvPicPr>
          <p:cNvPr id="20" name="Picture 2" descr="New - Free signs icons">
            <a:extLst>
              <a:ext uri="{FF2B5EF4-FFF2-40B4-BE49-F238E27FC236}">
                <a16:creationId xmlns:a16="http://schemas.microsoft.com/office/drawing/2014/main" id="{F9CBE620-3A15-A0E1-1835-0F09B8F73D8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65012" y="5086059"/>
            <a:ext cx="933648" cy="933648"/>
          </a:xfrm>
          <a:prstGeom prst="rect">
            <a:avLst/>
          </a:prstGeom>
          <a:noFill/>
          <a:extLst>
            <a:ext uri="{909E8E84-426E-40DD-AFC4-6F175D3DCCD1}">
              <a14:hiddenFill xmlns:a14="http://schemas.microsoft.com/office/drawing/2010/main">
                <a:solidFill>
                  <a:srgbClr val="FFFFFF"/>
                </a:solidFill>
              </a14:hiddenFill>
            </a:ext>
          </a:extLst>
        </p:spPr>
      </p:pic>
      <p:sp>
        <p:nvSpPr>
          <p:cNvPr id="21" name="CuadroTexto 20">
            <a:extLst>
              <a:ext uri="{FF2B5EF4-FFF2-40B4-BE49-F238E27FC236}">
                <a16:creationId xmlns:a16="http://schemas.microsoft.com/office/drawing/2014/main" id="{DFE0F3B6-678B-2E50-B67E-4EA97C8D8C27}"/>
              </a:ext>
            </a:extLst>
          </p:cNvPr>
          <p:cNvSpPr txBox="1"/>
          <p:nvPr/>
        </p:nvSpPr>
        <p:spPr>
          <a:xfrm>
            <a:off x="2540829" y="4292281"/>
            <a:ext cx="3555171" cy="276999"/>
          </a:xfrm>
          <a:prstGeom prst="rect">
            <a:avLst/>
          </a:prstGeom>
          <a:solidFill>
            <a:schemeClr val="accent2"/>
          </a:solidFill>
          <a:ln>
            <a:solidFill>
              <a:schemeClr val="accent4"/>
            </a:solidFill>
          </a:ln>
        </p:spPr>
        <p:txBody>
          <a:bodyPr wrap="square">
            <a:spAutoFit/>
          </a:bodyPr>
          <a:lstStyle/>
          <a:p>
            <a:pPr algn="ctr"/>
            <a:r>
              <a:rPr lang="es-ES" sz="1200" b="1" dirty="0">
                <a:solidFill>
                  <a:schemeClr val="accent1"/>
                </a:solidFill>
              </a:rPr>
              <a:t>En pacientes que ya se hayan revascularizado</a:t>
            </a:r>
          </a:p>
        </p:txBody>
      </p:sp>
      <p:sp>
        <p:nvSpPr>
          <p:cNvPr id="22" name="Flecha: a la derecha 21">
            <a:extLst>
              <a:ext uri="{FF2B5EF4-FFF2-40B4-BE49-F238E27FC236}">
                <a16:creationId xmlns:a16="http://schemas.microsoft.com/office/drawing/2014/main" id="{BDF32AA9-362B-D7FD-5D3D-AA2A8D785247}"/>
              </a:ext>
            </a:extLst>
          </p:cNvPr>
          <p:cNvSpPr/>
          <p:nvPr/>
        </p:nvSpPr>
        <p:spPr>
          <a:xfrm>
            <a:off x="6206401" y="4210996"/>
            <a:ext cx="727346" cy="403266"/>
          </a:xfrm>
          <a:prstGeom prst="rightArrow">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s-ES"/>
          </a:p>
        </p:txBody>
      </p:sp>
      <p:pic>
        <p:nvPicPr>
          <p:cNvPr id="8" name="Imagen 7">
            <a:extLst>
              <a:ext uri="{FF2B5EF4-FFF2-40B4-BE49-F238E27FC236}">
                <a16:creationId xmlns:a16="http://schemas.microsoft.com/office/drawing/2014/main" id="{AB923547-894D-CB4F-87AA-30AB803C6840}"/>
              </a:ext>
            </a:extLst>
          </p:cNvPr>
          <p:cNvPicPr>
            <a:picLocks noChangeAspect="1"/>
          </p:cNvPicPr>
          <p:nvPr/>
        </p:nvPicPr>
        <p:blipFill>
          <a:blip r:embed="rId6"/>
          <a:stretch>
            <a:fillRect/>
          </a:stretch>
        </p:blipFill>
        <p:spPr>
          <a:xfrm>
            <a:off x="743133" y="609576"/>
            <a:ext cx="6040710" cy="2964680"/>
          </a:xfrm>
          <a:prstGeom prst="rect">
            <a:avLst/>
          </a:prstGeom>
        </p:spPr>
      </p:pic>
      <p:pic>
        <p:nvPicPr>
          <p:cNvPr id="19" name="Picture 2" descr="New - Free signs icons">
            <a:extLst>
              <a:ext uri="{FF2B5EF4-FFF2-40B4-BE49-F238E27FC236}">
                <a16:creationId xmlns:a16="http://schemas.microsoft.com/office/drawing/2014/main" id="{931B8C47-2B53-3203-C1BE-1089017673C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76723" y="1549195"/>
            <a:ext cx="933648" cy="933648"/>
          </a:xfrm>
          <a:prstGeom prst="rect">
            <a:avLst/>
          </a:prstGeom>
          <a:noFill/>
          <a:extLst>
            <a:ext uri="{909E8E84-426E-40DD-AFC4-6F175D3DCCD1}">
              <a14:hiddenFill xmlns:a14="http://schemas.microsoft.com/office/drawing/2010/main">
                <a:solidFill>
                  <a:srgbClr val="FFFFFF"/>
                </a:solidFill>
              </a14:hiddenFill>
            </a:ext>
          </a:extLst>
        </p:spPr>
      </p:pic>
      <p:sp>
        <p:nvSpPr>
          <p:cNvPr id="3" name="CuadroTexto 2">
            <a:extLst>
              <a:ext uri="{FF2B5EF4-FFF2-40B4-BE49-F238E27FC236}">
                <a16:creationId xmlns:a16="http://schemas.microsoft.com/office/drawing/2014/main" id="{E32A541C-49BF-16D9-B40D-DE8DFDE60F02}"/>
              </a:ext>
            </a:extLst>
          </p:cNvPr>
          <p:cNvSpPr txBox="1"/>
          <p:nvPr/>
        </p:nvSpPr>
        <p:spPr>
          <a:xfrm>
            <a:off x="4124236" y="6296779"/>
            <a:ext cx="4187109" cy="261610"/>
          </a:xfrm>
          <a:prstGeom prst="rect">
            <a:avLst/>
          </a:prstGeom>
          <a:noFill/>
        </p:spPr>
        <p:txBody>
          <a:bodyPr wrap="square">
            <a:spAutoFit/>
          </a:bodyPr>
          <a:lstStyle/>
          <a:p>
            <a:pPr algn="ctr"/>
            <a:r>
              <a:rPr lang="es-ES" sz="1050" dirty="0">
                <a:solidFill>
                  <a:schemeClr val="accent1"/>
                </a:solidFill>
              </a:rPr>
              <a:t>Guía ESC 2024 Enfermedades arteriales periféricas y aórticas</a:t>
            </a:r>
          </a:p>
        </p:txBody>
      </p:sp>
      <p:sp>
        <p:nvSpPr>
          <p:cNvPr id="10" name="CuadroTexto 9">
            <a:extLst>
              <a:ext uri="{FF2B5EF4-FFF2-40B4-BE49-F238E27FC236}">
                <a16:creationId xmlns:a16="http://schemas.microsoft.com/office/drawing/2014/main" id="{732CF71A-8045-17F7-6107-1B4F2394A155}"/>
              </a:ext>
            </a:extLst>
          </p:cNvPr>
          <p:cNvSpPr txBox="1"/>
          <p:nvPr/>
        </p:nvSpPr>
        <p:spPr>
          <a:xfrm>
            <a:off x="1525178" y="6456857"/>
            <a:ext cx="9385225"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r>
              <a:rPr lang="es-ES" dirty="0"/>
              <a:t>2. </a:t>
            </a:r>
            <a:r>
              <a:rPr lang="es-ES" dirty="0" err="1"/>
              <a:t>Mazzolai</a:t>
            </a:r>
            <a:r>
              <a:rPr lang="es-ES" dirty="0"/>
              <a:t> L, et al. 2024 ESC </a:t>
            </a:r>
            <a:r>
              <a:rPr lang="es-ES" dirty="0" err="1"/>
              <a:t>Guidelines</a:t>
            </a:r>
            <a:r>
              <a:rPr lang="es-ES" dirty="0"/>
              <a:t> </a:t>
            </a:r>
            <a:r>
              <a:rPr lang="es-ES" dirty="0" err="1"/>
              <a:t>for</a:t>
            </a:r>
            <a:r>
              <a:rPr lang="es-ES" dirty="0"/>
              <a:t> </a:t>
            </a:r>
            <a:r>
              <a:rPr lang="es-ES" dirty="0" err="1"/>
              <a:t>the</a:t>
            </a:r>
            <a:r>
              <a:rPr lang="es-ES" dirty="0"/>
              <a:t> </a:t>
            </a:r>
            <a:r>
              <a:rPr lang="es-ES" dirty="0" err="1"/>
              <a:t>management</a:t>
            </a:r>
            <a:r>
              <a:rPr lang="es-ES" dirty="0"/>
              <a:t> </a:t>
            </a:r>
            <a:r>
              <a:rPr lang="es-ES" dirty="0" err="1"/>
              <a:t>of</a:t>
            </a:r>
            <a:r>
              <a:rPr lang="es-ES" dirty="0"/>
              <a:t> </a:t>
            </a:r>
            <a:r>
              <a:rPr lang="es-ES" dirty="0" err="1"/>
              <a:t>peripheral</a:t>
            </a:r>
            <a:r>
              <a:rPr lang="es-ES" dirty="0"/>
              <a:t> arterial and </a:t>
            </a:r>
            <a:r>
              <a:rPr lang="es-ES" dirty="0" err="1"/>
              <a:t>aortic</a:t>
            </a:r>
            <a:r>
              <a:rPr lang="es-ES" dirty="0"/>
              <a:t> </a:t>
            </a:r>
            <a:r>
              <a:rPr lang="es-ES" dirty="0" err="1"/>
              <a:t>diseases</a:t>
            </a:r>
            <a:r>
              <a:rPr lang="es-ES" dirty="0"/>
              <a:t>. </a:t>
            </a:r>
            <a:r>
              <a:rPr lang="es-ES" dirty="0" err="1"/>
              <a:t>Eur</a:t>
            </a:r>
            <a:r>
              <a:rPr lang="es-ES" dirty="0"/>
              <a:t> Heart J. 2024 </a:t>
            </a:r>
            <a:r>
              <a:rPr lang="es-ES" dirty="0" err="1"/>
              <a:t>Sep</a:t>
            </a:r>
            <a:r>
              <a:rPr lang="es-ES" dirty="0"/>
              <a:t> 29;45(36):3538-3700. </a:t>
            </a:r>
            <a:r>
              <a:rPr lang="es-ES" dirty="0" err="1"/>
              <a:t>doi</a:t>
            </a:r>
            <a:r>
              <a:rPr lang="es-ES" dirty="0"/>
              <a:t>: 10.1093/</a:t>
            </a:r>
            <a:r>
              <a:rPr lang="es-ES" dirty="0" err="1"/>
              <a:t>eurheartj</a:t>
            </a:r>
            <a:r>
              <a:rPr lang="es-ES" dirty="0"/>
              <a:t>/ehae179.</a:t>
            </a:r>
          </a:p>
        </p:txBody>
      </p:sp>
      <p:sp>
        <p:nvSpPr>
          <p:cNvPr id="11" name="CuadroTexto 10">
            <a:extLst>
              <a:ext uri="{FF2B5EF4-FFF2-40B4-BE49-F238E27FC236}">
                <a16:creationId xmlns:a16="http://schemas.microsoft.com/office/drawing/2014/main" id="{7C609A8D-38B3-2F84-111B-15A3DD90FE61}"/>
              </a:ext>
            </a:extLst>
          </p:cNvPr>
          <p:cNvSpPr txBox="1"/>
          <p:nvPr/>
        </p:nvSpPr>
        <p:spPr>
          <a:xfrm>
            <a:off x="10067925" y="5987973"/>
            <a:ext cx="1999128"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pPr algn="r"/>
            <a:r>
              <a:rPr lang="es-ES" dirty="0" err="1"/>
              <a:t>Eur</a:t>
            </a:r>
            <a:r>
              <a:rPr lang="es-ES" dirty="0"/>
              <a:t> Heart J. 2024 </a:t>
            </a:r>
            <a:r>
              <a:rPr lang="es-ES" dirty="0" err="1"/>
              <a:t>Sep</a:t>
            </a:r>
            <a:r>
              <a:rPr lang="es-ES" dirty="0"/>
              <a:t> 29;45(36):3538-3700</a:t>
            </a:r>
          </a:p>
        </p:txBody>
      </p:sp>
      <p:sp>
        <p:nvSpPr>
          <p:cNvPr id="13" name="CuadroTexto 12">
            <a:extLst>
              <a:ext uri="{FF2B5EF4-FFF2-40B4-BE49-F238E27FC236}">
                <a16:creationId xmlns:a16="http://schemas.microsoft.com/office/drawing/2014/main" id="{5A2821A2-F878-C305-0FCE-372E754C6DDA}"/>
              </a:ext>
            </a:extLst>
          </p:cNvPr>
          <p:cNvSpPr txBox="1"/>
          <p:nvPr/>
        </p:nvSpPr>
        <p:spPr>
          <a:xfrm>
            <a:off x="4784715" y="3501471"/>
            <a:ext cx="1999128"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pPr algn="r"/>
            <a:r>
              <a:rPr lang="es-ES" dirty="0" err="1"/>
              <a:t>Eur</a:t>
            </a:r>
            <a:r>
              <a:rPr lang="es-ES" dirty="0"/>
              <a:t> Heart J. 2024 </a:t>
            </a:r>
            <a:r>
              <a:rPr lang="es-ES" dirty="0" err="1"/>
              <a:t>Sep</a:t>
            </a:r>
            <a:r>
              <a:rPr lang="es-ES" dirty="0"/>
              <a:t> 29;45(36):3538-3700</a:t>
            </a:r>
          </a:p>
        </p:txBody>
      </p:sp>
      <p:sp>
        <p:nvSpPr>
          <p:cNvPr id="14" name="CuadroTexto 13">
            <a:extLst>
              <a:ext uri="{FF2B5EF4-FFF2-40B4-BE49-F238E27FC236}">
                <a16:creationId xmlns:a16="http://schemas.microsoft.com/office/drawing/2014/main" id="{A86EC7C2-6084-1D22-1A1E-D8188FEECD35}"/>
              </a:ext>
            </a:extLst>
          </p:cNvPr>
          <p:cNvSpPr txBox="1"/>
          <p:nvPr/>
        </p:nvSpPr>
        <p:spPr>
          <a:xfrm>
            <a:off x="2008216" y="2486803"/>
            <a:ext cx="308102" cy="215444"/>
          </a:xfrm>
          <a:prstGeom prst="rect">
            <a:avLst/>
          </a:prstGeom>
          <a:noFill/>
        </p:spPr>
        <p:txBody>
          <a:bodyPr wrap="square">
            <a:spAutoFit/>
          </a:bodyPr>
          <a:lstStyle/>
          <a:p>
            <a:pPr algn="ctr"/>
            <a:r>
              <a:rPr lang="es-ES" sz="800" dirty="0">
                <a:solidFill>
                  <a:schemeClr val="accent1"/>
                </a:solidFill>
              </a:rPr>
              <a:t>1</a:t>
            </a:r>
          </a:p>
        </p:txBody>
      </p:sp>
      <p:sp>
        <p:nvSpPr>
          <p:cNvPr id="15" name="CuadroTexto 14">
            <a:extLst>
              <a:ext uri="{FF2B5EF4-FFF2-40B4-BE49-F238E27FC236}">
                <a16:creationId xmlns:a16="http://schemas.microsoft.com/office/drawing/2014/main" id="{CF4B0976-8D56-7863-6D57-A5395B909099}"/>
              </a:ext>
            </a:extLst>
          </p:cNvPr>
          <p:cNvSpPr txBox="1"/>
          <p:nvPr/>
        </p:nvSpPr>
        <p:spPr>
          <a:xfrm>
            <a:off x="9694891" y="2870430"/>
            <a:ext cx="308102" cy="200055"/>
          </a:xfrm>
          <a:prstGeom prst="rect">
            <a:avLst/>
          </a:prstGeom>
          <a:noFill/>
        </p:spPr>
        <p:txBody>
          <a:bodyPr wrap="square">
            <a:spAutoFit/>
          </a:bodyPr>
          <a:lstStyle/>
          <a:p>
            <a:pPr algn="ctr"/>
            <a:r>
              <a:rPr lang="es-ES" sz="700" dirty="0">
                <a:solidFill>
                  <a:schemeClr val="accent1"/>
                </a:solidFill>
              </a:rPr>
              <a:t>1</a:t>
            </a:r>
          </a:p>
        </p:txBody>
      </p:sp>
      <p:sp>
        <p:nvSpPr>
          <p:cNvPr id="16" name="CuadroTexto 15">
            <a:extLst>
              <a:ext uri="{FF2B5EF4-FFF2-40B4-BE49-F238E27FC236}">
                <a16:creationId xmlns:a16="http://schemas.microsoft.com/office/drawing/2014/main" id="{4D381296-445F-9FB1-8893-ADF313912445}"/>
              </a:ext>
            </a:extLst>
          </p:cNvPr>
          <p:cNvSpPr txBox="1"/>
          <p:nvPr/>
        </p:nvSpPr>
        <p:spPr>
          <a:xfrm>
            <a:off x="4395010" y="707488"/>
            <a:ext cx="308102" cy="200055"/>
          </a:xfrm>
          <a:prstGeom prst="rect">
            <a:avLst/>
          </a:prstGeom>
          <a:noFill/>
        </p:spPr>
        <p:txBody>
          <a:bodyPr wrap="square">
            <a:spAutoFit/>
          </a:bodyPr>
          <a:lstStyle/>
          <a:p>
            <a:pPr algn="ctr"/>
            <a:r>
              <a:rPr lang="es-ES" sz="700" dirty="0">
                <a:solidFill>
                  <a:schemeClr val="accent1"/>
                </a:solidFill>
              </a:rPr>
              <a:t>1</a:t>
            </a:r>
          </a:p>
        </p:txBody>
      </p:sp>
      <p:sp>
        <p:nvSpPr>
          <p:cNvPr id="18" name="CuadroTexto 17">
            <a:extLst>
              <a:ext uri="{FF2B5EF4-FFF2-40B4-BE49-F238E27FC236}">
                <a16:creationId xmlns:a16="http://schemas.microsoft.com/office/drawing/2014/main" id="{70F13CF9-F142-9D3B-BE15-E0A24C027192}"/>
              </a:ext>
            </a:extLst>
          </p:cNvPr>
          <p:cNvSpPr txBox="1"/>
          <p:nvPr/>
        </p:nvSpPr>
        <p:spPr>
          <a:xfrm>
            <a:off x="6680449" y="5035060"/>
            <a:ext cx="308102" cy="215444"/>
          </a:xfrm>
          <a:prstGeom prst="rect">
            <a:avLst/>
          </a:prstGeom>
          <a:noFill/>
        </p:spPr>
        <p:txBody>
          <a:bodyPr wrap="square">
            <a:spAutoFit/>
          </a:bodyPr>
          <a:lstStyle/>
          <a:p>
            <a:pPr algn="ctr"/>
            <a:r>
              <a:rPr lang="es-ES" sz="800" dirty="0">
                <a:solidFill>
                  <a:schemeClr val="accent1"/>
                </a:solidFill>
              </a:rPr>
              <a:t>1</a:t>
            </a:r>
          </a:p>
        </p:txBody>
      </p:sp>
      <p:sp>
        <p:nvSpPr>
          <p:cNvPr id="5" name="CuadroTexto 4">
            <a:extLst>
              <a:ext uri="{FF2B5EF4-FFF2-40B4-BE49-F238E27FC236}">
                <a16:creationId xmlns:a16="http://schemas.microsoft.com/office/drawing/2014/main" id="{E8A1B31F-B32F-C479-5341-27EDD98593A2}"/>
              </a:ext>
            </a:extLst>
          </p:cNvPr>
          <p:cNvSpPr txBox="1"/>
          <p:nvPr/>
        </p:nvSpPr>
        <p:spPr>
          <a:xfrm>
            <a:off x="10374181" y="4707779"/>
            <a:ext cx="1072444" cy="307777"/>
          </a:xfrm>
          <a:prstGeom prst="rect">
            <a:avLst/>
          </a:prstGeom>
          <a:noFill/>
        </p:spPr>
        <p:txBody>
          <a:bodyPr wrap="square" rtlCol="0">
            <a:spAutoFit/>
          </a:bodyPr>
          <a:lstStyle>
            <a:defPPr>
              <a:defRPr lang="es-ES"/>
            </a:defPPr>
            <a:lvl1pPr algn="ctr">
              <a:defRPr sz="700" b="0" i="1">
                <a:solidFill>
                  <a:schemeClr val="accent1"/>
                </a:solidFill>
                <a:effectLst/>
              </a:defRPr>
            </a:lvl1pPr>
          </a:lstStyle>
          <a:p>
            <a:pPr algn="r"/>
            <a:r>
              <a:rPr lang="es-ES" dirty="0" err="1"/>
              <a:t>Eur</a:t>
            </a:r>
            <a:r>
              <a:rPr lang="es-ES" dirty="0"/>
              <a:t> Heart J. 2024 </a:t>
            </a:r>
            <a:r>
              <a:rPr lang="es-ES" dirty="0" err="1"/>
              <a:t>Sep</a:t>
            </a:r>
            <a:r>
              <a:rPr lang="es-ES" dirty="0"/>
              <a:t> 29;45(36):3538-3700</a:t>
            </a:r>
          </a:p>
        </p:txBody>
      </p:sp>
      <p:sp>
        <p:nvSpPr>
          <p:cNvPr id="7" name="CuadroTexto 6">
            <a:extLst>
              <a:ext uri="{FF2B5EF4-FFF2-40B4-BE49-F238E27FC236}">
                <a16:creationId xmlns:a16="http://schemas.microsoft.com/office/drawing/2014/main" id="{A2C75547-BFBD-3184-4621-924C5E9156CF}"/>
              </a:ext>
            </a:extLst>
          </p:cNvPr>
          <p:cNvSpPr txBox="1"/>
          <p:nvPr/>
        </p:nvSpPr>
        <p:spPr>
          <a:xfrm>
            <a:off x="5784279" y="1101967"/>
            <a:ext cx="1072444" cy="307777"/>
          </a:xfrm>
          <a:prstGeom prst="rect">
            <a:avLst/>
          </a:prstGeom>
          <a:noFill/>
        </p:spPr>
        <p:txBody>
          <a:bodyPr wrap="square" rtlCol="0">
            <a:spAutoFit/>
          </a:bodyPr>
          <a:lstStyle>
            <a:defPPr>
              <a:defRPr lang="es-ES"/>
            </a:defPPr>
            <a:lvl1pPr algn="ctr">
              <a:defRPr sz="700" b="0" i="1">
                <a:solidFill>
                  <a:schemeClr val="accent1"/>
                </a:solidFill>
                <a:effectLst/>
              </a:defRPr>
            </a:lvl1pPr>
          </a:lstStyle>
          <a:p>
            <a:pPr algn="r"/>
            <a:r>
              <a:rPr lang="es-ES" dirty="0" err="1"/>
              <a:t>Eur</a:t>
            </a:r>
            <a:r>
              <a:rPr lang="es-ES" dirty="0"/>
              <a:t> Heart J. 2024 </a:t>
            </a:r>
            <a:r>
              <a:rPr lang="es-ES" dirty="0" err="1"/>
              <a:t>Sep</a:t>
            </a:r>
            <a:r>
              <a:rPr lang="es-ES" dirty="0"/>
              <a:t> 29;45(36):3538-3700</a:t>
            </a:r>
          </a:p>
        </p:txBody>
      </p:sp>
      <p:sp>
        <p:nvSpPr>
          <p:cNvPr id="23" name="CuadroTexto 22">
            <a:extLst>
              <a:ext uri="{FF2B5EF4-FFF2-40B4-BE49-F238E27FC236}">
                <a16:creationId xmlns:a16="http://schemas.microsoft.com/office/drawing/2014/main" id="{E598B819-6B95-0529-0C34-58C1B6F5AAC3}"/>
              </a:ext>
            </a:extLst>
          </p:cNvPr>
          <p:cNvSpPr txBox="1"/>
          <p:nvPr/>
        </p:nvSpPr>
        <p:spPr>
          <a:xfrm rot="16200000">
            <a:off x="10633273" y="3376069"/>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19098249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889AEE-170C-2283-E79B-A837167E426E}"/>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89C37463-1784-FC27-CCB7-CBF1BABAC795}"/>
              </a:ext>
            </a:extLst>
          </p:cNvPr>
          <p:cNvSpPr>
            <a:spLocks noGrp="1"/>
          </p:cNvSpPr>
          <p:nvPr>
            <p:ph type="body" sz="quarter" idx="24"/>
          </p:nvPr>
        </p:nvSpPr>
        <p:spPr/>
        <p:txBody>
          <a:bodyPr/>
          <a:lstStyle/>
          <a:p>
            <a:endParaRPr lang="es-ES" dirty="0"/>
          </a:p>
        </p:txBody>
      </p:sp>
      <p:sp>
        <p:nvSpPr>
          <p:cNvPr id="6" name="Marcador de número de diapositiva 5">
            <a:extLst>
              <a:ext uri="{FF2B5EF4-FFF2-40B4-BE49-F238E27FC236}">
                <a16:creationId xmlns:a16="http://schemas.microsoft.com/office/drawing/2014/main" id="{D2E4FCA5-7EE9-6F3C-F3FC-BB20C5F4976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pic>
        <p:nvPicPr>
          <p:cNvPr id="2" name="Imagen 1">
            <a:extLst>
              <a:ext uri="{FF2B5EF4-FFF2-40B4-BE49-F238E27FC236}">
                <a16:creationId xmlns:a16="http://schemas.microsoft.com/office/drawing/2014/main" id="{ECAAC26D-6B33-330A-B01A-3BEA981F0C3A}"/>
              </a:ext>
            </a:extLst>
          </p:cNvPr>
          <p:cNvPicPr>
            <a:picLocks noChangeAspect="1"/>
          </p:cNvPicPr>
          <p:nvPr/>
        </p:nvPicPr>
        <p:blipFill>
          <a:blip r:embed="rId3"/>
          <a:stretch>
            <a:fillRect/>
          </a:stretch>
        </p:blipFill>
        <p:spPr>
          <a:xfrm>
            <a:off x="10623775" y="231972"/>
            <a:ext cx="1329043" cy="457240"/>
          </a:xfrm>
          <a:prstGeom prst="rect">
            <a:avLst/>
          </a:prstGeom>
        </p:spPr>
      </p:pic>
      <p:sp>
        <p:nvSpPr>
          <p:cNvPr id="9" name="Título 3">
            <a:extLst>
              <a:ext uri="{FF2B5EF4-FFF2-40B4-BE49-F238E27FC236}">
                <a16:creationId xmlns:a16="http://schemas.microsoft.com/office/drawing/2014/main" id="{76D7165B-2507-341A-BB02-9FFB16DA24C4}"/>
              </a:ext>
            </a:extLst>
          </p:cNvPr>
          <p:cNvSpPr txBox="1">
            <a:spLocks/>
          </p:cNvSpPr>
          <p:nvPr/>
        </p:nvSpPr>
        <p:spPr>
          <a:xfrm>
            <a:off x="1116411" y="298634"/>
            <a:ext cx="9507364" cy="803956"/>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 sz="2800" dirty="0"/>
              <a:t>Nuevas recomendaciones sobre la terapia antihipertensiva y hipolipemiante</a:t>
            </a:r>
          </a:p>
        </p:txBody>
      </p:sp>
      <p:sp>
        <p:nvSpPr>
          <p:cNvPr id="13" name="CuadroTexto 12">
            <a:extLst>
              <a:ext uri="{FF2B5EF4-FFF2-40B4-BE49-F238E27FC236}">
                <a16:creationId xmlns:a16="http://schemas.microsoft.com/office/drawing/2014/main" id="{DF123157-8115-5064-9437-48252D71590D}"/>
              </a:ext>
            </a:extLst>
          </p:cNvPr>
          <p:cNvSpPr txBox="1"/>
          <p:nvPr/>
        </p:nvSpPr>
        <p:spPr>
          <a:xfrm>
            <a:off x="2598883" y="1546160"/>
            <a:ext cx="2444936" cy="276999"/>
          </a:xfrm>
          <a:prstGeom prst="rect">
            <a:avLst/>
          </a:prstGeom>
          <a:solidFill>
            <a:schemeClr val="accent2"/>
          </a:solidFill>
          <a:ln>
            <a:solidFill>
              <a:schemeClr val="accent4"/>
            </a:solidFill>
          </a:ln>
        </p:spPr>
        <p:txBody>
          <a:bodyPr wrap="square">
            <a:spAutoFit/>
          </a:bodyPr>
          <a:lstStyle/>
          <a:p>
            <a:pPr algn="ctr"/>
            <a:r>
              <a:rPr lang="es-ES" sz="1200" b="1" dirty="0">
                <a:solidFill>
                  <a:schemeClr val="accent1"/>
                </a:solidFill>
              </a:rPr>
              <a:t>Terapia antihipertensiva</a:t>
            </a:r>
          </a:p>
        </p:txBody>
      </p:sp>
      <p:sp>
        <p:nvSpPr>
          <p:cNvPr id="14" name="CuadroTexto 13">
            <a:extLst>
              <a:ext uri="{FF2B5EF4-FFF2-40B4-BE49-F238E27FC236}">
                <a16:creationId xmlns:a16="http://schemas.microsoft.com/office/drawing/2014/main" id="{0169192B-C75C-9E87-9202-57487A6CC16D}"/>
              </a:ext>
            </a:extLst>
          </p:cNvPr>
          <p:cNvSpPr txBox="1"/>
          <p:nvPr/>
        </p:nvSpPr>
        <p:spPr>
          <a:xfrm>
            <a:off x="7150505" y="924651"/>
            <a:ext cx="2444936" cy="276999"/>
          </a:xfrm>
          <a:prstGeom prst="rect">
            <a:avLst/>
          </a:prstGeom>
          <a:solidFill>
            <a:schemeClr val="accent2"/>
          </a:solidFill>
          <a:ln>
            <a:solidFill>
              <a:schemeClr val="accent4"/>
            </a:solidFill>
          </a:ln>
        </p:spPr>
        <p:txBody>
          <a:bodyPr wrap="square">
            <a:spAutoFit/>
          </a:bodyPr>
          <a:lstStyle/>
          <a:p>
            <a:pPr algn="ctr"/>
            <a:r>
              <a:rPr lang="es-ES" sz="1200" b="1" dirty="0">
                <a:solidFill>
                  <a:schemeClr val="accent1"/>
                </a:solidFill>
              </a:rPr>
              <a:t>Terapia hipolipemiante</a:t>
            </a:r>
          </a:p>
        </p:txBody>
      </p:sp>
      <p:sp>
        <p:nvSpPr>
          <p:cNvPr id="10" name="CuadroTexto 9">
            <a:extLst>
              <a:ext uri="{FF2B5EF4-FFF2-40B4-BE49-F238E27FC236}">
                <a16:creationId xmlns:a16="http://schemas.microsoft.com/office/drawing/2014/main" id="{EA83574D-29DD-67E4-3709-7EC42BCC7E9C}"/>
              </a:ext>
            </a:extLst>
          </p:cNvPr>
          <p:cNvSpPr txBox="1"/>
          <p:nvPr/>
        </p:nvSpPr>
        <p:spPr>
          <a:xfrm>
            <a:off x="3984842" y="6248824"/>
            <a:ext cx="4187109" cy="246221"/>
          </a:xfrm>
          <a:prstGeom prst="rect">
            <a:avLst/>
          </a:prstGeom>
          <a:noFill/>
        </p:spPr>
        <p:txBody>
          <a:bodyPr wrap="square">
            <a:spAutoFit/>
          </a:bodyPr>
          <a:lstStyle/>
          <a:p>
            <a:pPr algn="ctr"/>
            <a:r>
              <a:rPr lang="es-ES" sz="1000" dirty="0">
                <a:solidFill>
                  <a:schemeClr val="accent1"/>
                </a:solidFill>
              </a:rPr>
              <a:t>Guía ESC 2024 Enfermedades arteriales periféricas y aórticas</a:t>
            </a:r>
          </a:p>
        </p:txBody>
      </p:sp>
      <p:sp>
        <p:nvSpPr>
          <p:cNvPr id="16" name="CuadroTexto 15">
            <a:extLst>
              <a:ext uri="{FF2B5EF4-FFF2-40B4-BE49-F238E27FC236}">
                <a16:creationId xmlns:a16="http://schemas.microsoft.com/office/drawing/2014/main" id="{CF3B113D-64D6-A73A-74F2-D44F6BD2DD98}"/>
              </a:ext>
            </a:extLst>
          </p:cNvPr>
          <p:cNvSpPr txBox="1"/>
          <p:nvPr/>
        </p:nvSpPr>
        <p:spPr>
          <a:xfrm>
            <a:off x="1246391" y="6418845"/>
            <a:ext cx="9699217"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r>
              <a:rPr lang="es-ES" dirty="0"/>
              <a:t>1. </a:t>
            </a:r>
            <a:r>
              <a:rPr lang="es-ES" dirty="0" err="1"/>
              <a:t>Mazzolai</a:t>
            </a:r>
            <a:r>
              <a:rPr lang="es-ES" dirty="0"/>
              <a:t> L, et al. 2024 ESC </a:t>
            </a:r>
            <a:r>
              <a:rPr lang="es-ES" dirty="0" err="1"/>
              <a:t>Guidelines</a:t>
            </a:r>
            <a:r>
              <a:rPr lang="es-ES" dirty="0"/>
              <a:t> </a:t>
            </a:r>
            <a:r>
              <a:rPr lang="es-ES" dirty="0" err="1"/>
              <a:t>for</a:t>
            </a:r>
            <a:r>
              <a:rPr lang="es-ES" dirty="0"/>
              <a:t> </a:t>
            </a:r>
            <a:r>
              <a:rPr lang="es-ES" dirty="0" err="1"/>
              <a:t>the</a:t>
            </a:r>
            <a:r>
              <a:rPr lang="es-ES" dirty="0"/>
              <a:t> </a:t>
            </a:r>
            <a:r>
              <a:rPr lang="es-ES" dirty="0" err="1"/>
              <a:t>management</a:t>
            </a:r>
            <a:r>
              <a:rPr lang="es-ES" dirty="0"/>
              <a:t> </a:t>
            </a:r>
            <a:r>
              <a:rPr lang="es-ES" dirty="0" err="1"/>
              <a:t>of</a:t>
            </a:r>
            <a:r>
              <a:rPr lang="es-ES" dirty="0"/>
              <a:t> </a:t>
            </a:r>
            <a:r>
              <a:rPr lang="es-ES" dirty="0" err="1"/>
              <a:t>peripheral</a:t>
            </a:r>
            <a:r>
              <a:rPr lang="es-ES" dirty="0"/>
              <a:t> arterial and </a:t>
            </a:r>
            <a:r>
              <a:rPr lang="es-ES" dirty="0" err="1"/>
              <a:t>aortic</a:t>
            </a:r>
            <a:r>
              <a:rPr lang="es-ES" dirty="0"/>
              <a:t> </a:t>
            </a:r>
            <a:r>
              <a:rPr lang="es-ES" dirty="0" err="1"/>
              <a:t>diseases</a:t>
            </a:r>
            <a:r>
              <a:rPr lang="es-ES" dirty="0"/>
              <a:t>. </a:t>
            </a:r>
            <a:r>
              <a:rPr lang="es-ES" dirty="0" err="1"/>
              <a:t>Eur</a:t>
            </a:r>
            <a:r>
              <a:rPr lang="es-ES" dirty="0"/>
              <a:t> Heart J. 2024 </a:t>
            </a:r>
            <a:r>
              <a:rPr lang="es-ES" dirty="0" err="1"/>
              <a:t>Sep</a:t>
            </a:r>
            <a:r>
              <a:rPr lang="es-ES" dirty="0"/>
              <a:t> 29;45(36):3538-3700. </a:t>
            </a:r>
            <a:r>
              <a:rPr lang="es-ES" dirty="0" err="1"/>
              <a:t>doi</a:t>
            </a:r>
            <a:r>
              <a:rPr lang="es-ES" dirty="0"/>
              <a:t>: 10.1093/</a:t>
            </a:r>
            <a:r>
              <a:rPr lang="es-ES" dirty="0" err="1"/>
              <a:t>eurheartj</a:t>
            </a:r>
            <a:r>
              <a:rPr lang="es-ES" dirty="0"/>
              <a:t>/ehae179.</a:t>
            </a:r>
          </a:p>
        </p:txBody>
      </p:sp>
      <p:sp>
        <p:nvSpPr>
          <p:cNvPr id="20" name="CuadroTexto 19">
            <a:extLst>
              <a:ext uri="{FF2B5EF4-FFF2-40B4-BE49-F238E27FC236}">
                <a16:creationId xmlns:a16="http://schemas.microsoft.com/office/drawing/2014/main" id="{62DBFEC9-0058-CD1D-A400-99F31DCC6B0E}"/>
              </a:ext>
            </a:extLst>
          </p:cNvPr>
          <p:cNvSpPr txBox="1"/>
          <p:nvPr/>
        </p:nvSpPr>
        <p:spPr>
          <a:xfrm>
            <a:off x="6642167" y="5945636"/>
            <a:ext cx="3852862"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pPr algn="r"/>
            <a:r>
              <a:rPr lang="es-ES" dirty="0" err="1"/>
              <a:t>Eur</a:t>
            </a:r>
            <a:r>
              <a:rPr lang="es-ES" dirty="0"/>
              <a:t> Heart J. 2024 </a:t>
            </a:r>
            <a:r>
              <a:rPr lang="es-ES" dirty="0" err="1"/>
              <a:t>Sep</a:t>
            </a:r>
            <a:r>
              <a:rPr lang="es-ES" dirty="0"/>
              <a:t> 29;45(36):3538-3700</a:t>
            </a:r>
          </a:p>
        </p:txBody>
      </p:sp>
      <p:sp>
        <p:nvSpPr>
          <p:cNvPr id="21" name="CuadroTexto 20">
            <a:extLst>
              <a:ext uri="{FF2B5EF4-FFF2-40B4-BE49-F238E27FC236}">
                <a16:creationId xmlns:a16="http://schemas.microsoft.com/office/drawing/2014/main" id="{A7BB06DA-803B-A5D8-38F8-142FD8C74BC6}"/>
              </a:ext>
            </a:extLst>
          </p:cNvPr>
          <p:cNvSpPr txBox="1"/>
          <p:nvPr/>
        </p:nvSpPr>
        <p:spPr>
          <a:xfrm>
            <a:off x="3816967" y="5464287"/>
            <a:ext cx="1999128"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pPr algn="r"/>
            <a:r>
              <a:rPr lang="es-ES" dirty="0" err="1"/>
              <a:t>Eur</a:t>
            </a:r>
            <a:r>
              <a:rPr lang="es-ES" dirty="0"/>
              <a:t> Heart J. 2024 </a:t>
            </a:r>
            <a:r>
              <a:rPr lang="es-ES" dirty="0" err="1"/>
              <a:t>Sep</a:t>
            </a:r>
            <a:r>
              <a:rPr lang="es-ES" dirty="0"/>
              <a:t> 29;45(36):3538-3700</a:t>
            </a:r>
          </a:p>
        </p:txBody>
      </p:sp>
      <p:pic>
        <p:nvPicPr>
          <p:cNvPr id="26" name="Imagen 25">
            <a:extLst>
              <a:ext uri="{FF2B5EF4-FFF2-40B4-BE49-F238E27FC236}">
                <a16:creationId xmlns:a16="http://schemas.microsoft.com/office/drawing/2014/main" id="{6E408F7A-96D7-1A9C-0508-B3B05EE53639}"/>
              </a:ext>
            </a:extLst>
          </p:cNvPr>
          <p:cNvPicPr>
            <a:picLocks noChangeAspect="1"/>
          </p:cNvPicPr>
          <p:nvPr/>
        </p:nvPicPr>
        <p:blipFill>
          <a:blip r:embed="rId4"/>
          <a:srcRect b="8255"/>
          <a:stretch/>
        </p:blipFill>
        <p:spPr>
          <a:xfrm>
            <a:off x="6274728" y="1241284"/>
            <a:ext cx="4196491" cy="4687117"/>
          </a:xfrm>
          <a:prstGeom prst="rect">
            <a:avLst/>
          </a:prstGeom>
        </p:spPr>
      </p:pic>
      <p:grpSp>
        <p:nvGrpSpPr>
          <p:cNvPr id="27" name="Grupo 26">
            <a:extLst>
              <a:ext uri="{FF2B5EF4-FFF2-40B4-BE49-F238E27FC236}">
                <a16:creationId xmlns:a16="http://schemas.microsoft.com/office/drawing/2014/main" id="{BCB8B60C-41A8-F7AE-505E-1D78B420A102}"/>
              </a:ext>
            </a:extLst>
          </p:cNvPr>
          <p:cNvGrpSpPr/>
          <p:nvPr/>
        </p:nvGrpSpPr>
        <p:grpSpPr>
          <a:xfrm>
            <a:off x="1831790" y="1968613"/>
            <a:ext cx="3970354" cy="3495674"/>
            <a:chOff x="1459642" y="1968629"/>
            <a:chExt cx="3970354" cy="3495674"/>
          </a:xfrm>
        </p:grpSpPr>
        <p:grpSp>
          <p:nvGrpSpPr>
            <p:cNvPr id="22" name="Grupo 21">
              <a:extLst>
                <a:ext uri="{FF2B5EF4-FFF2-40B4-BE49-F238E27FC236}">
                  <a16:creationId xmlns:a16="http://schemas.microsoft.com/office/drawing/2014/main" id="{F24FA2AF-1C71-308A-E5FE-9EA8536194C0}"/>
                </a:ext>
              </a:extLst>
            </p:cNvPr>
            <p:cNvGrpSpPr/>
            <p:nvPr/>
          </p:nvGrpSpPr>
          <p:grpSpPr>
            <a:xfrm>
              <a:off x="1459642" y="1968629"/>
              <a:ext cx="3970354" cy="3495674"/>
              <a:chOff x="595037" y="0"/>
              <a:chExt cx="4753526" cy="3857625"/>
            </a:xfrm>
          </p:grpSpPr>
          <p:pic>
            <p:nvPicPr>
              <p:cNvPr id="23" name="Imagen 22">
                <a:extLst>
                  <a:ext uri="{FF2B5EF4-FFF2-40B4-BE49-F238E27FC236}">
                    <a16:creationId xmlns:a16="http://schemas.microsoft.com/office/drawing/2014/main" id="{805B92DD-CE85-C725-8CEA-6DD70BB7D926}"/>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595037" y="0"/>
                <a:ext cx="4753526" cy="1143000"/>
              </a:xfrm>
              <a:prstGeom prst="rect">
                <a:avLst/>
              </a:prstGeom>
            </p:spPr>
          </p:pic>
          <p:pic>
            <p:nvPicPr>
              <p:cNvPr id="24" name="Imagen 23">
                <a:extLst>
                  <a:ext uri="{FF2B5EF4-FFF2-40B4-BE49-F238E27FC236}">
                    <a16:creationId xmlns:a16="http://schemas.microsoft.com/office/drawing/2014/main" id="{656C6392-70E4-1DAD-A9C8-0785F4713915}"/>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595037" y="1143000"/>
                <a:ext cx="4753526" cy="676275"/>
              </a:xfrm>
              <a:prstGeom prst="rect">
                <a:avLst/>
              </a:prstGeom>
            </p:spPr>
          </p:pic>
          <p:pic>
            <p:nvPicPr>
              <p:cNvPr id="25" name="Imagen 24">
                <a:extLst>
                  <a:ext uri="{FF2B5EF4-FFF2-40B4-BE49-F238E27FC236}">
                    <a16:creationId xmlns:a16="http://schemas.microsoft.com/office/drawing/2014/main" id="{8D50166E-9441-8A2E-044D-1F19362C904C}"/>
                  </a:ext>
                </a:extLst>
              </p:cNvPr>
              <p:cNvPicPr>
                <a:picLocks noChangeAspect="1"/>
              </p:cNvPicPr>
              <p:nvPr/>
            </p:nvPicPr>
            <p:blipFill>
              <a:blip r:embed="rId7" cstate="email">
                <a:extLst>
                  <a:ext uri="{28A0092B-C50C-407E-A947-70E740481C1C}">
                    <a14:useLocalDpi xmlns:a14="http://schemas.microsoft.com/office/drawing/2010/main"/>
                  </a:ext>
                </a:extLst>
              </a:blip>
              <a:srcRect/>
              <a:stretch/>
            </p:blipFill>
            <p:spPr>
              <a:xfrm>
                <a:off x="595037" y="1819275"/>
                <a:ext cx="4753526" cy="2038350"/>
              </a:xfrm>
              <a:prstGeom prst="rect">
                <a:avLst/>
              </a:prstGeom>
            </p:spPr>
          </p:pic>
        </p:grpSp>
        <p:sp>
          <p:nvSpPr>
            <p:cNvPr id="17" name="CuadroTexto 16">
              <a:extLst>
                <a:ext uri="{FF2B5EF4-FFF2-40B4-BE49-F238E27FC236}">
                  <a16:creationId xmlns:a16="http://schemas.microsoft.com/office/drawing/2014/main" id="{D3084F3B-5669-2197-4CAD-D2503B471C27}"/>
                </a:ext>
              </a:extLst>
            </p:cNvPr>
            <p:cNvSpPr txBox="1"/>
            <p:nvPr/>
          </p:nvSpPr>
          <p:spPr>
            <a:xfrm>
              <a:off x="2582823" y="2030168"/>
              <a:ext cx="308102" cy="261610"/>
            </a:xfrm>
            <a:prstGeom prst="rect">
              <a:avLst/>
            </a:prstGeom>
            <a:noFill/>
          </p:spPr>
          <p:txBody>
            <a:bodyPr wrap="square">
              <a:spAutoFit/>
            </a:bodyPr>
            <a:lstStyle/>
            <a:p>
              <a:pPr algn="ctr"/>
              <a:r>
                <a:rPr lang="es-ES" sz="1050" dirty="0">
                  <a:solidFill>
                    <a:schemeClr val="accent1"/>
                  </a:solidFill>
                </a:rPr>
                <a:t>1</a:t>
              </a:r>
            </a:p>
          </p:txBody>
        </p:sp>
      </p:grpSp>
      <p:sp>
        <p:nvSpPr>
          <p:cNvPr id="18" name="CuadroTexto 17">
            <a:extLst>
              <a:ext uri="{FF2B5EF4-FFF2-40B4-BE49-F238E27FC236}">
                <a16:creationId xmlns:a16="http://schemas.microsoft.com/office/drawing/2014/main" id="{0D8E5FF4-102A-90FC-363F-0D7194F95B9A}"/>
              </a:ext>
            </a:extLst>
          </p:cNvPr>
          <p:cNvSpPr txBox="1"/>
          <p:nvPr/>
        </p:nvSpPr>
        <p:spPr>
          <a:xfrm>
            <a:off x="7450716" y="1284550"/>
            <a:ext cx="308102" cy="261610"/>
          </a:xfrm>
          <a:prstGeom prst="rect">
            <a:avLst/>
          </a:prstGeom>
          <a:noFill/>
        </p:spPr>
        <p:txBody>
          <a:bodyPr wrap="square">
            <a:spAutoFit/>
          </a:bodyPr>
          <a:lstStyle/>
          <a:p>
            <a:pPr algn="ctr"/>
            <a:r>
              <a:rPr lang="es-ES" sz="1050" dirty="0">
                <a:solidFill>
                  <a:schemeClr val="accent1"/>
                </a:solidFill>
              </a:rPr>
              <a:t>1</a:t>
            </a:r>
          </a:p>
        </p:txBody>
      </p:sp>
      <p:sp>
        <p:nvSpPr>
          <p:cNvPr id="3" name="CuadroTexto 2">
            <a:extLst>
              <a:ext uri="{FF2B5EF4-FFF2-40B4-BE49-F238E27FC236}">
                <a16:creationId xmlns:a16="http://schemas.microsoft.com/office/drawing/2014/main" id="{EA79F38D-8512-03A8-F4C5-E67F912EAECA}"/>
              </a:ext>
            </a:extLst>
          </p:cNvPr>
          <p:cNvSpPr txBox="1"/>
          <p:nvPr/>
        </p:nvSpPr>
        <p:spPr>
          <a:xfrm rot="16200000">
            <a:off x="10633273" y="3376069"/>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354588688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94FE06-379B-8E7D-6CF1-0A41AE2C00CF}"/>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EA722A4A-312D-E5EC-CC3E-22287A4A9EF6}"/>
              </a:ext>
            </a:extLst>
          </p:cNvPr>
          <p:cNvSpPr>
            <a:spLocks noGrp="1"/>
          </p:cNvSpPr>
          <p:nvPr>
            <p:ph type="body" sz="quarter" idx="24"/>
          </p:nvPr>
        </p:nvSpPr>
        <p:spPr>
          <a:xfrm>
            <a:off x="0" y="4563"/>
            <a:ext cx="716605" cy="6858000"/>
          </a:xfrm>
        </p:spPr>
        <p:txBody>
          <a:bodyPr/>
          <a:lstStyle/>
          <a:p>
            <a:endParaRPr lang="es-ES" dirty="0"/>
          </a:p>
        </p:txBody>
      </p:sp>
      <p:sp>
        <p:nvSpPr>
          <p:cNvPr id="6" name="Marcador de número de diapositiva 5">
            <a:extLst>
              <a:ext uri="{FF2B5EF4-FFF2-40B4-BE49-F238E27FC236}">
                <a16:creationId xmlns:a16="http://schemas.microsoft.com/office/drawing/2014/main" id="{C1104235-C49B-1A29-2604-4CC7BF65D067}"/>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pic>
        <p:nvPicPr>
          <p:cNvPr id="2" name="Imagen 1">
            <a:extLst>
              <a:ext uri="{FF2B5EF4-FFF2-40B4-BE49-F238E27FC236}">
                <a16:creationId xmlns:a16="http://schemas.microsoft.com/office/drawing/2014/main" id="{72F7D18C-C7F6-1C5C-4C95-F53D5200DD67}"/>
              </a:ext>
            </a:extLst>
          </p:cNvPr>
          <p:cNvPicPr>
            <a:picLocks noChangeAspect="1"/>
          </p:cNvPicPr>
          <p:nvPr/>
        </p:nvPicPr>
        <p:blipFill>
          <a:blip r:embed="rId3"/>
          <a:stretch>
            <a:fillRect/>
          </a:stretch>
        </p:blipFill>
        <p:spPr>
          <a:xfrm>
            <a:off x="10623775" y="231972"/>
            <a:ext cx="1329043" cy="457240"/>
          </a:xfrm>
          <a:prstGeom prst="rect">
            <a:avLst/>
          </a:prstGeom>
        </p:spPr>
      </p:pic>
      <p:sp>
        <p:nvSpPr>
          <p:cNvPr id="9" name="Título 3">
            <a:extLst>
              <a:ext uri="{FF2B5EF4-FFF2-40B4-BE49-F238E27FC236}">
                <a16:creationId xmlns:a16="http://schemas.microsoft.com/office/drawing/2014/main" id="{ED11D72E-A9FA-BE53-2BD4-779952C2585C}"/>
              </a:ext>
            </a:extLst>
          </p:cNvPr>
          <p:cNvSpPr txBox="1">
            <a:spLocks/>
          </p:cNvSpPr>
          <p:nvPr/>
        </p:nvSpPr>
        <p:spPr>
          <a:xfrm>
            <a:off x="1695813" y="507559"/>
            <a:ext cx="8683049" cy="511205"/>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pPr algn="ctr"/>
            <a:r>
              <a:rPr lang="es-ES_tradnl" sz="2800" dirty="0"/>
              <a:t>Resumen de las principales recomendaciones</a:t>
            </a:r>
            <a:endParaRPr lang="es-ES" sz="2800" dirty="0"/>
          </a:p>
        </p:txBody>
      </p:sp>
      <p:sp>
        <p:nvSpPr>
          <p:cNvPr id="3" name="CuadroTexto 2">
            <a:extLst>
              <a:ext uri="{FF2B5EF4-FFF2-40B4-BE49-F238E27FC236}">
                <a16:creationId xmlns:a16="http://schemas.microsoft.com/office/drawing/2014/main" id="{2DB85340-A4CA-F6E9-AFE7-C4FB347B5FAA}"/>
              </a:ext>
            </a:extLst>
          </p:cNvPr>
          <p:cNvSpPr txBox="1"/>
          <p:nvPr/>
        </p:nvSpPr>
        <p:spPr>
          <a:xfrm>
            <a:off x="2052667" y="2481542"/>
            <a:ext cx="8456494" cy="276999"/>
          </a:xfrm>
          <a:prstGeom prst="rect">
            <a:avLst/>
          </a:prstGeom>
          <a:solidFill>
            <a:schemeClr val="accent2"/>
          </a:solidFill>
        </p:spPr>
        <p:txBody>
          <a:bodyPr wrap="square">
            <a:spAutoFit/>
          </a:bodyPr>
          <a:lstStyle/>
          <a:p>
            <a:pPr algn="just"/>
            <a:r>
              <a:rPr lang="es-ES" sz="1200" dirty="0">
                <a:solidFill>
                  <a:srgbClr val="002855"/>
                </a:solidFill>
                <a:latin typeface="Arial"/>
              </a:rPr>
              <a:t>EAP afecta a 113 millones de personas mayores de 40 años, 43% en países de renta baja y media</a:t>
            </a:r>
            <a:r>
              <a:rPr lang="es-ES" sz="1200" baseline="30000" dirty="0">
                <a:solidFill>
                  <a:srgbClr val="002855"/>
                </a:solidFill>
                <a:latin typeface="Arial"/>
              </a:rPr>
              <a:t>1</a:t>
            </a:r>
            <a:r>
              <a:rPr lang="es-ES" sz="1200" dirty="0">
                <a:solidFill>
                  <a:srgbClr val="002855"/>
                </a:solidFill>
                <a:latin typeface="Arial"/>
              </a:rPr>
              <a:t>.</a:t>
            </a:r>
          </a:p>
        </p:txBody>
      </p:sp>
      <p:sp>
        <p:nvSpPr>
          <p:cNvPr id="8" name="CuadroTexto 7">
            <a:extLst>
              <a:ext uri="{FF2B5EF4-FFF2-40B4-BE49-F238E27FC236}">
                <a16:creationId xmlns:a16="http://schemas.microsoft.com/office/drawing/2014/main" id="{056A1641-E1B5-F52F-A1A3-A48151F35171}"/>
              </a:ext>
            </a:extLst>
          </p:cNvPr>
          <p:cNvSpPr txBox="1"/>
          <p:nvPr/>
        </p:nvSpPr>
        <p:spPr>
          <a:xfrm>
            <a:off x="2052667" y="2916080"/>
            <a:ext cx="8456494" cy="276999"/>
          </a:xfrm>
          <a:prstGeom prst="rect">
            <a:avLst/>
          </a:prstGeom>
          <a:solidFill>
            <a:schemeClr val="accent2"/>
          </a:solidFill>
        </p:spPr>
        <p:txBody>
          <a:bodyPr wrap="square">
            <a:spAutoFit/>
          </a:bodyPr>
          <a:lstStyle/>
          <a:p>
            <a:pPr algn="just"/>
            <a:r>
              <a:rPr lang="es-ES" sz="1200" dirty="0">
                <a:solidFill>
                  <a:srgbClr val="002855"/>
                </a:solidFill>
                <a:latin typeface="Arial"/>
              </a:rPr>
              <a:t>La prevalencia global es del 1,5%, aumentando con la edad (hasta 30% en mayores de 80 años)</a:t>
            </a:r>
            <a:r>
              <a:rPr lang="es-ES" sz="1200" baseline="30000" dirty="0">
                <a:solidFill>
                  <a:srgbClr val="002855"/>
                </a:solidFill>
                <a:latin typeface="Arial"/>
              </a:rPr>
              <a:t> 1</a:t>
            </a:r>
            <a:r>
              <a:rPr lang="es-ES" sz="1200" dirty="0">
                <a:solidFill>
                  <a:srgbClr val="002855"/>
                </a:solidFill>
                <a:latin typeface="Arial"/>
              </a:rPr>
              <a:t>.</a:t>
            </a:r>
          </a:p>
        </p:txBody>
      </p:sp>
      <p:pic>
        <p:nvPicPr>
          <p:cNvPr id="7" name="Imagen 6">
            <a:extLst>
              <a:ext uri="{FF2B5EF4-FFF2-40B4-BE49-F238E27FC236}">
                <a16:creationId xmlns:a16="http://schemas.microsoft.com/office/drawing/2014/main" id="{97A08B4E-03F5-B4B4-5174-F1C107AB0A68}"/>
              </a:ext>
            </a:extLst>
          </p:cNvPr>
          <p:cNvPicPr>
            <a:picLocks noChangeAspect="1"/>
          </p:cNvPicPr>
          <p:nvPr/>
        </p:nvPicPr>
        <p:blipFill>
          <a:blip r:embed="rId4"/>
          <a:srcRect b="73127"/>
          <a:stretch/>
        </p:blipFill>
        <p:spPr>
          <a:xfrm>
            <a:off x="3943784" y="1160244"/>
            <a:ext cx="4407482" cy="1163759"/>
          </a:xfrm>
          <a:prstGeom prst="rect">
            <a:avLst/>
          </a:prstGeom>
        </p:spPr>
      </p:pic>
      <p:sp>
        <p:nvSpPr>
          <p:cNvPr id="10" name="CuadroTexto 9">
            <a:extLst>
              <a:ext uri="{FF2B5EF4-FFF2-40B4-BE49-F238E27FC236}">
                <a16:creationId xmlns:a16="http://schemas.microsoft.com/office/drawing/2014/main" id="{BC920807-48A5-9689-1221-102F5454D818}"/>
              </a:ext>
            </a:extLst>
          </p:cNvPr>
          <p:cNvSpPr txBox="1"/>
          <p:nvPr/>
        </p:nvSpPr>
        <p:spPr>
          <a:xfrm>
            <a:off x="2052667" y="3357898"/>
            <a:ext cx="8456494" cy="276999"/>
          </a:xfrm>
          <a:prstGeom prst="rect">
            <a:avLst/>
          </a:prstGeom>
          <a:solidFill>
            <a:schemeClr val="accent2"/>
          </a:solidFill>
        </p:spPr>
        <p:txBody>
          <a:bodyPr wrap="square">
            <a:spAutoFit/>
          </a:bodyPr>
          <a:lstStyle/>
          <a:p>
            <a:pPr algn="just"/>
            <a:r>
              <a:rPr lang="es-ES" sz="1200" dirty="0">
                <a:solidFill>
                  <a:srgbClr val="002855"/>
                </a:solidFill>
                <a:latin typeface="Arial"/>
              </a:rPr>
              <a:t>Evaluación holística: los pacientes con enfermedades aórticas y arteriales periféricas comparten riesgos</a:t>
            </a:r>
            <a:r>
              <a:rPr lang="es-ES" sz="1200" baseline="30000" dirty="0">
                <a:solidFill>
                  <a:srgbClr val="002855"/>
                </a:solidFill>
                <a:latin typeface="Arial"/>
              </a:rPr>
              <a:t>1</a:t>
            </a:r>
            <a:r>
              <a:rPr lang="es-ES" sz="1200" dirty="0">
                <a:solidFill>
                  <a:srgbClr val="002855"/>
                </a:solidFill>
                <a:latin typeface="Arial"/>
              </a:rPr>
              <a:t>.</a:t>
            </a:r>
          </a:p>
        </p:txBody>
      </p:sp>
      <p:sp>
        <p:nvSpPr>
          <p:cNvPr id="12" name="CuadroTexto 11">
            <a:extLst>
              <a:ext uri="{FF2B5EF4-FFF2-40B4-BE49-F238E27FC236}">
                <a16:creationId xmlns:a16="http://schemas.microsoft.com/office/drawing/2014/main" id="{8A55578F-ED81-5015-3C03-FBF3D73884CF}"/>
              </a:ext>
            </a:extLst>
          </p:cNvPr>
          <p:cNvSpPr txBox="1"/>
          <p:nvPr/>
        </p:nvSpPr>
        <p:spPr>
          <a:xfrm>
            <a:off x="2052667" y="3776377"/>
            <a:ext cx="8456494" cy="276999"/>
          </a:xfrm>
          <a:prstGeom prst="rect">
            <a:avLst/>
          </a:prstGeom>
          <a:solidFill>
            <a:schemeClr val="accent2"/>
          </a:solidFill>
        </p:spPr>
        <p:txBody>
          <a:bodyPr wrap="square">
            <a:spAutoFit/>
          </a:bodyPr>
          <a:lstStyle/>
          <a:p>
            <a:pPr algn="just"/>
            <a:r>
              <a:rPr lang="es-ES" sz="1200" dirty="0">
                <a:solidFill>
                  <a:srgbClr val="002855"/>
                </a:solidFill>
                <a:latin typeface="Arial"/>
              </a:rPr>
              <a:t>Equipos multidisciplinares y centros especializados son clave en diagnóstico y tratamiento</a:t>
            </a:r>
            <a:r>
              <a:rPr lang="es-ES" sz="1200" baseline="30000" dirty="0">
                <a:solidFill>
                  <a:srgbClr val="002855"/>
                </a:solidFill>
                <a:latin typeface="Arial"/>
              </a:rPr>
              <a:t>1</a:t>
            </a:r>
            <a:r>
              <a:rPr lang="es-ES" sz="1200" dirty="0">
                <a:solidFill>
                  <a:srgbClr val="002855"/>
                </a:solidFill>
                <a:latin typeface="Arial"/>
              </a:rPr>
              <a:t>.</a:t>
            </a:r>
          </a:p>
        </p:txBody>
      </p:sp>
      <p:sp>
        <p:nvSpPr>
          <p:cNvPr id="13" name="CuadroTexto 12">
            <a:extLst>
              <a:ext uri="{FF2B5EF4-FFF2-40B4-BE49-F238E27FC236}">
                <a16:creationId xmlns:a16="http://schemas.microsoft.com/office/drawing/2014/main" id="{5186A131-B912-173C-9065-DBCBEC387569}"/>
              </a:ext>
            </a:extLst>
          </p:cNvPr>
          <p:cNvSpPr txBox="1"/>
          <p:nvPr/>
        </p:nvSpPr>
        <p:spPr>
          <a:xfrm>
            <a:off x="2052667" y="4208646"/>
            <a:ext cx="8456494" cy="276999"/>
          </a:xfrm>
          <a:prstGeom prst="rect">
            <a:avLst/>
          </a:prstGeom>
          <a:solidFill>
            <a:schemeClr val="accent2"/>
          </a:solidFill>
        </p:spPr>
        <p:txBody>
          <a:bodyPr wrap="square">
            <a:spAutoFit/>
          </a:bodyPr>
          <a:lstStyle/>
          <a:p>
            <a:pPr algn="just"/>
            <a:r>
              <a:rPr lang="es-ES" sz="1200" dirty="0">
                <a:solidFill>
                  <a:srgbClr val="002855"/>
                </a:solidFill>
                <a:latin typeface="Arial"/>
              </a:rPr>
              <a:t>Pacientes y familiares deben participar en las decisiones; los cuidadores son vitales en la recuperación y seguimiento</a:t>
            </a:r>
            <a:r>
              <a:rPr lang="es-ES" sz="1200" baseline="30000" dirty="0">
                <a:solidFill>
                  <a:srgbClr val="002855"/>
                </a:solidFill>
                <a:latin typeface="Arial"/>
              </a:rPr>
              <a:t>1</a:t>
            </a:r>
            <a:r>
              <a:rPr lang="es-ES" sz="1200" dirty="0">
                <a:solidFill>
                  <a:srgbClr val="002855"/>
                </a:solidFill>
                <a:latin typeface="Arial"/>
              </a:rPr>
              <a:t>.</a:t>
            </a:r>
          </a:p>
        </p:txBody>
      </p:sp>
      <p:sp>
        <p:nvSpPr>
          <p:cNvPr id="14" name="CuadroTexto 13">
            <a:extLst>
              <a:ext uri="{FF2B5EF4-FFF2-40B4-BE49-F238E27FC236}">
                <a16:creationId xmlns:a16="http://schemas.microsoft.com/office/drawing/2014/main" id="{8957A485-AE15-9B8F-21CD-C482BF7DB889}"/>
              </a:ext>
            </a:extLst>
          </p:cNvPr>
          <p:cNvSpPr txBox="1"/>
          <p:nvPr/>
        </p:nvSpPr>
        <p:spPr>
          <a:xfrm>
            <a:off x="2052667" y="4610036"/>
            <a:ext cx="8456494" cy="286682"/>
          </a:xfrm>
          <a:prstGeom prst="rect">
            <a:avLst/>
          </a:prstGeom>
          <a:solidFill>
            <a:schemeClr val="accent2"/>
          </a:solidFill>
        </p:spPr>
        <p:txBody>
          <a:bodyPr wrap="square">
            <a:spAutoFit/>
          </a:bodyPr>
          <a:lstStyle/>
          <a:p>
            <a:pPr algn="just">
              <a:lnSpc>
                <a:spcPct val="115000"/>
              </a:lnSpc>
              <a:spcAft>
                <a:spcPts val="800"/>
              </a:spcAft>
            </a:pPr>
            <a:r>
              <a:rPr lang="es-ES" sz="1200" dirty="0">
                <a:solidFill>
                  <a:srgbClr val="002855"/>
                </a:solidFill>
                <a:latin typeface="Arial"/>
              </a:rPr>
              <a:t>Prevención: ejercicio y dieta saludable son fundamentales</a:t>
            </a:r>
            <a:r>
              <a:rPr lang="es-ES" sz="1200" baseline="30000" dirty="0">
                <a:solidFill>
                  <a:srgbClr val="002855"/>
                </a:solidFill>
                <a:latin typeface="Arial"/>
              </a:rPr>
              <a:t>1</a:t>
            </a:r>
            <a:r>
              <a:rPr lang="es-ES" sz="1200" dirty="0">
                <a:solidFill>
                  <a:srgbClr val="002855"/>
                </a:solidFill>
                <a:latin typeface="Arial"/>
              </a:rPr>
              <a:t>.</a:t>
            </a:r>
          </a:p>
        </p:txBody>
      </p:sp>
      <p:sp>
        <p:nvSpPr>
          <p:cNvPr id="15" name="CuadroTexto 14">
            <a:extLst>
              <a:ext uri="{FF2B5EF4-FFF2-40B4-BE49-F238E27FC236}">
                <a16:creationId xmlns:a16="http://schemas.microsoft.com/office/drawing/2014/main" id="{7790359C-A91B-9B79-6B88-80984BF97F4E}"/>
              </a:ext>
            </a:extLst>
          </p:cNvPr>
          <p:cNvSpPr txBox="1"/>
          <p:nvPr/>
        </p:nvSpPr>
        <p:spPr>
          <a:xfrm>
            <a:off x="2052667" y="4999170"/>
            <a:ext cx="8456494" cy="286682"/>
          </a:xfrm>
          <a:prstGeom prst="rect">
            <a:avLst/>
          </a:prstGeom>
          <a:solidFill>
            <a:schemeClr val="accent2"/>
          </a:solidFill>
        </p:spPr>
        <p:txBody>
          <a:bodyPr wrap="square">
            <a:spAutoFit/>
          </a:bodyPr>
          <a:lstStyle/>
          <a:p>
            <a:pPr algn="just">
              <a:lnSpc>
                <a:spcPct val="115000"/>
              </a:lnSpc>
              <a:spcAft>
                <a:spcPts val="800"/>
              </a:spcAft>
            </a:pPr>
            <a:r>
              <a:rPr lang="es-ES" sz="1200" dirty="0">
                <a:solidFill>
                  <a:srgbClr val="002855"/>
                </a:solidFill>
                <a:latin typeface="Arial"/>
              </a:rPr>
              <a:t>Mujeres requieren atención especial por síntomas atípicos o asintomáticos</a:t>
            </a:r>
            <a:r>
              <a:rPr lang="es-ES" sz="1200" baseline="30000" dirty="0">
                <a:solidFill>
                  <a:srgbClr val="002855"/>
                </a:solidFill>
                <a:latin typeface="Arial"/>
              </a:rPr>
              <a:t>1</a:t>
            </a:r>
            <a:r>
              <a:rPr lang="es-ES" sz="1200" dirty="0">
                <a:solidFill>
                  <a:srgbClr val="002855"/>
                </a:solidFill>
                <a:latin typeface="Arial"/>
              </a:rPr>
              <a:t>.</a:t>
            </a:r>
          </a:p>
        </p:txBody>
      </p:sp>
      <p:sp>
        <p:nvSpPr>
          <p:cNvPr id="16" name="CuadroTexto 15">
            <a:extLst>
              <a:ext uri="{FF2B5EF4-FFF2-40B4-BE49-F238E27FC236}">
                <a16:creationId xmlns:a16="http://schemas.microsoft.com/office/drawing/2014/main" id="{97869F6D-AB55-37F3-8FC2-ACEFE0CC30FC}"/>
              </a:ext>
            </a:extLst>
          </p:cNvPr>
          <p:cNvSpPr txBox="1"/>
          <p:nvPr/>
        </p:nvSpPr>
        <p:spPr>
          <a:xfrm>
            <a:off x="2052667" y="5410662"/>
            <a:ext cx="8456494" cy="286682"/>
          </a:xfrm>
          <a:prstGeom prst="rect">
            <a:avLst/>
          </a:prstGeom>
          <a:solidFill>
            <a:schemeClr val="accent2"/>
          </a:solidFill>
        </p:spPr>
        <p:txBody>
          <a:bodyPr wrap="square">
            <a:spAutoFit/>
          </a:bodyPr>
          <a:lstStyle/>
          <a:p>
            <a:pPr algn="just">
              <a:lnSpc>
                <a:spcPct val="115000"/>
              </a:lnSpc>
              <a:spcAft>
                <a:spcPts val="800"/>
              </a:spcAft>
            </a:pPr>
            <a:r>
              <a:rPr lang="es-ES" sz="1200" dirty="0">
                <a:solidFill>
                  <a:srgbClr val="002855"/>
                </a:solidFill>
                <a:latin typeface="Arial"/>
              </a:rPr>
              <a:t>Directrices 2024 destacan el cribado, estrategias de tratamiento integrales y seguimiento de por vida</a:t>
            </a:r>
            <a:r>
              <a:rPr lang="es-ES" sz="1200" baseline="30000" dirty="0">
                <a:solidFill>
                  <a:srgbClr val="002855"/>
                </a:solidFill>
                <a:latin typeface="Arial"/>
              </a:rPr>
              <a:t>1</a:t>
            </a:r>
            <a:r>
              <a:rPr lang="es-ES" sz="1200" dirty="0">
                <a:solidFill>
                  <a:srgbClr val="002855"/>
                </a:solidFill>
                <a:latin typeface="Arial"/>
              </a:rPr>
              <a:t>.</a:t>
            </a:r>
          </a:p>
        </p:txBody>
      </p:sp>
      <p:sp>
        <p:nvSpPr>
          <p:cNvPr id="5" name="CuadroTexto 4">
            <a:extLst>
              <a:ext uri="{FF2B5EF4-FFF2-40B4-BE49-F238E27FC236}">
                <a16:creationId xmlns:a16="http://schemas.microsoft.com/office/drawing/2014/main" id="{14D76986-F6CF-E9FE-2BD8-4C75464A0B9F}"/>
              </a:ext>
            </a:extLst>
          </p:cNvPr>
          <p:cNvSpPr txBox="1"/>
          <p:nvPr/>
        </p:nvSpPr>
        <p:spPr>
          <a:xfrm>
            <a:off x="3943784" y="6032129"/>
            <a:ext cx="4187109" cy="261610"/>
          </a:xfrm>
          <a:prstGeom prst="rect">
            <a:avLst/>
          </a:prstGeom>
          <a:noFill/>
        </p:spPr>
        <p:txBody>
          <a:bodyPr wrap="square">
            <a:spAutoFit/>
          </a:bodyPr>
          <a:lstStyle/>
          <a:p>
            <a:pPr algn="ctr"/>
            <a:r>
              <a:rPr lang="es-ES" sz="1050" dirty="0">
                <a:solidFill>
                  <a:schemeClr val="accent1"/>
                </a:solidFill>
              </a:rPr>
              <a:t>Guía ESC 2024 Enfermedades arteriales periféricas y aórticas</a:t>
            </a:r>
          </a:p>
        </p:txBody>
      </p:sp>
      <p:sp>
        <p:nvSpPr>
          <p:cNvPr id="18" name="CuadroTexto 17">
            <a:extLst>
              <a:ext uri="{FF2B5EF4-FFF2-40B4-BE49-F238E27FC236}">
                <a16:creationId xmlns:a16="http://schemas.microsoft.com/office/drawing/2014/main" id="{33F5BA34-1ABE-9F42-4764-58BEC0EF37BC}"/>
              </a:ext>
            </a:extLst>
          </p:cNvPr>
          <p:cNvSpPr txBox="1"/>
          <p:nvPr/>
        </p:nvSpPr>
        <p:spPr>
          <a:xfrm>
            <a:off x="2366962" y="6202462"/>
            <a:ext cx="7458075" cy="200055"/>
          </a:xfrm>
          <a:prstGeom prst="rect">
            <a:avLst/>
          </a:prstGeom>
          <a:noFill/>
        </p:spPr>
        <p:txBody>
          <a:bodyPr wrap="square" rtlCol="0">
            <a:spAutoFit/>
          </a:bodyPr>
          <a:lstStyle>
            <a:defPPr>
              <a:defRPr lang="es-ES"/>
            </a:defPPr>
            <a:lvl1pPr algn="ctr">
              <a:defRPr sz="700" b="0" i="1">
                <a:solidFill>
                  <a:schemeClr val="accent1"/>
                </a:solidFill>
                <a:effectLst/>
              </a:defRPr>
            </a:lvl1pPr>
          </a:lstStyle>
          <a:p>
            <a:r>
              <a:rPr lang="es-ES" dirty="0"/>
              <a:t>1. </a:t>
            </a:r>
            <a:r>
              <a:rPr lang="es-ES" dirty="0" err="1"/>
              <a:t>Mazzolai</a:t>
            </a:r>
            <a:r>
              <a:rPr lang="es-ES" dirty="0"/>
              <a:t> L, et al. 2024 ESC </a:t>
            </a:r>
            <a:r>
              <a:rPr lang="es-ES" dirty="0" err="1"/>
              <a:t>Guidelines</a:t>
            </a:r>
            <a:r>
              <a:rPr lang="es-ES" dirty="0"/>
              <a:t> </a:t>
            </a:r>
            <a:r>
              <a:rPr lang="es-ES" dirty="0" err="1"/>
              <a:t>for</a:t>
            </a:r>
            <a:r>
              <a:rPr lang="es-ES" dirty="0"/>
              <a:t> </a:t>
            </a:r>
            <a:r>
              <a:rPr lang="es-ES" dirty="0" err="1"/>
              <a:t>the</a:t>
            </a:r>
            <a:r>
              <a:rPr lang="es-ES" dirty="0"/>
              <a:t> </a:t>
            </a:r>
            <a:r>
              <a:rPr lang="es-ES" dirty="0" err="1"/>
              <a:t>management</a:t>
            </a:r>
            <a:r>
              <a:rPr lang="es-ES" dirty="0"/>
              <a:t> </a:t>
            </a:r>
            <a:r>
              <a:rPr lang="es-ES" dirty="0" err="1"/>
              <a:t>of</a:t>
            </a:r>
            <a:r>
              <a:rPr lang="es-ES" dirty="0"/>
              <a:t> </a:t>
            </a:r>
            <a:r>
              <a:rPr lang="es-ES" dirty="0" err="1"/>
              <a:t>peripheral</a:t>
            </a:r>
            <a:r>
              <a:rPr lang="es-ES" dirty="0"/>
              <a:t> arterial and </a:t>
            </a:r>
            <a:r>
              <a:rPr lang="es-ES" dirty="0" err="1"/>
              <a:t>aortic</a:t>
            </a:r>
            <a:r>
              <a:rPr lang="es-ES" dirty="0"/>
              <a:t> </a:t>
            </a:r>
            <a:r>
              <a:rPr lang="es-ES" dirty="0" err="1"/>
              <a:t>diseases</a:t>
            </a:r>
            <a:r>
              <a:rPr lang="es-ES" dirty="0"/>
              <a:t>. </a:t>
            </a:r>
            <a:r>
              <a:rPr lang="es-ES" dirty="0" err="1"/>
              <a:t>Eur</a:t>
            </a:r>
            <a:r>
              <a:rPr lang="es-ES" dirty="0"/>
              <a:t> Heart J. 2024 </a:t>
            </a:r>
            <a:r>
              <a:rPr lang="es-ES" dirty="0" err="1"/>
              <a:t>Sep</a:t>
            </a:r>
            <a:r>
              <a:rPr lang="es-ES" dirty="0"/>
              <a:t> 29;45(36):3538-3700. </a:t>
            </a:r>
            <a:r>
              <a:rPr lang="es-ES" dirty="0" err="1"/>
              <a:t>doi</a:t>
            </a:r>
            <a:r>
              <a:rPr lang="es-ES" dirty="0"/>
              <a:t>: 10.1093/</a:t>
            </a:r>
            <a:r>
              <a:rPr lang="es-ES" dirty="0" err="1"/>
              <a:t>eurheartj</a:t>
            </a:r>
            <a:r>
              <a:rPr lang="es-ES" dirty="0"/>
              <a:t>/ehae179.</a:t>
            </a:r>
          </a:p>
        </p:txBody>
      </p:sp>
      <p:sp>
        <p:nvSpPr>
          <p:cNvPr id="11" name="CuadroTexto 10">
            <a:extLst>
              <a:ext uri="{FF2B5EF4-FFF2-40B4-BE49-F238E27FC236}">
                <a16:creationId xmlns:a16="http://schemas.microsoft.com/office/drawing/2014/main" id="{7BF34216-2DE7-1227-E631-A29DFE59D0BB}"/>
              </a:ext>
            </a:extLst>
          </p:cNvPr>
          <p:cNvSpPr txBox="1"/>
          <p:nvPr/>
        </p:nvSpPr>
        <p:spPr>
          <a:xfrm rot="16200000">
            <a:off x="10633273" y="3376069"/>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55171040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Imagen 36">
            <a:extLst>
              <a:ext uri="{FF2B5EF4-FFF2-40B4-BE49-F238E27FC236}">
                <a16:creationId xmlns:a16="http://schemas.microsoft.com/office/drawing/2014/main" id="{5CF9E698-285C-037C-D16A-AC5D7047E6EA}"/>
              </a:ext>
            </a:extLst>
          </p:cNvPr>
          <p:cNvPicPr>
            <a:picLocks noChangeAspect="1"/>
          </p:cNvPicPr>
          <p:nvPr/>
        </p:nvPicPr>
        <p:blipFill>
          <a:blip r:embed="rId2"/>
          <a:srcRect l="3174" t="1507" r="81130" b="1090"/>
          <a:stretch>
            <a:fillRect/>
          </a:stretch>
        </p:blipFill>
        <p:spPr>
          <a:xfrm>
            <a:off x="5688022" y="1834329"/>
            <a:ext cx="979792" cy="975844"/>
          </a:xfrm>
          <a:prstGeom prst="rect">
            <a:avLst/>
          </a:prstGeom>
        </p:spPr>
      </p:pic>
      <p:sp>
        <p:nvSpPr>
          <p:cNvPr id="8" name="Rectángulo 7">
            <a:extLst>
              <a:ext uri="{FF2B5EF4-FFF2-40B4-BE49-F238E27FC236}">
                <a16:creationId xmlns:a16="http://schemas.microsoft.com/office/drawing/2014/main" id="{08D67CC5-6191-4A6C-2678-71D3432CEE9F}"/>
              </a:ext>
            </a:extLst>
          </p:cNvPr>
          <p:cNvSpPr/>
          <p:nvPr/>
        </p:nvSpPr>
        <p:spPr>
          <a:xfrm>
            <a:off x="0" y="5334000"/>
            <a:ext cx="2139950" cy="15239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 name="CuadroTexto 2">
            <a:extLst>
              <a:ext uri="{FF2B5EF4-FFF2-40B4-BE49-F238E27FC236}">
                <a16:creationId xmlns:a16="http://schemas.microsoft.com/office/drawing/2014/main" id="{FDBE2AE2-7820-5074-E312-83ECEB3AEE59}"/>
              </a:ext>
            </a:extLst>
          </p:cNvPr>
          <p:cNvSpPr txBox="1"/>
          <p:nvPr/>
        </p:nvSpPr>
        <p:spPr>
          <a:xfrm>
            <a:off x="452742" y="938301"/>
            <a:ext cx="3905250" cy="738664"/>
          </a:xfrm>
          <a:prstGeom prst="rect">
            <a:avLst/>
          </a:prstGeom>
          <a:noFill/>
        </p:spPr>
        <p:txBody>
          <a:bodyPr wrap="square" rtlCol="0">
            <a:spAutoFit/>
          </a:bodyPr>
          <a:lstStyle/>
          <a:p>
            <a:r>
              <a:rPr lang="es-ES_tradnl" b="1" dirty="0">
                <a:solidFill>
                  <a:srgbClr val="002060"/>
                </a:solidFill>
              </a:rPr>
              <a:t>¿Sabes que la marca, cuida de ti </a:t>
            </a:r>
            <a:r>
              <a:rPr lang="es-ES_tradnl" sz="2400" b="1" dirty="0">
                <a:solidFill>
                  <a:srgbClr val="002060"/>
                </a:solidFill>
              </a:rPr>
              <a:t>y de tus pacientes?</a:t>
            </a:r>
            <a:endParaRPr lang="es-ES" b="1" dirty="0">
              <a:solidFill>
                <a:srgbClr val="002060"/>
              </a:solidFill>
            </a:endParaRPr>
          </a:p>
        </p:txBody>
      </p:sp>
      <p:sp>
        <p:nvSpPr>
          <p:cNvPr id="4" name="CuadroTexto 3">
            <a:extLst>
              <a:ext uri="{FF2B5EF4-FFF2-40B4-BE49-F238E27FC236}">
                <a16:creationId xmlns:a16="http://schemas.microsoft.com/office/drawing/2014/main" id="{0912561E-DB8C-2D72-773C-A1687F716A88}"/>
              </a:ext>
            </a:extLst>
          </p:cNvPr>
          <p:cNvSpPr txBox="1"/>
          <p:nvPr/>
        </p:nvSpPr>
        <p:spPr>
          <a:xfrm>
            <a:off x="452742" y="1867465"/>
            <a:ext cx="4525658" cy="2680798"/>
          </a:xfrm>
          <a:prstGeom prst="rect">
            <a:avLst/>
          </a:prstGeom>
          <a:noFill/>
        </p:spPr>
        <p:txBody>
          <a:bodyPr wrap="square" rtlCol="0">
            <a:spAutoFit/>
          </a:bodyPr>
          <a:lstStyle/>
          <a:p>
            <a:pPr algn="just">
              <a:lnSpc>
                <a:spcPct val="110000"/>
              </a:lnSpc>
            </a:pPr>
            <a:r>
              <a:rPr lang="es-ES_tradnl" sz="1400" dirty="0"/>
              <a:t>La dispensación por MARCA aporta las siguientes ventajas significativas</a:t>
            </a:r>
            <a:r>
              <a:rPr lang="es-ES_tradnl" sz="1400" baseline="30000" dirty="0"/>
              <a:t>1</a:t>
            </a:r>
          </a:p>
          <a:p>
            <a:pPr>
              <a:lnSpc>
                <a:spcPct val="110000"/>
              </a:lnSpc>
            </a:pPr>
            <a:endParaRPr lang="es-ES_tradnl" sz="1400" dirty="0"/>
          </a:p>
          <a:p>
            <a:pPr algn="just">
              <a:lnSpc>
                <a:spcPct val="110000"/>
              </a:lnSpc>
            </a:pPr>
            <a:r>
              <a:rPr lang="es-ES_tradnl" sz="1400" dirty="0"/>
              <a:t>En un estudio retrospectivo realizado en España con más de 13.000 pacientes durante 5 años en el que se analizó la persistencia y adherencia al tratamiento con estatinas de marca vs. estatinas genéricas, se observó que </a:t>
            </a:r>
            <a:r>
              <a:rPr lang="es-ES_tradnl" sz="1400" b="1" dirty="0">
                <a:solidFill>
                  <a:srgbClr val="002060"/>
                </a:solidFill>
              </a:rPr>
              <a:t>la prescripción por marca fue más eficaz en el control de los factores de riesgo cardiovascular y consiguió mayor reducción del riesgo de episodios cardiovasculares y de muerte por cualquier causa</a:t>
            </a:r>
            <a:r>
              <a:rPr lang="es-ES_tradnl" sz="1400" b="1" baseline="30000" dirty="0">
                <a:solidFill>
                  <a:srgbClr val="002060"/>
                </a:solidFill>
              </a:rPr>
              <a:t>2</a:t>
            </a:r>
            <a:r>
              <a:rPr lang="es-ES_tradnl" sz="1400" dirty="0"/>
              <a:t>.</a:t>
            </a:r>
            <a:endParaRPr lang="es-ES" sz="1400" dirty="0"/>
          </a:p>
        </p:txBody>
      </p:sp>
      <p:sp>
        <p:nvSpPr>
          <p:cNvPr id="6" name="CuadroTexto 5">
            <a:extLst>
              <a:ext uri="{FF2B5EF4-FFF2-40B4-BE49-F238E27FC236}">
                <a16:creationId xmlns:a16="http://schemas.microsoft.com/office/drawing/2014/main" id="{1D086724-C935-2F37-7A73-E0085A7A52CC}"/>
              </a:ext>
            </a:extLst>
          </p:cNvPr>
          <p:cNvSpPr txBox="1"/>
          <p:nvPr/>
        </p:nvSpPr>
        <p:spPr>
          <a:xfrm>
            <a:off x="508000" y="4659094"/>
            <a:ext cx="10966450" cy="646986"/>
          </a:xfrm>
          <a:prstGeom prst="roundRect">
            <a:avLst/>
          </a:prstGeom>
          <a:solidFill>
            <a:schemeClr val="accent2">
              <a:lumMod val="20000"/>
              <a:lumOff val="80000"/>
            </a:schemeClr>
          </a:solidFill>
          <a:ln>
            <a:solidFill>
              <a:schemeClr val="accent2"/>
            </a:solidFill>
          </a:ln>
        </p:spPr>
        <p:txBody>
          <a:bodyPr wrap="square" rtlCol="0">
            <a:spAutoFit/>
          </a:bodyPr>
          <a:lstStyle/>
          <a:p>
            <a:pPr lvl="3"/>
            <a:r>
              <a:rPr lang="es-ES_tradnl" sz="1600" dirty="0">
                <a:solidFill>
                  <a:srgbClr val="002060"/>
                </a:solidFill>
              </a:rPr>
              <a:t>El medicamento de marca </a:t>
            </a:r>
            <a:r>
              <a:rPr lang="es-ES_tradnl" sz="1600" b="1" dirty="0">
                <a:solidFill>
                  <a:srgbClr val="002060"/>
                </a:solidFill>
              </a:rPr>
              <a:t>facilita el reconocimiento por parte del paciente y permite </a:t>
            </a:r>
            <a:br>
              <a:rPr lang="es-ES_tradnl" sz="1600" b="1" dirty="0">
                <a:solidFill>
                  <a:srgbClr val="002060"/>
                </a:solidFill>
              </a:rPr>
            </a:br>
            <a:r>
              <a:rPr lang="es-ES_tradnl" sz="1600" b="1" dirty="0">
                <a:solidFill>
                  <a:srgbClr val="002060"/>
                </a:solidFill>
              </a:rPr>
              <a:t>establecer una vinculación continuada con el medicamento</a:t>
            </a:r>
            <a:r>
              <a:rPr lang="es-ES_tradnl" sz="1600" b="1" baseline="30000" dirty="0">
                <a:solidFill>
                  <a:srgbClr val="002060"/>
                </a:solidFill>
              </a:rPr>
              <a:t>1</a:t>
            </a:r>
            <a:r>
              <a:rPr lang="es-ES_tradnl" sz="1600" b="1" dirty="0">
                <a:solidFill>
                  <a:srgbClr val="002060"/>
                </a:solidFill>
              </a:rPr>
              <a:t>.</a:t>
            </a:r>
            <a:endParaRPr lang="es-ES" sz="1600" dirty="0">
              <a:solidFill>
                <a:srgbClr val="002060"/>
              </a:solidFill>
            </a:endParaRPr>
          </a:p>
        </p:txBody>
      </p:sp>
      <p:sp>
        <p:nvSpPr>
          <p:cNvPr id="7" name="CuadroTexto 6">
            <a:extLst>
              <a:ext uri="{FF2B5EF4-FFF2-40B4-BE49-F238E27FC236}">
                <a16:creationId xmlns:a16="http://schemas.microsoft.com/office/drawing/2014/main" id="{792EB41D-B4B1-0CAE-0CF0-B4793BE84EFA}"/>
              </a:ext>
            </a:extLst>
          </p:cNvPr>
          <p:cNvSpPr txBox="1"/>
          <p:nvPr/>
        </p:nvSpPr>
        <p:spPr>
          <a:xfrm>
            <a:off x="508000" y="5431521"/>
            <a:ext cx="10966450" cy="646986"/>
          </a:xfrm>
          <a:prstGeom prst="roundRect">
            <a:avLst/>
          </a:prstGeom>
          <a:noFill/>
          <a:ln>
            <a:solidFill>
              <a:schemeClr val="accent2"/>
            </a:solidFill>
          </a:ln>
        </p:spPr>
        <p:txBody>
          <a:bodyPr wrap="square" rtlCol="0">
            <a:spAutoFit/>
          </a:bodyPr>
          <a:lstStyle/>
          <a:p>
            <a:pPr algn="ctr"/>
            <a:r>
              <a:rPr lang="es-ES_tradnl" sz="1600" dirty="0"/>
              <a:t>La continuidad del tratamiento mediante el </a:t>
            </a:r>
            <a:br>
              <a:rPr lang="es-ES_tradnl" sz="1600" dirty="0"/>
            </a:br>
            <a:r>
              <a:rPr lang="es-ES_tradnl" sz="1600" b="1" dirty="0">
                <a:solidFill>
                  <a:srgbClr val="002060"/>
                </a:solidFill>
              </a:rPr>
              <a:t>medicamento de marca es lo más aconsejable para mantener adecuadamente la medicación pautada</a:t>
            </a:r>
            <a:r>
              <a:rPr lang="es-ES_tradnl" sz="1600" b="1" baseline="30000" dirty="0">
                <a:solidFill>
                  <a:srgbClr val="002060"/>
                </a:solidFill>
              </a:rPr>
              <a:t>1</a:t>
            </a:r>
            <a:r>
              <a:rPr lang="es-ES_tradnl" sz="1600" b="1" dirty="0">
                <a:solidFill>
                  <a:srgbClr val="002060"/>
                </a:solidFill>
              </a:rPr>
              <a:t>.</a:t>
            </a:r>
            <a:endParaRPr lang="es-ES" sz="1600" b="1" dirty="0">
              <a:solidFill>
                <a:srgbClr val="002060"/>
              </a:solidFill>
            </a:endParaRPr>
          </a:p>
        </p:txBody>
      </p:sp>
      <p:pic>
        <p:nvPicPr>
          <p:cNvPr id="9" name="Picture 2" descr="Ocupació | ALMIRALL">
            <a:extLst>
              <a:ext uri="{FF2B5EF4-FFF2-40B4-BE49-F238E27FC236}">
                <a16:creationId xmlns:a16="http://schemas.microsoft.com/office/drawing/2014/main" id="{D76704C1-F6FD-D600-526A-4225FD388357}"/>
              </a:ext>
            </a:extLst>
          </p:cNvPr>
          <p:cNvPicPr>
            <a:picLocks noChangeAspect="1" noChangeArrowheads="1"/>
          </p:cNvPicPr>
          <p:nvPr/>
        </p:nvPicPr>
        <p:blipFill rotWithShape="1">
          <a:blip r:embed="rId3">
            <a:alphaModFix amt="20000"/>
            <a:extLst>
              <a:ext uri="{28A0092B-C50C-407E-A947-70E740481C1C}">
                <a14:useLocalDpi xmlns:a14="http://schemas.microsoft.com/office/drawing/2010/main" val="0"/>
              </a:ext>
            </a:extLst>
          </a:blip>
          <a:srcRect t="20384" r="74873" b="18548"/>
          <a:stretch>
            <a:fillRect/>
          </a:stretch>
        </p:blipFill>
        <p:spPr bwMode="auto">
          <a:xfrm>
            <a:off x="116665" y="4549403"/>
            <a:ext cx="1091254" cy="165454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Ocupació | ALMIRALL">
            <a:extLst>
              <a:ext uri="{FF2B5EF4-FFF2-40B4-BE49-F238E27FC236}">
                <a16:creationId xmlns:a16="http://schemas.microsoft.com/office/drawing/2014/main" id="{ED12C46C-69D8-D6F9-558A-B10D07290B9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0384" r="74873" b="18548"/>
          <a:stretch>
            <a:fillRect/>
          </a:stretch>
        </p:blipFill>
        <p:spPr bwMode="auto">
          <a:xfrm>
            <a:off x="4368800" y="811492"/>
            <a:ext cx="609600" cy="92426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Ocupació | ALMIRALL">
            <a:extLst>
              <a:ext uri="{FF2B5EF4-FFF2-40B4-BE49-F238E27FC236}">
                <a16:creationId xmlns:a16="http://schemas.microsoft.com/office/drawing/2014/main" id="{2DC24C59-5009-113C-5C9F-C3C5834DD353}"/>
              </a:ext>
            </a:extLst>
          </p:cNvPr>
          <p:cNvPicPr>
            <a:picLocks noChangeAspect="1" noChangeArrowheads="1"/>
          </p:cNvPicPr>
          <p:nvPr/>
        </p:nvPicPr>
        <p:blipFill rotWithShape="1">
          <a:blip r:embed="rId3">
            <a:alphaModFix amt="20000"/>
            <a:extLst>
              <a:ext uri="{28A0092B-C50C-407E-A947-70E740481C1C}">
                <a14:useLocalDpi xmlns:a14="http://schemas.microsoft.com/office/drawing/2010/main" val="0"/>
              </a:ext>
            </a:extLst>
          </a:blip>
          <a:srcRect t="20384" r="74873" b="18548"/>
          <a:stretch>
            <a:fillRect/>
          </a:stretch>
        </p:blipFill>
        <p:spPr bwMode="auto">
          <a:xfrm>
            <a:off x="10980096" y="81214"/>
            <a:ext cx="1091254" cy="1654546"/>
          </a:xfrm>
          <a:prstGeom prst="rect">
            <a:avLst/>
          </a:prstGeom>
          <a:noFill/>
          <a:extLst>
            <a:ext uri="{909E8E84-426E-40DD-AFC4-6F175D3DCCD1}">
              <a14:hiddenFill xmlns:a14="http://schemas.microsoft.com/office/drawing/2010/main">
                <a:solidFill>
                  <a:srgbClr val="FFFFFF"/>
                </a:solidFill>
              </a14:hiddenFill>
            </a:ext>
          </a:extLst>
        </p:spPr>
      </p:pic>
      <p:sp>
        <p:nvSpPr>
          <p:cNvPr id="12" name="CuadroTexto 11">
            <a:extLst>
              <a:ext uri="{FF2B5EF4-FFF2-40B4-BE49-F238E27FC236}">
                <a16:creationId xmlns:a16="http://schemas.microsoft.com/office/drawing/2014/main" id="{75AACDC3-FF10-4FFE-2203-DD9467F7933F}"/>
              </a:ext>
            </a:extLst>
          </p:cNvPr>
          <p:cNvSpPr txBox="1"/>
          <p:nvPr/>
        </p:nvSpPr>
        <p:spPr>
          <a:xfrm>
            <a:off x="508000" y="6203949"/>
            <a:ext cx="10401300" cy="461665"/>
          </a:xfrm>
          <a:prstGeom prst="rect">
            <a:avLst/>
          </a:prstGeom>
          <a:noFill/>
        </p:spPr>
        <p:txBody>
          <a:bodyPr wrap="square" rtlCol="0">
            <a:spAutoFit/>
          </a:bodyPr>
          <a:lstStyle/>
          <a:p>
            <a:r>
              <a:rPr lang="es-ES_tradnl" sz="800" b="1" dirty="0">
                <a:solidFill>
                  <a:srgbClr val="002060"/>
                </a:solidFill>
              </a:rPr>
              <a:t>1. </a:t>
            </a:r>
            <a:r>
              <a:rPr lang="es-ES_tradnl" sz="800" dirty="0">
                <a:solidFill>
                  <a:srgbClr val="002060"/>
                </a:solidFill>
              </a:rPr>
              <a:t>Farmaindustria.es El valor de la marca [citado el 17 de diciembre de 2025]. Disponible en: https://www.farmaindustria.es/web/wp-content/uploads/sites/2/2019/12/Decalogo-El-valor-de-la-marca_Farmaindustria_2024_ok.pdf </a:t>
            </a:r>
            <a:r>
              <a:rPr lang="es-ES_tradnl" sz="800" b="1" dirty="0">
                <a:solidFill>
                  <a:srgbClr val="002060"/>
                </a:solidFill>
              </a:rPr>
              <a:t>2.</a:t>
            </a:r>
            <a:r>
              <a:rPr lang="es-ES_tradnl" sz="800" dirty="0">
                <a:solidFill>
                  <a:srgbClr val="002060"/>
                </a:solidFill>
              </a:rPr>
              <a:t> </a:t>
            </a:r>
            <a:r>
              <a:rPr lang="es-ES_tradnl" sz="800" dirty="0" err="1">
                <a:solidFill>
                  <a:srgbClr val="002060"/>
                </a:solidFill>
              </a:rPr>
              <a:t>Sicras-Mainar</a:t>
            </a:r>
            <a:r>
              <a:rPr lang="es-ES_tradnl" sz="800" dirty="0">
                <a:solidFill>
                  <a:srgbClr val="002060"/>
                </a:solidFill>
              </a:rPr>
              <a:t> A, Sánchez-Álvarez L, Navarro-Artieda R, </a:t>
            </a:r>
            <a:r>
              <a:rPr lang="es-ES_tradnl" sz="800" dirty="0" err="1">
                <a:solidFill>
                  <a:srgbClr val="002060"/>
                </a:solidFill>
              </a:rPr>
              <a:t>Darbà</a:t>
            </a:r>
            <a:r>
              <a:rPr lang="es-ES_tradnl" sz="800" dirty="0">
                <a:solidFill>
                  <a:srgbClr val="002060"/>
                </a:solidFill>
              </a:rPr>
              <a:t> J. </a:t>
            </a:r>
            <a:r>
              <a:rPr lang="es-ES_tradnl" sz="800" dirty="0" err="1">
                <a:solidFill>
                  <a:srgbClr val="002060"/>
                </a:solidFill>
              </a:rPr>
              <a:t>Treatment</a:t>
            </a:r>
            <a:r>
              <a:rPr lang="es-ES_tradnl" sz="800" dirty="0">
                <a:solidFill>
                  <a:srgbClr val="002060"/>
                </a:solidFill>
              </a:rPr>
              <a:t> </a:t>
            </a:r>
            <a:r>
              <a:rPr lang="es-ES_tradnl" sz="800" dirty="0" err="1">
                <a:solidFill>
                  <a:srgbClr val="002060"/>
                </a:solidFill>
              </a:rPr>
              <a:t>persistence</a:t>
            </a:r>
            <a:r>
              <a:rPr lang="es-ES_tradnl" sz="800" dirty="0">
                <a:solidFill>
                  <a:srgbClr val="002060"/>
                </a:solidFill>
              </a:rPr>
              <a:t> and </a:t>
            </a:r>
            <a:r>
              <a:rPr lang="es-ES_tradnl" sz="800" dirty="0" err="1">
                <a:solidFill>
                  <a:srgbClr val="002060"/>
                </a:solidFill>
              </a:rPr>
              <a:t>adherence</a:t>
            </a:r>
            <a:r>
              <a:rPr lang="es-ES_tradnl" sz="800" dirty="0">
                <a:solidFill>
                  <a:srgbClr val="002060"/>
                </a:solidFill>
              </a:rPr>
              <a:t> and </a:t>
            </a:r>
            <a:r>
              <a:rPr lang="es-ES_tradnl" sz="800" dirty="0" err="1">
                <a:solidFill>
                  <a:srgbClr val="002060"/>
                </a:solidFill>
              </a:rPr>
              <a:t>their</a:t>
            </a:r>
            <a:r>
              <a:rPr lang="es-ES_tradnl" sz="800" dirty="0">
                <a:solidFill>
                  <a:srgbClr val="002060"/>
                </a:solidFill>
              </a:rPr>
              <a:t> </a:t>
            </a:r>
            <a:r>
              <a:rPr lang="es-ES_tradnl" sz="800" dirty="0" err="1">
                <a:solidFill>
                  <a:srgbClr val="002060"/>
                </a:solidFill>
              </a:rPr>
              <a:t>consequences</a:t>
            </a:r>
            <a:r>
              <a:rPr lang="es-ES_tradnl" sz="800" dirty="0">
                <a:solidFill>
                  <a:srgbClr val="002060"/>
                </a:solidFill>
              </a:rPr>
              <a:t> </a:t>
            </a:r>
            <a:r>
              <a:rPr lang="es-ES_tradnl" sz="800" dirty="0" err="1">
                <a:solidFill>
                  <a:srgbClr val="002060"/>
                </a:solidFill>
              </a:rPr>
              <a:t>on</a:t>
            </a:r>
            <a:r>
              <a:rPr lang="es-ES_tradnl" sz="800" dirty="0">
                <a:solidFill>
                  <a:srgbClr val="002060"/>
                </a:solidFill>
              </a:rPr>
              <a:t> </a:t>
            </a:r>
            <a:r>
              <a:rPr lang="es-ES_tradnl" sz="800" dirty="0" err="1">
                <a:solidFill>
                  <a:srgbClr val="002060"/>
                </a:solidFill>
              </a:rPr>
              <a:t>patient</a:t>
            </a:r>
            <a:r>
              <a:rPr lang="es-ES_tradnl" sz="800" dirty="0">
                <a:solidFill>
                  <a:srgbClr val="002060"/>
                </a:solidFill>
              </a:rPr>
              <a:t> </a:t>
            </a:r>
            <a:r>
              <a:rPr lang="es-ES_tradnl" sz="800" dirty="0" err="1">
                <a:solidFill>
                  <a:srgbClr val="002060"/>
                </a:solidFill>
              </a:rPr>
              <a:t>outcomes</a:t>
            </a:r>
            <a:r>
              <a:rPr lang="es-ES_tradnl" sz="800" dirty="0">
                <a:solidFill>
                  <a:srgbClr val="002060"/>
                </a:solidFill>
              </a:rPr>
              <a:t> </a:t>
            </a:r>
            <a:r>
              <a:rPr lang="es-ES_tradnl" sz="800" dirty="0" err="1">
                <a:solidFill>
                  <a:srgbClr val="002060"/>
                </a:solidFill>
              </a:rPr>
              <a:t>of</a:t>
            </a:r>
            <a:r>
              <a:rPr lang="es-ES_tradnl" sz="800" dirty="0">
                <a:solidFill>
                  <a:srgbClr val="002060"/>
                </a:solidFill>
              </a:rPr>
              <a:t> </a:t>
            </a:r>
            <a:r>
              <a:rPr lang="es-ES_tradnl" sz="800" dirty="0" err="1">
                <a:solidFill>
                  <a:srgbClr val="002060"/>
                </a:solidFill>
              </a:rPr>
              <a:t>generic</a:t>
            </a:r>
            <a:r>
              <a:rPr lang="es-ES_tradnl" sz="800" dirty="0">
                <a:solidFill>
                  <a:srgbClr val="002060"/>
                </a:solidFill>
              </a:rPr>
              <a:t> versus Brand-</a:t>
            </a:r>
            <a:r>
              <a:rPr lang="es-ES_tradnl" sz="800" dirty="0" err="1">
                <a:solidFill>
                  <a:srgbClr val="002060"/>
                </a:solidFill>
              </a:rPr>
              <a:t>name</a:t>
            </a:r>
            <a:r>
              <a:rPr lang="es-ES_tradnl" sz="800" dirty="0">
                <a:solidFill>
                  <a:srgbClr val="002060"/>
                </a:solidFill>
              </a:rPr>
              <a:t> </a:t>
            </a:r>
            <a:r>
              <a:rPr lang="es-ES_tradnl" sz="800" dirty="0" err="1">
                <a:solidFill>
                  <a:srgbClr val="002060"/>
                </a:solidFill>
              </a:rPr>
              <a:t>statins</a:t>
            </a:r>
            <a:r>
              <a:rPr lang="es-ES_tradnl" sz="800" dirty="0">
                <a:solidFill>
                  <a:srgbClr val="002060"/>
                </a:solidFill>
              </a:rPr>
              <a:t> </a:t>
            </a:r>
            <a:r>
              <a:rPr lang="es-ES_tradnl" sz="800" dirty="0" err="1">
                <a:solidFill>
                  <a:srgbClr val="002060"/>
                </a:solidFill>
              </a:rPr>
              <a:t>routinely</a:t>
            </a:r>
            <a:r>
              <a:rPr lang="es-ES_tradnl" sz="800" dirty="0">
                <a:solidFill>
                  <a:srgbClr val="002060"/>
                </a:solidFill>
              </a:rPr>
              <a:t> </a:t>
            </a:r>
            <a:r>
              <a:rPr lang="es-ES_tradnl" sz="800" dirty="0" err="1">
                <a:solidFill>
                  <a:srgbClr val="002060"/>
                </a:solidFill>
              </a:rPr>
              <a:t>used</a:t>
            </a:r>
            <a:r>
              <a:rPr lang="es-ES_tradnl" sz="800" dirty="0">
                <a:solidFill>
                  <a:srgbClr val="002060"/>
                </a:solidFill>
              </a:rPr>
              <a:t> </a:t>
            </a:r>
            <a:r>
              <a:rPr lang="es-ES_tradnl" sz="800" dirty="0" err="1">
                <a:solidFill>
                  <a:srgbClr val="002060"/>
                </a:solidFill>
              </a:rPr>
              <a:t>to</a:t>
            </a:r>
            <a:r>
              <a:rPr lang="es-ES_tradnl" sz="800" dirty="0">
                <a:solidFill>
                  <a:srgbClr val="002060"/>
                </a:solidFill>
              </a:rPr>
              <a:t> </a:t>
            </a:r>
            <a:r>
              <a:rPr lang="es-ES_tradnl" sz="800" dirty="0" err="1">
                <a:solidFill>
                  <a:srgbClr val="002060"/>
                </a:solidFill>
              </a:rPr>
              <a:t>treat</a:t>
            </a:r>
            <a:r>
              <a:rPr lang="es-ES_tradnl" sz="800" dirty="0">
                <a:solidFill>
                  <a:srgbClr val="002060"/>
                </a:solidFill>
              </a:rPr>
              <a:t> </a:t>
            </a:r>
            <a:r>
              <a:rPr lang="es-ES_tradnl" sz="800" dirty="0" err="1">
                <a:solidFill>
                  <a:srgbClr val="002060"/>
                </a:solidFill>
              </a:rPr>
              <a:t>high</a:t>
            </a:r>
            <a:r>
              <a:rPr lang="es-ES_tradnl" sz="800" dirty="0">
                <a:solidFill>
                  <a:srgbClr val="002060"/>
                </a:solidFill>
              </a:rPr>
              <a:t> colesterol </a:t>
            </a:r>
            <a:r>
              <a:rPr lang="es-ES_tradnl" sz="800" dirty="0" err="1">
                <a:solidFill>
                  <a:srgbClr val="002060"/>
                </a:solidFill>
              </a:rPr>
              <a:t>levels</a:t>
            </a:r>
            <a:r>
              <a:rPr lang="es-ES_tradnl" sz="800" dirty="0">
                <a:solidFill>
                  <a:srgbClr val="002060"/>
                </a:solidFill>
              </a:rPr>
              <a:t> in Spain: a retrospective </a:t>
            </a:r>
            <a:r>
              <a:rPr lang="es-ES_tradnl" sz="800" dirty="0" err="1">
                <a:solidFill>
                  <a:srgbClr val="002060"/>
                </a:solidFill>
              </a:rPr>
              <a:t>costconsequences</a:t>
            </a:r>
            <a:r>
              <a:rPr lang="es-ES_tradnl" sz="800" dirty="0">
                <a:solidFill>
                  <a:srgbClr val="002060"/>
                </a:solidFill>
              </a:rPr>
              <a:t> análisis. </a:t>
            </a:r>
            <a:r>
              <a:rPr lang="es-ES_tradnl" sz="800" dirty="0" err="1">
                <a:solidFill>
                  <a:srgbClr val="002060"/>
                </a:solidFill>
              </a:rPr>
              <a:t>Lipids</a:t>
            </a:r>
            <a:r>
              <a:rPr lang="es-ES_tradnl" sz="800" dirty="0">
                <a:solidFill>
                  <a:srgbClr val="002060"/>
                </a:solidFill>
              </a:rPr>
              <a:t> </a:t>
            </a:r>
            <a:r>
              <a:rPr lang="es-ES_tradnl" sz="800" dirty="0" err="1">
                <a:solidFill>
                  <a:srgbClr val="002060"/>
                </a:solidFill>
              </a:rPr>
              <a:t>Health</a:t>
            </a:r>
            <a:r>
              <a:rPr lang="es-ES_tradnl" sz="800" dirty="0">
                <a:solidFill>
                  <a:srgbClr val="002060"/>
                </a:solidFill>
              </a:rPr>
              <a:t> Dis.2018;17(1):277.</a:t>
            </a:r>
            <a:endParaRPr lang="es-ES" sz="800" dirty="0">
              <a:solidFill>
                <a:srgbClr val="002060"/>
              </a:solidFill>
            </a:endParaRPr>
          </a:p>
        </p:txBody>
      </p:sp>
      <p:grpSp>
        <p:nvGrpSpPr>
          <p:cNvPr id="35" name="Grupo 34">
            <a:extLst>
              <a:ext uri="{FF2B5EF4-FFF2-40B4-BE49-F238E27FC236}">
                <a16:creationId xmlns:a16="http://schemas.microsoft.com/office/drawing/2014/main" id="{E548041B-97BA-B296-BCE8-9EF5F14BE084}"/>
              </a:ext>
            </a:extLst>
          </p:cNvPr>
          <p:cNvGrpSpPr/>
          <p:nvPr/>
        </p:nvGrpSpPr>
        <p:grpSpPr>
          <a:xfrm>
            <a:off x="5340090" y="938301"/>
            <a:ext cx="6208972" cy="3521944"/>
            <a:chOff x="5340090" y="938301"/>
            <a:chExt cx="6208972" cy="3521944"/>
          </a:xfrm>
        </p:grpSpPr>
        <p:sp>
          <p:nvSpPr>
            <p:cNvPr id="10" name="Rectángulo: esquinas redondeadas 9">
              <a:extLst>
                <a:ext uri="{FF2B5EF4-FFF2-40B4-BE49-F238E27FC236}">
                  <a16:creationId xmlns:a16="http://schemas.microsoft.com/office/drawing/2014/main" id="{287E2F6C-7222-48EB-A0D5-74154FB26546}"/>
                </a:ext>
              </a:extLst>
            </p:cNvPr>
            <p:cNvSpPr/>
            <p:nvPr/>
          </p:nvSpPr>
          <p:spPr>
            <a:xfrm>
              <a:off x="5429250" y="938301"/>
              <a:ext cx="6045200" cy="3521944"/>
            </a:xfrm>
            <a:prstGeom prst="round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 name="CuadroTexto 4">
              <a:extLst>
                <a:ext uri="{FF2B5EF4-FFF2-40B4-BE49-F238E27FC236}">
                  <a16:creationId xmlns:a16="http://schemas.microsoft.com/office/drawing/2014/main" id="{BDF2AAC3-9094-9FA7-FA64-848CB8682282}"/>
                </a:ext>
              </a:extLst>
            </p:cNvPr>
            <p:cNvSpPr txBox="1"/>
            <p:nvPr/>
          </p:nvSpPr>
          <p:spPr>
            <a:xfrm>
              <a:off x="6223000" y="1136640"/>
              <a:ext cx="4603750" cy="658297"/>
            </a:xfrm>
            <a:prstGeom prst="roundRect">
              <a:avLst>
                <a:gd name="adj" fmla="val 19611"/>
              </a:avLst>
            </a:prstGeom>
            <a:solidFill>
              <a:schemeClr val="accent2">
                <a:lumMod val="20000"/>
                <a:lumOff val="80000"/>
              </a:schemeClr>
            </a:solidFill>
            <a:ln>
              <a:solidFill>
                <a:schemeClr val="accent2"/>
              </a:solidFill>
            </a:ln>
          </p:spPr>
          <p:txBody>
            <a:bodyPr wrap="square" rtlCol="0">
              <a:spAutoFit/>
            </a:bodyPr>
            <a:lstStyle/>
            <a:p>
              <a:r>
                <a:rPr lang="es-ES_tradnl" sz="1600" dirty="0">
                  <a:solidFill>
                    <a:srgbClr val="002060"/>
                  </a:solidFill>
                </a:rPr>
                <a:t>En comparación con la marca, </a:t>
              </a:r>
              <a:r>
                <a:rPr lang="es-ES_tradnl" sz="1600" b="1" dirty="0">
                  <a:solidFill>
                    <a:srgbClr val="002060"/>
                  </a:solidFill>
                </a:rPr>
                <a:t>los pacientes con una estatina genérica </a:t>
              </a:r>
              <a:r>
                <a:rPr lang="es-ES_tradnl" sz="1600" dirty="0">
                  <a:solidFill>
                    <a:srgbClr val="002060"/>
                  </a:solidFill>
                </a:rPr>
                <a:t>presentaron</a:t>
              </a:r>
              <a:r>
                <a:rPr lang="es-ES_tradnl" sz="1600" baseline="30000" dirty="0">
                  <a:solidFill>
                    <a:srgbClr val="002060"/>
                  </a:solidFill>
                </a:rPr>
                <a:t>2</a:t>
              </a:r>
              <a:r>
                <a:rPr lang="es-ES_tradnl" sz="1600" dirty="0">
                  <a:solidFill>
                    <a:srgbClr val="002060"/>
                  </a:solidFill>
                </a:rPr>
                <a:t>:</a:t>
              </a:r>
              <a:endParaRPr lang="es-ES" sz="1600" dirty="0">
                <a:solidFill>
                  <a:srgbClr val="002060"/>
                </a:solidFill>
              </a:endParaRPr>
            </a:p>
          </p:txBody>
        </p:sp>
        <p:sp>
          <p:nvSpPr>
            <p:cNvPr id="13" name="CuadroTexto 12">
              <a:extLst>
                <a:ext uri="{FF2B5EF4-FFF2-40B4-BE49-F238E27FC236}">
                  <a16:creationId xmlns:a16="http://schemas.microsoft.com/office/drawing/2014/main" id="{118E3CD5-99C6-02F8-8FF1-6598198968BE}"/>
                </a:ext>
              </a:extLst>
            </p:cNvPr>
            <p:cNvSpPr txBox="1"/>
            <p:nvPr/>
          </p:nvSpPr>
          <p:spPr>
            <a:xfrm>
              <a:off x="5479266" y="2729388"/>
              <a:ext cx="1444625" cy="584775"/>
            </a:xfrm>
            <a:prstGeom prst="rect">
              <a:avLst/>
            </a:prstGeom>
            <a:noFill/>
          </p:spPr>
          <p:txBody>
            <a:bodyPr wrap="square" rtlCol="0">
              <a:spAutoFit/>
            </a:bodyPr>
            <a:lstStyle/>
            <a:p>
              <a:pPr algn="ctr"/>
              <a:r>
                <a:rPr lang="es-ES_tradnl" sz="3200" b="1" dirty="0">
                  <a:solidFill>
                    <a:srgbClr val="002060"/>
                  </a:solidFill>
                  <a:latin typeface="Arial Black" panose="020B0A04020102020204" pitchFamily="34" charset="0"/>
                </a:rPr>
                <a:t>14%</a:t>
              </a:r>
              <a:endParaRPr lang="es-ES" sz="1400" b="1" dirty="0">
                <a:solidFill>
                  <a:srgbClr val="002060"/>
                </a:solidFill>
                <a:latin typeface="Arial Black" panose="020B0A04020102020204" pitchFamily="34" charset="0"/>
              </a:endParaRPr>
            </a:p>
          </p:txBody>
        </p:sp>
        <p:sp>
          <p:nvSpPr>
            <p:cNvPr id="17" name="CuadroTexto 16">
              <a:extLst>
                <a:ext uri="{FF2B5EF4-FFF2-40B4-BE49-F238E27FC236}">
                  <a16:creationId xmlns:a16="http://schemas.microsoft.com/office/drawing/2014/main" id="{14CE0934-B379-030C-542C-5F80B3F54E64}"/>
                </a:ext>
              </a:extLst>
            </p:cNvPr>
            <p:cNvSpPr txBox="1"/>
            <p:nvPr/>
          </p:nvSpPr>
          <p:spPr>
            <a:xfrm>
              <a:off x="6934145" y="2732289"/>
              <a:ext cx="1444625" cy="584775"/>
            </a:xfrm>
            <a:prstGeom prst="rect">
              <a:avLst/>
            </a:prstGeom>
            <a:noFill/>
          </p:spPr>
          <p:txBody>
            <a:bodyPr wrap="square" rtlCol="0">
              <a:spAutoFit/>
            </a:bodyPr>
            <a:lstStyle/>
            <a:p>
              <a:pPr algn="ctr"/>
              <a:r>
                <a:rPr lang="es-ES_tradnl" sz="3200" b="1" dirty="0">
                  <a:solidFill>
                    <a:srgbClr val="002060"/>
                  </a:solidFill>
                  <a:latin typeface="Arial Black" panose="020B0A04020102020204" pitchFamily="34" charset="0"/>
                </a:rPr>
                <a:t>13%</a:t>
              </a:r>
              <a:endParaRPr lang="es-ES" sz="1400" b="1" dirty="0">
                <a:solidFill>
                  <a:srgbClr val="002060"/>
                </a:solidFill>
                <a:latin typeface="Arial Black" panose="020B0A04020102020204" pitchFamily="34" charset="0"/>
              </a:endParaRPr>
            </a:p>
          </p:txBody>
        </p:sp>
        <p:sp>
          <p:nvSpPr>
            <p:cNvPr id="18" name="CuadroTexto 17">
              <a:extLst>
                <a:ext uri="{FF2B5EF4-FFF2-40B4-BE49-F238E27FC236}">
                  <a16:creationId xmlns:a16="http://schemas.microsoft.com/office/drawing/2014/main" id="{1B242AA6-D441-937F-4B80-A392440AB659}"/>
                </a:ext>
              </a:extLst>
            </p:cNvPr>
            <p:cNvSpPr txBox="1"/>
            <p:nvPr/>
          </p:nvSpPr>
          <p:spPr>
            <a:xfrm>
              <a:off x="8542019" y="2746046"/>
              <a:ext cx="1444625" cy="584775"/>
            </a:xfrm>
            <a:prstGeom prst="rect">
              <a:avLst/>
            </a:prstGeom>
            <a:noFill/>
          </p:spPr>
          <p:txBody>
            <a:bodyPr wrap="square" rtlCol="0">
              <a:spAutoFit/>
            </a:bodyPr>
            <a:lstStyle/>
            <a:p>
              <a:pPr algn="ctr"/>
              <a:r>
                <a:rPr lang="es-ES_tradnl" sz="3200" b="1" dirty="0">
                  <a:solidFill>
                    <a:srgbClr val="002060"/>
                  </a:solidFill>
                  <a:latin typeface="Arial Black" panose="020B0A04020102020204" pitchFamily="34" charset="0"/>
                </a:rPr>
                <a:t>31%</a:t>
              </a:r>
              <a:endParaRPr lang="es-ES" sz="1400" b="1" dirty="0">
                <a:solidFill>
                  <a:srgbClr val="002060"/>
                </a:solidFill>
                <a:latin typeface="Arial Black" panose="020B0A04020102020204" pitchFamily="34" charset="0"/>
              </a:endParaRPr>
            </a:p>
          </p:txBody>
        </p:sp>
        <p:sp>
          <p:nvSpPr>
            <p:cNvPr id="19" name="CuadroTexto 18">
              <a:extLst>
                <a:ext uri="{FF2B5EF4-FFF2-40B4-BE49-F238E27FC236}">
                  <a16:creationId xmlns:a16="http://schemas.microsoft.com/office/drawing/2014/main" id="{707339CE-96C6-E86D-075D-DFDAFEEC664C}"/>
                </a:ext>
              </a:extLst>
            </p:cNvPr>
            <p:cNvSpPr txBox="1"/>
            <p:nvPr/>
          </p:nvSpPr>
          <p:spPr>
            <a:xfrm>
              <a:off x="10104437" y="2734643"/>
              <a:ext cx="1444625" cy="584775"/>
            </a:xfrm>
            <a:prstGeom prst="rect">
              <a:avLst/>
            </a:prstGeom>
            <a:noFill/>
          </p:spPr>
          <p:txBody>
            <a:bodyPr wrap="square" rtlCol="0">
              <a:spAutoFit/>
            </a:bodyPr>
            <a:lstStyle/>
            <a:p>
              <a:pPr algn="ctr"/>
              <a:r>
                <a:rPr lang="es-ES_tradnl" sz="3200" b="1" dirty="0">
                  <a:solidFill>
                    <a:srgbClr val="002060"/>
                  </a:solidFill>
                  <a:latin typeface="Arial Black" panose="020B0A04020102020204" pitchFamily="34" charset="0"/>
                </a:rPr>
                <a:t>36%</a:t>
              </a:r>
              <a:endParaRPr lang="es-ES" sz="1400" b="1" dirty="0">
                <a:solidFill>
                  <a:srgbClr val="002060"/>
                </a:solidFill>
                <a:latin typeface="Arial Black" panose="020B0A04020102020204" pitchFamily="34" charset="0"/>
              </a:endParaRPr>
            </a:p>
          </p:txBody>
        </p:sp>
        <p:sp>
          <p:nvSpPr>
            <p:cNvPr id="20" name="CuadroTexto 19">
              <a:extLst>
                <a:ext uri="{FF2B5EF4-FFF2-40B4-BE49-F238E27FC236}">
                  <a16:creationId xmlns:a16="http://schemas.microsoft.com/office/drawing/2014/main" id="{D3317286-3E47-E644-C495-5D5CDAE5155F}"/>
                </a:ext>
              </a:extLst>
            </p:cNvPr>
            <p:cNvSpPr txBox="1"/>
            <p:nvPr/>
          </p:nvSpPr>
          <p:spPr>
            <a:xfrm>
              <a:off x="5456593" y="3076857"/>
              <a:ext cx="1444625" cy="400110"/>
            </a:xfrm>
            <a:prstGeom prst="rect">
              <a:avLst/>
            </a:prstGeom>
            <a:noFill/>
          </p:spPr>
          <p:txBody>
            <a:bodyPr wrap="square" rtlCol="0">
              <a:spAutoFit/>
            </a:bodyPr>
            <a:lstStyle/>
            <a:p>
              <a:pPr algn="ctr"/>
              <a:r>
                <a:rPr lang="es-ES_tradnl" sz="2000" b="1" dirty="0">
                  <a:solidFill>
                    <a:srgbClr val="002060"/>
                  </a:solidFill>
                  <a:latin typeface="+mj-lt"/>
                </a:rPr>
                <a:t>menos</a:t>
              </a:r>
              <a:endParaRPr lang="es-ES" sz="2000" b="1" dirty="0">
                <a:solidFill>
                  <a:srgbClr val="002060"/>
                </a:solidFill>
                <a:latin typeface="+mj-lt"/>
              </a:endParaRPr>
            </a:p>
          </p:txBody>
        </p:sp>
        <p:sp>
          <p:nvSpPr>
            <p:cNvPr id="21" name="CuadroTexto 20">
              <a:extLst>
                <a:ext uri="{FF2B5EF4-FFF2-40B4-BE49-F238E27FC236}">
                  <a16:creationId xmlns:a16="http://schemas.microsoft.com/office/drawing/2014/main" id="{DEE43B66-6D5B-FBB9-FCAB-B9CA7E4C43EE}"/>
                </a:ext>
              </a:extLst>
            </p:cNvPr>
            <p:cNvSpPr txBox="1"/>
            <p:nvPr/>
          </p:nvSpPr>
          <p:spPr>
            <a:xfrm>
              <a:off x="6917599" y="3076198"/>
              <a:ext cx="1444625" cy="400110"/>
            </a:xfrm>
            <a:prstGeom prst="rect">
              <a:avLst/>
            </a:prstGeom>
            <a:noFill/>
          </p:spPr>
          <p:txBody>
            <a:bodyPr wrap="square" rtlCol="0">
              <a:spAutoFit/>
            </a:bodyPr>
            <a:lstStyle/>
            <a:p>
              <a:pPr algn="ctr"/>
              <a:r>
                <a:rPr lang="es-ES_tradnl" sz="2000" b="1" dirty="0">
                  <a:solidFill>
                    <a:srgbClr val="002060"/>
                  </a:solidFill>
                  <a:latin typeface="+mj-lt"/>
                </a:rPr>
                <a:t>menos</a:t>
              </a:r>
              <a:endParaRPr lang="es-ES" sz="2000" b="1" dirty="0">
                <a:solidFill>
                  <a:srgbClr val="002060"/>
                </a:solidFill>
                <a:latin typeface="+mj-lt"/>
              </a:endParaRPr>
            </a:p>
          </p:txBody>
        </p:sp>
        <p:sp>
          <p:nvSpPr>
            <p:cNvPr id="22" name="CuadroTexto 21">
              <a:extLst>
                <a:ext uri="{FF2B5EF4-FFF2-40B4-BE49-F238E27FC236}">
                  <a16:creationId xmlns:a16="http://schemas.microsoft.com/office/drawing/2014/main" id="{2FBF5007-6E12-E027-4C0E-811A85F0B431}"/>
                </a:ext>
              </a:extLst>
            </p:cNvPr>
            <p:cNvSpPr txBox="1"/>
            <p:nvPr/>
          </p:nvSpPr>
          <p:spPr>
            <a:xfrm>
              <a:off x="8470624" y="3114108"/>
              <a:ext cx="1444625" cy="400110"/>
            </a:xfrm>
            <a:prstGeom prst="rect">
              <a:avLst/>
            </a:prstGeom>
            <a:noFill/>
          </p:spPr>
          <p:txBody>
            <a:bodyPr wrap="square" rtlCol="0">
              <a:spAutoFit/>
            </a:bodyPr>
            <a:lstStyle/>
            <a:p>
              <a:pPr algn="ctr"/>
              <a:r>
                <a:rPr lang="es-ES_tradnl" sz="2000" b="1" dirty="0">
                  <a:solidFill>
                    <a:srgbClr val="002060"/>
                  </a:solidFill>
                  <a:latin typeface="+mj-lt"/>
                </a:rPr>
                <a:t>más</a:t>
              </a:r>
              <a:endParaRPr lang="es-ES" sz="2000" b="1" dirty="0">
                <a:solidFill>
                  <a:srgbClr val="002060"/>
                </a:solidFill>
                <a:latin typeface="+mj-lt"/>
              </a:endParaRPr>
            </a:p>
          </p:txBody>
        </p:sp>
        <p:sp>
          <p:nvSpPr>
            <p:cNvPr id="23" name="CuadroTexto 22">
              <a:extLst>
                <a:ext uri="{FF2B5EF4-FFF2-40B4-BE49-F238E27FC236}">
                  <a16:creationId xmlns:a16="http://schemas.microsoft.com/office/drawing/2014/main" id="{7349C465-B835-DDF7-1C72-50866A4C09F9}"/>
                </a:ext>
              </a:extLst>
            </p:cNvPr>
            <p:cNvSpPr txBox="1"/>
            <p:nvPr/>
          </p:nvSpPr>
          <p:spPr>
            <a:xfrm>
              <a:off x="10008234" y="3118049"/>
              <a:ext cx="1444625" cy="400110"/>
            </a:xfrm>
            <a:prstGeom prst="rect">
              <a:avLst/>
            </a:prstGeom>
            <a:noFill/>
          </p:spPr>
          <p:txBody>
            <a:bodyPr wrap="square" rtlCol="0">
              <a:spAutoFit/>
            </a:bodyPr>
            <a:lstStyle/>
            <a:p>
              <a:pPr algn="ctr"/>
              <a:r>
                <a:rPr lang="es-ES_tradnl" sz="2000" b="1" dirty="0">
                  <a:solidFill>
                    <a:srgbClr val="002060"/>
                  </a:solidFill>
                  <a:latin typeface="+mj-lt"/>
                </a:rPr>
                <a:t>más</a:t>
              </a:r>
              <a:endParaRPr lang="es-ES" sz="2000" b="1" dirty="0">
                <a:solidFill>
                  <a:srgbClr val="002060"/>
                </a:solidFill>
                <a:latin typeface="+mj-lt"/>
              </a:endParaRPr>
            </a:p>
          </p:txBody>
        </p:sp>
        <p:sp>
          <p:nvSpPr>
            <p:cNvPr id="24" name="CuadroTexto 23">
              <a:extLst>
                <a:ext uri="{FF2B5EF4-FFF2-40B4-BE49-F238E27FC236}">
                  <a16:creationId xmlns:a16="http://schemas.microsoft.com/office/drawing/2014/main" id="{9810A210-6AE6-6C3B-0402-D19B0142C1BE}"/>
                </a:ext>
              </a:extLst>
            </p:cNvPr>
            <p:cNvSpPr txBox="1"/>
            <p:nvPr/>
          </p:nvSpPr>
          <p:spPr>
            <a:xfrm>
              <a:off x="5340090" y="3479394"/>
              <a:ext cx="1675656" cy="646331"/>
            </a:xfrm>
            <a:prstGeom prst="rect">
              <a:avLst/>
            </a:prstGeom>
            <a:noFill/>
          </p:spPr>
          <p:txBody>
            <a:bodyPr wrap="square" rtlCol="0">
              <a:spAutoFit/>
            </a:bodyPr>
            <a:lstStyle/>
            <a:p>
              <a:pPr algn="ctr"/>
              <a:r>
                <a:rPr lang="es-ES_tradnl" sz="1200" b="1" dirty="0">
                  <a:solidFill>
                    <a:srgbClr val="002060"/>
                  </a:solidFill>
                  <a:latin typeface="+mj-lt"/>
                </a:rPr>
                <a:t>de probabilidades de mantener el tratamiento</a:t>
              </a:r>
              <a:endParaRPr lang="es-ES" sz="1200" b="1" dirty="0">
                <a:solidFill>
                  <a:srgbClr val="002060"/>
                </a:solidFill>
                <a:latin typeface="+mj-lt"/>
              </a:endParaRPr>
            </a:p>
          </p:txBody>
        </p:sp>
        <p:sp>
          <p:nvSpPr>
            <p:cNvPr id="25" name="CuadroTexto 24">
              <a:extLst>
                <a:ext uri="{FF2B5EF4-FFF2-40B4-BE49-F238E27FC236}">
                  <a16:creationId xmlns:a16="http://schemas.microsoft.com/office/drawing/2014/main" id="{EF5321FD-3817-E32B-76AE-5DEAD3ADB004}"/>
                </a:ext>
              </a:extLst>
            </p:cNvPr>
            <p:cNvSpPr txBox="1"/>
            <p:nvPr/>
          </p:nvSpPr>
          <p:spPr>
            <a:xfrm>
              <a:off x="6879338" y="3480053"/>
              <a:ext cx="1554238" cy="646331"/>
            </a:xfrm>
            <a:prstGeom prst="rect">
              <a:avLst/>
            </a:prstGeom>
            <a:noFill/>
          </p:spPr>
          <p:txBody>
            <a:bodyPr wrap="square" rtlCol="0">
              <a:spAutoFit/>
            </a:bodyPr>
            <a:lstStyle/>
            <a:p>
              <a:pPr algn="ctr"/>
              <a:r>
                <a:rPr lang="es-ES_tradnl" sz="1200" b="1" dirty="0">
                  <a:solidFill>
                    <a:srgbClr val="002060"/>
                  </a:solidFill>
                  <a:latin typeface="+mj-lt"/>
                </a:rPr>
                <a:t>de probabilidades de alcanzar los objetivos c-LDL</a:t>
              </a:r>
              <a:endParaRPr lang="es-ES" sz="1200" b="1" dirty="0">
                <a:solidFill>
                  <a:srgbClr val="002060"/>
                </a:solidFill>
                <a:latin typeface="+mj-lt"/>
              </a:endParaRPr>
            </a:p>
          </p:txBody>
        </p:sp>
        <p:sp>
          <p:nvSpPr>
            <p:cNvPr id="26" name="CuadroTexto 25">
              <a:extLst>
                <a:ext uri="{FF2B5EF4-FFF2-40B4-BE49-F238E27FC236}">
                  <a16:creationId xmlns:a16="http://schemas.microsoft.com/office/drawing/2014/main" id="{34EE5EAD-4581-958F-74ED-611C5FDB8EAA}"/>
                </a:ext>
              </a:extLst>
            </p:cNvPr>
            <p:cNvSpPr txBox="1"/>
            <p:nvPr/>
          </p:nvSpPr>
          <p:spPr>
            <a:xfrm>
              <a:off x="8383814" y="3476308"/>
              <a:ext cx="1634056" cy="646331"/>
            </a:xfrm>
            <a:prstGeom prst="rect">
              <a:avLst/>
            </a:prstGeom>
            <a:noFill/>
          </p:spPr>
          <p:txBody>
            <a:bodyPr wrap="square" rtlCol="0">
              <a:spAutoFit/>
            </a:bodyPr>
            <a:lstStyle/>
            <a:p>
              <a:pPr algn="ctr"/>
              <a:r>
                <a:rPr lang="es-ES_tradnl" sz="1200" b="1" dirty="0">
                  <a:solidFill>
                    <a:srgbClr val="002060"/>
                  </a:solidFill>
                  <a:latin typeface="+mj-lt"/>
                </a:rPr>
                <a:t>de probabilidades de sufrir episodios cardiovasculares</a:t>
              </a:r>
              <a:endParaRPr lang="es-ES" sz="1200" b="1" dirty="0">
                <a:solidFill>
                  <a:srgbClr val="002060"/>
                </a:solidFill>
                <a:latin typeface="+mj-lt"/>
              </a:endParaRPr>
            </a:p>
          </p:txBody>
        </p:sp>
        <p:sp>
          <p:nvSpPr>
            <p:cNvPr id="27" name="CuadroTexto 26">
              <a:extLst>
                <a:ext uri="{FF2B5EF4-FFF2-40B4-BE49-F238E27FC236}">
                  <a16:creationId xmlns:a16="http://schemas.microsoft.com/office/drawing/2014/main" id="{12BA62F1-64F6-0E2C-BDCE-4E5AB7C93888}"/>
                </a:ext>
              </a:extLst>
            </p:cNvPr>
            <p:cNvSpPr txBox="1"/>
            <p:nvPr/>
          </p:nvSpPr>
          <p:spPr>
            <a:xfrm>
              <a:off x="9876092" y="3478662"/>
              <a:ext cx="1634056" cy="646331"/>
            </a:xfrm>
            <a:prstGeom prst="rect">
              <a:avLst/>
            </a:prstGeom>
            <a:noFill/>
          </p:spPr>
          <p:txBody>
            <a:bodyPr wrap="square" rtlCol="0">
              <a:spAutoFit/>
            </a:bodyPr>
            <a:lstStyle/>
            <a:p>
              <a:pPr algn="ctr"/>
              <a:r>
                <a:rPr lang="es-ES_tradnl" sz="1200" b="1" dirty="0">
                  <a:solidFill>
                    <a:srgbClr val="002060"/>
                  </a:solidFill>
                  <a:latin typeface="+mj-lt"/>
                </a:rPr>
                <a:t>de probabilidades de morir por cualquier causa</a:t>
              </a:r>
              <a:endParaRPr lang="es-ES" sz="1200" b="1" dirty="0">
                <a:solidFill>
                  <a:srgbClr val="002060"/>
                </a:solidFill>
                <a:latin typeface="+mj-lt"/>
              </a:endParaRPr>
            </a:p>
          </p:txBody>
        </p:sp>
      </p:grpSp>
      <p:pic>
        <p:nvPicPr>
          <p:cNvPr id="30" name="Imagen 29" descr="Icono&#10;&#10;El contenido generado por IA puede ser incorrecto.">
            <a:extLst>
              <a:ext uri="{FF2B5EF4-FFF2-40B4-BE49-F238E27FC236}">
                <a16:creationId xmlns:a16="http://schemas.microsoft.com/office/drawing/2014/main" id="{F4351877-78D0-07A4-4CCE-834CE0769839}"/>
              </a:ext>
            </a:extLst>
          </p:cNvPr>
          <p:cNvPicPr>
            <a:picLocks noChangeAspect="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207919" y="4709773"/>
            <a:ext cx="545627" cy="545627"/>
          </a:xfrm>
          <a:prstGeom prst="rect">
            <a:avLst/>
          </a:prstGeom>
        </p:spPr>
      </p:pic>
      <p:grpSp>
        <p:nvGrpSpPr>
          <p:cNvPr id="32" name="Grupo 31">
            <a:extLst>
              <a:ext uri="{FF2B5EF4-FFF2-40B4-BE49-F238E27FC236}">
                <a16:creationId xmlns:a16="http://schemas.microsoft.com/office/drawing/2014/main" id="{6405FEF0-A8F4-E8C3-8894-099125ABCCE5}"/>
              </a:ext>
            </a:extLst>
          </p:cNvPr>
          <p:cNvGrpSpPr/>
          <p:nvPr/>
        </p:nvGrpSpPr>
        <p:grpSpPr>
          <a:xfrm>
            <a:off x="0" y="1"/>
            <a:ext cx="3435350" cy="654050"/>
            <a:chOff x="1207919" y="3436464"/>
            <a:chExt cx="3435350" cy="654050"/>
          </a:xfrm>
        </p:grpSpPr>
        <p:sp>
          <p:nvSpPr>
            <p:cNvPr id="33" name="Rectángulo: una sola esquina redondeada 32">
              <a:extLst>
                <a:ext uri="{FF2B5EF4-FFF2-40B4-BE49-F238E27FC236}">
                  <a16:creationId xmlns:a16="http://schemas.microsoft.com/office/drawing/2014/main" id="{51A9D1BB-B735-0EBB-7951-A651878CF9ED}"/>
                </a:ext>
              </a:extLst>
            </p:cNvPr>
            <p:cNvSpPr/>
            <p:nvPr/>
          </p:nvSpPr>
          <p:spPr>
            <a:xfrm rot="10800000" flipH="1">
              <a:off x="1207919" y="3436464"/>
              <a:ext cx="3435350" cy="654050"/>
            </a:xfrm>
            <a:prstGeom prst="round1Rect">
              <a:avLst>
                <a:gd name="adj" fmla="val 50000"/>
              </a:avLst>
            </a:prstGeom>
          </p:spPr>
          <p:style>
            <a:lnRef idx="2">
              <a:schemeClr val="accent1">
                <a:shade val="15000"/>
              </a:schemeClr>
            </a:lnRef>
            <a:fillRef idx="1">
              <a:schemeClr val="accent1"/>
            </a:fillRef>
            <a:effectRef idx="0">
              <a:schemeClr val="accent1"/>
            </a:effectRef>
            <a:fontRef idx="minor">
              <a:schemeClr val="lt1"/>
            </a:fontRef>
          </p:style>
          <p:txBody>
            <a:bodyPr anchor="ctr">
              <a:normAutofit/>
            </a:bodyPr>
            <a:lstStyle/>
            <a:p>
              <a:pPr defTabSz="1219139">
                <a:lnSpc>
                  <a:spcPct val="90000"/>
                </a:lnSpc>
                <a:spcBef>
                  <a:spcPts val="1333"/>
                </a:spcBef>
                <a:defRPr/>
              </a:pPr>
              <a:endParaRPr lang="es-ES" sz="2933" b="1" dirty="0">
                <a:solidFill>
                  <a:srgbClr val="00F0BE"/>
                </a:solidFill>
                <a:latin typeface="Arial" pitchFamily="34" charset="0"/>
                <a:cs typeface="Arial" pitchFamily="34" charset="0"/>
              </a:endParaRPr>
            </a:p>
          </p:txBody>
        </p:sp>
        <p:sp>
          <p:nvSpPr>
            <p:cNvPr id="34" name="CuadroTexto 33">
              <a:extLst>
                <a:ext uri="{FF2B5EF4-FFF2-40B4-BE49-F238E27FC236}">
                  <a16:creationId xmlns:a16="http://schemas.microsoft.com/office/drawing/2014/main" id="{27F14601-0A2F-00F0-8136-BF6E3763CEDB}"/>
                </a:ext>
              </a:extLst>
            </p:cNvPr>
            <p:cNvSpPr txBox="1"/>
            <p:nvPr/>
          </p:nvSpPr>
          <p:spPr>
            <a:xfrm>
              <a:off x="1293813" y="3510354"/>
              <a:ext cx="2998787" cy="498534"/>
            </a:xfrm>
            <a:prstGeom prst="rect">
              <a:avLst/>
            </a:prstGeom>
            <a:noFill/>
          </p:spPr>
          <p:txBody>
            <a:bodyPr wrap="square">
              <a:spAutoFit/>
            </a:bodyPr>
            <a:lstStyle/>
            <a:p>
              <a:pPr marL="0" marR="0" lvl="0" indent="0" algn="l" defTabSz="1219139" rtl="0" eaLnBrk="1" fontAlgn="auto" latinLnBrk="0" hangingPunct="1">
                <a:lnSpc>
                  <a:spcPct val="90000"/>
                </a:lnSpc>
                <a:spcBef>
                  <a:spcPts val="1333"/>
                </a:spcBef>
                <a:spcAft>
                  <a:spcPts val="0"/>
                </a:spcAft>
                <a:buClrTx/>
                <a:buSzTx/>
                <a:buFontTx/>
                <a:buNone/>
                <a:tabLst/>
                <a:defRPr/>
              </a:pPr>
              <a:r>
                <a:rPr kumimoji="0" lang="es-ES" sz="2933" b="1" i="0" u="none" strike="noStrike" kern="1200" cap="none" spc="0" normalizeH="0" baseline="0" noProof="0" dirty="0">
                  <a:ln>
                    <a:noFill/>
                  </a:ln>
                  <a:solidFill>
                    <a:srgbClr val="00F0BE"/>
                  </a:solidFill>
                  <a:effectLst/>
                  <a:uLnTx/>
                  <a:uFillTx/>
                  <a:latin typeface="Arial" pitchFamily="34" charset="0"/>
                  <a:ea typeface="+mn-ea"/>
                  <a:cs typeface="Arial" pitchFamily="34" charset="0"/>
                </a:rPr>
                <a:t>Valor de marca</a:t>
              </a:r>
            </a:p>
          </p:txBody>
        </p:sp>
      </p:grpSp>
      <p:pic>
        <p:nvPicPr>
          <p:cNvPr id="38" name="Imagen 37">
            <a:extLst>
              <a:ext uri="{FF2B5EF4-FFF2-40B4-BE49-F238E27FC236}">
                <a16:creationId xmlns:a16="http://schemas.microsoft.com/office/drawing/2014/main" id="{0294770A-8725-E5BE-A13F-113E4632E851}"/>
              </a:ext>
            </a:extLst>
          </p:cNvPr>
          <p:cNvPicPr>
            <a:picLocks noChangeAspect="1"/>
          </p:cNvPicPr>
          <p:nvPr/>
        </p:nvPicPr>
        <p:blipFill>
          <a:blip r:embed="rId2"/>
          <a:srcRect l="56611" r="27254"/>
          <a:stretch>
            <a:fillRect/>
          </a:stretch>
        </p:blipFill>
        <p:spPr>
          <a:xfrm>
            <a:off x="8776701" y="1922902"/>
            <a:ext cx="891353" cy="886612"/>
          </a:xfrm>
          <a:prstGeom prst="rect">
            <a:avLst/>
          </a:prstGeom>
        </p:spPr>
      </p:pic>
      <p:pic>
        <p:nvPicPr>
          <p:cNvPr id="39" name="Imagen 38">
            <a:extLst>
              <a:ext uri="{FF2B5EF4-FFF2-40B4-BE49-F238E27FC236}">
                <a16:creationId xmlns:a16="http://schemas.microsoft.com/office/drawing/2014/main" id="{47CF7EF3-E5A7-C752-729B-E6C9E7287D46}"/>
              </a:ext>
            </a:extLst>
          </p:cNvPr>
          <p:cNvPicPr>
            <a:picLocks noChangeAspect="1"/>
          </p:cNvPicPr>
          <p:nvPr/>
        </p:nvPicPr>
        <p:blipFill>
          <a:blip r:embed="rId2"/>
          <a:srcRect l="28747" t="-1455" r="50585" b="1455"/>
          <a:stretch>
            <a:fillRect/>
          </a:stretch>
        </p:blipFill>
        <p:spPr>
          <a:xfrm>
            <a:off x="7132647" y="1922902"/>
            <a:ext cx="1141817" cy="886612"/>
          </a:xfrm>
          <a:prstGeom prst="rect">
            <a:avLst/>
          </a:prstGeom>
        </p:spPr>
      </p:pic>
      <p:pic>
        <p:nvPicPr>
          <p:cNvPr id="40" name="Imagen 39">
            <a:extLst>
              <a:ext uri="{FF2B5EF4-FFF2-40B4-BE49-F238E27FC236}">
                <a16:creationId xmlns:a16="http://schemas.microsoft.com/office/drawing/2014/main" id="{A0977CD4-8A18-6E70-2432-352CB6A6D75F}"/>
              </a:ext>
            </a:extLst>
          </p:cNvPr>
          <p:cNvPicPr>
            <a:picLocks noChangeAspect="1"/>
          </p:cNvPicPr>
          <p:nvPr/>
        </p:nvPicPr>
        <p:blipFill>
          <a:blip r:embed="rId2"/>
          <a:srcRect l="83865"/>
          <a:stretch>
            <a:fillRect/>
          </a:stretch>
        </p:blipFill>
        <p:spPr>
          <a:xfrm>
            <a:off x="10405836" y="1919458"/>
            <a:ext cx="879037" cy="874362"/>
          </a:xfrm>
          <a:prstGeom prst="rect">
            <a:avLst/>
          </a:prstGeom>
        </p:spPr>
      </p:pic>
    </p:spTree>
    <p:extLst>
      <p:ext uri="{BB962C8B-B14F-4D97-AF65-F5344CB8AC3E}">
        <p14:creationId xmlns:p14="http://schemas.microsoft.com/office/powerpoint/2010/main" val="314972987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0C5695-E0EC-0206-32A2-64DC555D8171}"/>
            </a:ext>
          </a:extLst>
        </p:cNvPr>
        <p:cNvGrpSpPr/>
        <p:nvPr/>
      </p:nvGrpSpPr>
      <p:grpSpPr>
        <a:xfrm>
          <a:off x="0" y="0"/>
          <a:ext cx="0" cy="0"/>
          <a:chOff x="0" y="0"/>
          <a:chExt cx="0" cy="0"/>
        </a:xfrm>
      </p:grpSpPr>
      <p:grpSp>
        <p:nvGrpSpPr>
          <p:cNvPr id="47" name="Grupo 46">
            <a:extLst>
              <a:ext uri="{FF2B5EF4-FFF2-40B4-BE49-F238E27FC236}">
                <a16:creationId xmlns:a16="http://schemas.microsoft.com/office/drawing/2014/main" id="{3D73C5C7-AC1C-8545-AA2D-3C1336AA3433}"/>
              </a:ext>
            </a:extLst>
          </p:cNvPr>
          <p:cNvGrpSpPr/>
          <p:nvPr/>
        </p:nvGrpSpPr>
        <p:grpSpPr>
          <a:xfrm>
            <a:off x="409315" y="1638118"/>
            <a:ext cx="5178686" cy="2906398"/>
            <a:chOff x="6520762" y="2032462"/>
            <a:chExt cx="4220523" cy="1563556"/>
          </a:xfrm>
        </p:grpSpPr>
        <p:sp>
          <p:nvSpPr>
            <p:cNvPr id="48" name="Rectángulo: esquinas redondeadas 47">
              <a:extLst>
                <a:ext uri="{FF2B5EF4-FFF2-40B4-BE49-F238E27FC236}">
                  <a16:creationId xmlns:a16="http://schemas.microsoft.com/office/drawing/2014/main" id="{C5DE66C4-5D60-291C-3A71-0D3E479F2BFE}"/>
                </a:ext>
              </a:extLst>
            </p:cNvPr>
            <p:cNvSpPr/>
            <p:nvPr/>
          </p:nvSpPr>
          <p:spPr>
            <a:xfrm>
              <a:off x="6520762" y="2032462"/>
              <a:ext cx="4220523" cy="1563556"/>
            </a:xfrm>
            <a:prstGeom prst="roundRect">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0" name="CuadroTexto 49">
              <a:extLst>
                <a:ext uri="{FF2B5EF4-FFF2-40B4-BE49-F238E27FC236}">
                  <a16:creationId xmlns:a16="http://schemas.microsoft.com/office/drawing/2014/main" id="{7553D5A2-7149-FF18-A866-775309D309D2}"/>
                </a:ext>
              </a:extLst>
            </p:cNvPr>
            <p:cNvSpPr txBox="1"/>
            <p:nvPr/>
          </p:nvSpPr>
          <p:spPr>
            <a:xfrm>
              <a:off x="6601188" y="2085300"/>
              <a:ext cx="3854380" cy="307860"/>
            </a:xfrm>
            <a:prstGeom prst="rect">
              <a:avLst/>
            </a:prstGeom>
            <a:noFill/>
          </p:spPr>
          <p:txBody>
            <a:bodyPr wrap="square" rtlCol="0">
              <a:spAutoFit/>
            </a:bodyPr>
            <a:lstStyle/>
            <a:p>
              <a:r>
                <a:rPr lang="es-ES_tradnl" sz="1600" b="1" dirty="0">
                  <a:solidFill>
                    <a:srgbClr val="002060"/>
                  </a:solidFill>
                </a:rPr>
                <a:t>Tratamiento de la hipercolesterolemia </a:t>
              </a:r>
              <a:br>
                <a:rPr lang="es-ES_tradnl" sz="1600" b="1" dirty="0">
                  <a:solidFill>
                    <a:srgbClr val="002060"/>
                  </a:solidFill>
                </a:rPr>
              </a:br>
              <a:r>
                <a:rPr lang="es-ES_tradnl" sz="1400" b="1" dirty="0">
                  <a:solidFill>
                    <a:srgbClr val="002060"/>
                  </a:solidFill>
                </a:rPr>
                <a:t>(sola o en combinación con </a:t>
              </a:r>
              <a:r>
                <a:rPr lang="es-ES_tradnl" sz="1400" b="1" dirty="0" err="1">
                  <a:solidFill>
                    <a:srgbClr val="002060"/>
                  </a:solidFill>
                </a:rPr>
                <a:t>ezetimiba</a:t>
              </a:r>
              <a:r>
                <a:rPr lang="es-ES_tradnl" sz="1400" b="1" dirty="0">
                  <a:solidFill>
                    <a:srgbClr val="002060"/>
                  </a:solidFill>
                </a:rPr>
                <a:t>)</a:t>
              </a:r>
              <a:endParaRPr lang="es-ES" sz="1600" b="1" dirty="0">
                <a:solidFill>
                  <a:srgbClr val="002060"/>
                </a:solidFill>
              </a:endParaRPr>
            </a:p>
          </p:txBody>
        </p:sp>
        <p:sp>
          <p:nvSpPr>
            <p:cNvPr id="49" name="CuadroTexto 48">
              <a:extLst>
                <a:ext uri="{FF2B5EF4-FFF2-40B4-BE49-F238E27FC236}">
                  <a16:creationId xmlns:a16="http://schemas.microsoft.com/office/drawing/2014/main" id="{621D5BE5-3F24-FE58-33EF-A788BF68EF16}"/>
                </a:ext>
              </a:extLst>
            </p:cNvPr>
            <p:cNvSpPr txBox="1"/>
            <p:nvPr/>
          </p:nvSpPr>
          <p:spPr>
            <a:xfrm>
              <a:off x="6601189" y="2397032"/>
              <a:ext cx="1505959" cy="932220"/>
            </a:xfrm>
            <a:prstGeom prst="rect">
              <a:avLst/>
            </a:prstGeom>
            <a:noFill/>
          </p:spPr>
          <p:txBody>
            <a:bodyPr wrap="square" rtlCol="0">
              <a:spAutoFit/>
            </a:bodyPr>
            <a:lstStyle/>
            <a:p>
              <a:pPr>
                <a:lnSpc>
                  <a:spcPct val="110000"/>
                </a:lnSpc>
              </a:pPr>
              <a:r>
                <a:rPr lang="es-ES_tradnl" sz="1400" dirty="0">
                  <a:solidFill>
                    <a:srgbClr val="002060"/>
                  </a:solidFill>
                </a:rPr>
                <a:t>Estudios que evalúan la potencia y/o efecto de </a:t>
              </a:r>
              <a:r>
                <a:rPr lang="es-ES_tradnl" sz="1400" dirty="0" err="1">
                  <a:solidFill>
                    <a:srgbClr val="002060"/>
                  </a:solidFill>
                </a:rPr>
                <a:t>rosu</a:t>
              </a:r>
              <a:r>
                <a:rPr lang="es-ES_tradnl" sz="1400" dirty="0">
                  <a:solidFill>
                    <a:srgbClr val="002060"/>
                  </a:solidFill>
                </a:rPr>
                <a:t> vs otros comparadores en la </a:t>
              </a:r>
              <a:r>
                <a:rPr lang="es-ES_tradnl" sz="1400" b="1" dirty="0">
                  <a:solidFill>
                    <a:srgbClr val="002060"/>
                  </a:solidFill>
                </a:rPr>
                <a:t>disminución de lipoproteínas, niveles de c-LDL…</a:t>
              </a:r>
              <a:endParaRPr lang="es-ES" sz="1400" dirty="0">
                <a:solidFill>
                  <a:srgbClr val="002060"/>
                </a:solidFill>
              </a:endParaRPr>
            </a:p>
          </p:txBody>
        </p:sp>
      </p:grpSp>
      <p:grpSp>
        <p:nvGrpSpPr>
          <p:cNvPr id="43" name="Grupo 42">
            <a:extLst>
              <a:ext uri="{FF2B5EF4-FFF2-40B4-BE49-F238E27FC236}">
                <a16:creationId xmlns:a16="http://schemas.microsoft.com/office/drawing/2014/main" id="{56B23E9F-AED6-0540-3B3F-7C24FF83796B}"/>
              </a:ext>
            </a:extLst>
          </p:cNvPr>
          <p:cNvGrpSpPr/>
          <p:nvPr/>
        </p:nvGrpSpPr>
        <p:grpSpPr>
          <a:xfrm>
            <a:off x="7363536" y="4384222"/>
            <a:ext cx="4507931" cy="1476038"/>
            <a:chOff x="6604000" y="2035178"/>
            <a:chExt cx="4507931" cy="1563556"/>
          </a:xfrm>
        </p:grpSpPr>
        <p:sp>
          <p:nvSpPr>
            <p:cNvPr id="44" name="Rectángulo: esquinas redondeadas 43">
              <a:extLst>
                <a:ext uri="{FF2B5EF4-FFF2-40B4-BE49-F238E27FC236}">
                  <a16:creationId xmlns:a16="http://schemas.microsoft.com/office/drawing/2014/main" id="{E570DE9D-E96C-6B4F-DA3C-94E27BAB53B6}"/>
                </a:ext>
              </a:extLst>
            </p:cNvPr>
            <p:cNvSpPr/>
            <p:nvPr/>
          </p:nvSpPr>
          <p:spPr>
            <a:xfrm>
              <a:off x="6604000" y="2035178"/>
              <a:ext cx="4220523" cy="1563556"/>
            </a:xfrm>
            <a:prstGeom prst="roundRect">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5" name="CuadroTexto 44">
              <a:extLst>
                <a:ext uri="{FF2B5EF4-FFF2-40B4-BE49-F238E27FC236}">
                  <a16:creationId xmlns:a16="http://schemas.microsoft.com/office/drawing/2014/main" id="{60234A6E-A9F2-0AB0-1427-E3299796A34B}"/>
                </a:ext>
              </a:extLst>
            </p:cNvPr>
            <p:cNvSpPr txBox="1"/>
            <p:nvPr/>
          </p:nvSpPr>
          <p:spPr>
            <a:xfrm>
              <a:off x="7752785" y="2688614"/>
              <a:ext cx="3157838" cy="831433"/>
            </a:xfrm>
            <a:prstGeom prst="rect">
              <a:avLst/>
            </a:prstGeom>
            <a:noFill/>
          </p:spPr>
          <p:txBody>
            <a:bodyPr wrap="square" rtlCol="0">
              <a:spAutoFit/>
            </a:bodyPr>
            <a:lstStyle/>
            <a:p>
              <a:pPr>
                <a:lnSpc>
                  <a:spcPct val="110000"/>
                </a:lnSpc>
              </a:pPr>
              <a:r>
                <a:rPr lang="es-ES_tradnl" sz="1400" dirty="0">
                  <a:solidFill>
                    <a:srgbClr val="002060"/>
                  </a:solidFill>
                </a:rPr>
                <a:t>Estudios que evalúan el efecto de </a:t>
              </a:r>
              <a:r>
                <a:rPr lang="es-ES_tradnl" sz="1400" dirty="0" err="1">
                  <a:solidFill>
                    <a:srgbClr val="002060"/>
                  </a:solidFill>
                </a:rPr>
                <a:t>rosu</a:t>
              </a:r>
              <a:r>
                <a:rPr lang="es-ES_tradnl" sz="1400" dirty="0">
                  <a:solidFill>
                    <a:srgbClr val="002060"/>
                  </a:solidFill>
                </a:rPr>
                <a:t> vs placebo en eventos clínicos CV, </a:t>
              </a:r>
              <a:r>
                <a:rPr lang="es-ES_tradnl" sz="1400" dirty="0" err="1">
                  <a:solidFill>
                    <a:srgbClr val="002060"/>
                  </a:solidFill>
                </a:rPr>
                <a:t>morbi</a:t>
              </a:r>
              <a:r>
                <a:rPr lang="es-ES_tradnl" sz="1400" dirty="0">
                  <a:solidFill>
                    <a:srgbClr val="002060"/>
                  </a:solidFill>
                </a:rPr>
                <a:t>-mortalidad, </a:t>
              </a:r>
              <a:r>
                <a:rPr lang="es-ES_tradnl" sz="1400" dirty="0" err="1">
                  <a:solidFill>
                    <a:srgbClr val="002060"/>
                  </a:solidFill>
                </a:rPr>
                <a:t>etc</a:t>
              </a:r>
              <a:r>
                <a:rPr lang="es-ES_tradnl" sz="1400" dirty="0">
                  <a:solidFill>
                    <a:srgbClr val="002060"/>
                  </a:solidFill>
                </a:rPr>
                <a:t>…</a:t>
              </a:r>
              <a:endParaRPr lang="es-ES" sz="1400" dirty="0">
                <a:solidFill>
                  <a:srgbClr val="002060"/>
                </a:solidFill>
              </a:endParaRPr>
            </a:p>
          </p:txBody>
        </p:sp>
        <p:sp>
          <p:nvSpPr>
            <p:cNvPr id="46" name="CuadroTexto 45">
              <a:extLst>
                <a:ext uri="{FF2B5EF4-FFF2-40B4-BE49-F238E27FC236}">
                  <a16:creationId xmlns:a16="http://schemas.microsoft.com/office/drawing/2014/main" id="{32D33AA3-FB2F-3373-D922-2D3AC7A08063}"/>
                </a:ext>
              </a:extLst>
            </p:cNvPr>
            <p:cNvSpPr txBox="1"/>
            <p:nvPr/>
          </p:nvSpPr>
          <p:spPr>
            <a:xfrm>
              <a:off x="7954093" y="2103839"/>
              <a:ext cx="3157838" cy="584775"/>
            </a:xfrm>
            <a:prstGeom prst="rect">
              <a:avLst/>
            </a:prstGeom>
            <a:noFill/>
          </p:spPr>
          <p:txBody>
            <a:bodyPr wrap="square" rtlCol="0">
              <a:spAutoFit/>
            </a:bodyPr>
            <a:lstStyle/>
            <a:p>
              <a:r>
                <a:rPr lang="es-ES_tradnl" sz="1600" b="1" dirty="0" err="1">
                  <a:solidFill>
                    <a:srgbClr val="002060"/>
                  </a:solidFill>
                </a:rPr>
                <a:t>Morbi</a:t>
              </a:r>
              <a:r>
                <a:rPr lang="es-ES_tradnl" sz="1600" b="1" dirty="0">
                  <a:solidFill>
                    <a:srgbClr val="002060"/>
                  </a:solidFill>
                </a:rPr>
                <a:t>-mortalidad cardiovascular</a:t>
              </a:r>
              <a:endParaRPr lang="es-ES" sz="1600" b="1" dirty="0">
                <a:solidFill>
                  <a:srgbClr val="002060"/>
                </a:solidFill>
              </a:endParaRPr>
            </a:p>
          </p:txBody>
        </p:sp>
      </p:grpSp>
      <p:grpSp>
        <p:nvGrpSpPr>
          <p:cNvPr id="42" name="Grupo 41">
            <a:extLst>
              <a:ext uri="{FF2B5EF4-FFF2-40B4-BE49-F238E27FC236}">
                <a16:creationId xmlns:a16="http://schemas.microsoft.com/office/drawing/2014/main" id="{8920975B-AF84-E3EE-6066-254DE0AF06BE}"/>
              </a:ext>
            </a:extLst>
          </p:cNvPr>
          <p:cNvGrpSpPr/>
          <p:nvPr/>
        </p:nvGrpSpPr>
        <p:grpSpPr>
          <a:xfrm>
            <a:off x="7170434" y="1910177"/>
            <a:ext cx="4513565" cy="1636300"/>
            <a:chOff x="6604000" y="2035178"/>
            <a:chExt cx="4513565" cy="1636300"/>
          </a:xfrm>
        </p:grpSpPr>
        <p:sp>
          <p:nvSpPr>
            <p:cNvPr id="38" name="Rectángulo: esquinas redondeadas 37">
              <a:extLst>
                <a:ext uri="{FF2B5EF4-FFF2-40B4-BE49-F238E27FC236}">
                  <a16:creationId xmlns:a16="http://schemas.microsoft.com/office/drawing/2014/main" id="{0F7B9AC0-78D8-CC3A-D7FC-5C7BF09AEC56}"/>
                </a:ext>
              </a:extLst>
            </p:cNvPr>
            <p:cNvSpPr/>
            <p:nvPr/>
          </p:nvSpPr>
          <p:spPr>
            <a:xfrm>
              <a:off x="6604000" y="2035178"/>
              <a:ext cx="4376096" cy="1636300"/>
            </a:xfrm>
            <a:prstGeom prst="roundRect">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CuadroTexto 39">
              <a:extLst>
                <a:ext uri="{FF2B5EF4-FFF2-40B4-BE49-F238E27FC236}">
                  <a16:creationId xmlns:a16="http://schemas.microsoft.com/office/drawing/2014/main" id="{B76D0E3B-7DF0-7B1C-6BA8-8AAB35187031}"/>
                </a:ext>
              </a:extLst>
            </p:cNvPr>
            <p:cNvSpPr txBox="1"/>
            <p:nvPr/>
          </p:nvSpPr>
          <p:spPr>
            <a:xfrm>
              <a:off x="7908358" y="2511054"/>
              <a:ext cx="2931092" cy="1021883"/>
            </a:xfrm>
            <a:prstGeom prst="rect">
              <a:avLst/>
            </a:prstGeom>
            <a:noFill/>
          </p:spPr>
          <p:txBody>
            <a:bodyPr wrap="square" rtlCol="0">
              <a:spAutoFit/>
            </a:bodyPr>
            <a:lstStyle/>
            <a:p>
              <a:pPr>
                <a:lnSpc>
                  <a:spcPct val="110000"/>
                </a:lnSpc>
              </a:pPr>
              <a:r>
                <a:rPr lang="es-ES_tradnl" sz="1400" dirty="0">
                  <a:solidFill>
                    <a:srgbClr val="002060"/>
                  </a:solidFill>
                </a:rPr>
                <a:t>Estudios que evalúan el efecto de </a:t>
              </a:r>
              <a:r>
                <a:rPr lang="es-ES_tradnl" sz="1400" dirty="0" err="1">
                  <a:solidFill>
                    <a:srgbClr val="002060"/>
                  </a:solidFill>
                </a:rPr>
                <a:t>rosu</a:t>
              </a:r>
              <a:r>
                <a:rPr lang="es-ES_tradnl" sz="1400" dirty="0">
                  <a:solidFill>
                    <a:srgbClr val="002060"/>
                  </a:solidFill>
                </a:rPr>
                <a:t> vs otros comparadores solo o en combinación en disminución de placa de ateroma</a:t>
              </a:r>
              <a:endParaRPr lang="es-ES" sz="1400" dirty="0">
                <a:solidFill>
                  <a:srgbClr val="002060"/>
                </a:solidFill>
              </a:endParaRPr>
            </a:p>
          </p:txBody>
        </p:sp>
        <p:sp>
          <p:nvSpPr>
            <p:cNvPr id="41" name="CuadroTexto 40">
              <a:extLst>
                <a:ext uri="{FF2B5EF4-FFF2-40B4-BE49-F238E27FC236}">
                  <a16:creationId xmlns:a16="http://schemas.microsoft.com/office/drawing/2014/main" id="{922DB974-1C2C-BE58-4712-5A7A2B76D416}"/>
                </a:ext>
              </a:extLst>
            </p:cNvPr>
            <p:cNvSpPr txBox="1"/>
            <p:nvPr/>
          </p:nvSpPr>
          <p:spPr>
            <a:xfrm>
              <a:off x="6759573" y="2103839"/>
              <a:ext cx="4357992" cy="338554"/>
            </a:xfrm>
            <a:prstGeom prst="rect">
              <a:avLst/>
            </a:prstGeom>
            <a:noFill/>
          </p:spPr>
          <p:txBody>
            <a:bodyPr wrap="square" rtlCol="0">
              <a:spAutoFit/>
            </a:bodyPr>
            <a:lstStyle/>
            <a:p>
              <a:r>
                <a:rPr lang="es-ES_tradnl" sz="1600" b="1" dirty="0">
                  <a:solidFill>
                    <a:srgbClr val="002060"/>
                  </a:solidFill>
                </a:rPr>
                <a:t>Tratamiento de la aterosclerosis</a:t>
              </a:r>
              <a:endParaRPr lang="es-ES" sz="1600" b="1" dirty="0">
                <a:solidFill>
                  <a:srgbClr val="002060"/>
                </a:solidFill>
              </a:endParaRPr>
            </a:p>
          </p:txBody>
        </p:sp>
      </p:grpSp>
      <p:sp>
        <p:nvSpPr>
          <p:cNvPr id="8" name="Rectángulo 7">
            <a:extLst>
              <a:ext uri="{FF2B5EF4-FFF2-40B4-BE49-F238E27FC236}">
                <a16:creationId xmlns:a16="http://schemas.microsoft.com/office/drawing/2014/main" id="{3B3FCDB2-23A1-E625-774C-AA920BAC373F}"/>
              </a:ext>
            </a:extLst>
          </p:cNvPr>
          <p:cNvSpPr/>
          <p:nvPr/>
        </p:nvSpPr>
        <p:spPr>
          <a:xfrm>
            <a:off x="0" y="5334000"/>
            <a:ext cx="2139950" cy="15239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 name="CuadroTexto 2">
            <a:extLst>
              <a:ext uri="{FF2B5EF4-FFF2-40B4-BE49-F238E27FC236}">
                <a16:creationId xmlns:a16="http://schemas.microsoft.com/office/drawing/2014/main" id="{B5746A2F-65CC-FDFB-514F-B932C14550E7}"/>
              </a:ext>
            </a:extLst>
          </p:cNvPr>
          <p:cNvSpPr txBox="1"/>
          <p:nvPr/>
        </p:nvSpPr>
        <p:spPr>
          <a:xfrm>
            <a:off x="508000" y="816115"/>
            <a:ext cx="4357992" cy="707886"/>
          </a:xfrm>
          <a:prstGeom prst="rect">
            <a:avLst/>
          </a:prstGeom>
          <a:noFill/>
        </p:spPr>
        <p:txBody>
          <a:bodyPr wrap="square" rtlCol="0">
            <a:spAutoFit/>
          </a:bodyPr>
          <a:lstStyle/>
          <a:p>
            <a:r>
              <a:rPr lang="es-ES_tradnl" sz="2000" b="1" dirty="0">
                <a:solidFill>
                  <a:srgbClr val="002060"/>
                </a:solidFill>
              </a:rPr>
              <a:t>Universo de la evidencia con rosuvastatina: Programa GALAXY</a:t>
            </a:r>
            <a:endParaRPr lang="es-ES" sz="2000" b="1" dirty="0">
              <a:solidFill>
                <a:srgbClr val="002060"/>
              </a:solidFill>
            </a:endParaRPr>
          </a:p>
        </p:txBody>
      </p:sp>
      <p:sp>
        <p:nvSpPr>
          <p:cNvPr id="4" name="CuadroTexto 3">
            <a:extLst>
              <a:ext uri="{FF2B5EF4-FFF2-40B4-BE49-F238E27FC236}">
                <a16:creationId xmlns:a16="http://schemas.microsoft.com/office/drawing/2014/main" id="{F41546EB-C3A1-EB02-1BF7-A1F0CAC35AFB}"/>
              </a:ext>
            </a:extLst>
          </p:cNvPr>
          <p:cNvSpPr txBox="1"/>
          <p:nvPr/>
        </p:nvSpPr>
        <p:spPr>
          <a:xfrm>
            <a:off x="5837542" y="754285"/>
            <a:ext cx="5071758" cy="883832"/>
          </a:xfrm>
          <a:prstGeom prst="rect">
            <a:avLst/>
          </a:prstGeom>
          <a:noFill/>
        </p:spPr>
        <p:txBody>
          <a:bodyPr wrap="square" rtlCol="0">
            <a:spAutoFit/>
          </a:bodyPr>
          <a:lstStyle/>
          <a:p>
            <a:pPr algn="just">
              <a:lnSpc>
                <a:spcPct val="110000"/>
              </a:lnSpc>
            </a:pPr>
            <a:r>
              <a:rPr lang="es-ES_tradnl" sz="1600" dirty="0">
                <a:solidFill>
                  <a:srgbClr val="002060"/>
                </a:solidFill>
              </a:rPr>
              <a:t>Amplia evidencia en distintos contextos clínicos para disminuir los eventos cardiovasculares, el RCV, la hipercolesterolemia c-LDL y tratar la aterosclerosis.</a:t>
            </a:r>
            <a:endParaRPr lang="es-ES" sz="1600" dirty="0">
              <a:solidFill>
                <a:srgbClr val="002060"/>
              </a:solidFill>
            </a:endParaRPr>
          </a:p>
        </p:txBody>
      </p:sp>
      <p:pic>
        <p:nvPicPr>
          <p:cNvPr id="9" name="Picture 2" descr="Ocupació | ALMIRALL">
            <a:extLst>
              <a:ext uri="{FF2B5EF4-FFF2-40B4-BE49-F238E27FC236}">
                <a16:creationId xmlns:a16="http://schemas.microsoft.com/office/drawing/2014/main" id="{85C25494-B44E-757E-29EB-6B5306C691E6}"/>
              </a:ext>
            </a:extLst>
          </p:cNvPr>
          <p:cNvPicPr>
            <a:picLocks noChangeAspect="1" noChangeArrowheads="1"/>
          </p:cNvPicPr>
          <p:nvPr/>
        </p:nvPicPr>
        <p:blipFill rotWithShape="1">
          <a:blip r:embed="rId2">
            <a:alphaModFix amt="20000"/>
            <a:extLst>
              <a:ext uri="{28A0092B-C50C-407E-A947-70E740481C1C}">
                <a14:useLocalDpi xmlns:a14="http://schemas.microsoft.com/office/drawing/2010/main" val="0"/>
              </a:ext>
            </a:extLst>
          </a:blip>
          <a:srcRect t="20384" r="74873" b="18548"/>
          <a:stretch>
            <a:fillRect/>
          </a:stretch>
        </p:blipFill>
        <p:spPr bwMode="auto">
          <a:xfrm>
            <a:off x="116665" y="4549403"/>
            <a:ext cx="1091254" cy="165454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Ocupació | ALMIRALL">
            <a:extLst>
              <a:ext uri="{FF2B5EF4-FFF2-40B4-BE49-F238E27FC236}">
                <a16:creationId xmlns:a16="http://schemas.microsoft.com/office/drawing/2014/main" id="{4E11ABCB-26FB-1368-6C80-1A0D52154B1F}"/>
              </a:ext>
            </a:extLst>
          </p:cNvPr>
          <p:cNvPicPr>
            <a:picLocks noChangeAspect="1" noChangeArrowheads="1"/>
          </p:cNvPicPr>
          <p:nvPr/>
        </p:nvPicPr>
        <p:blipFill rotWithShape="1">
          <a:blip r:embed="rId2">
            <a:alphaModFix amt="20000"/>
            <a:extLst>
              <a:ext uri="{28A0092B-C50C-407E-A947-70E740481C1C}">
                <a14:useLocalDpi xmlns:a14="http://schemas.microsoft.com/office/drawing/2010/main" val="0"/>
              </a:ext>
            </a:extLst>
          </a:blip>
          <a:srcRect t="20384" r="74873" b="18548"/>
          <a:stretch>
            <a:fillRect/>
          </a:stretch>
        </p:blipFill>
        <p:spPr bwMode="auto">
          <a:xfrm>
            <a:off x="10980096" y="81214"/>
            <a:ext cx="1091254" cy="1654546"/>
          </a:xfrm>
          <a:prstGeom prst="rect">
            <a:avLst/>
          </a:prstGeom>
          <a:noFill/>
          <a:extLst>
            <a:ext uri="{909E8E84-426E-40DD-AFC4-6F175D3DCCD1}">
              <a14:hiddenFill xmlns:a14="http://schemas.microsoft.com/office/drawing/2010/main">
                <a:solidFill>
                  <a:srgbClr val="FFFFFF"/>
                </a:solidFill>
              </a14:hiddenFill>
            </a:ext>
          </a:extLst>
        </p:spPr>
      </p:pic>
      <p:sp>
        <p:nvSpPr>
          <p:cNvPr id="12" name="CuadroTexto 11">
            <a:extLst>
              <a:ext uri="{FF2B5EF4-FFF2-40B4-BE49-F238E27FC236}">
                <a16:creationId xmlns:a16="http://schemas.microsoft.com/office/drawing/2014/main" id="{86F4B722-753C-C6F8-43D7-066D27189FCA}"/>
              </a:ext>
            </a:extLst>
          </p:cNvPr>
          <p:cNvSpPr txBox="1"/>
          <p:nvPr/>
        </p:nvSpPr>
        <p:spPr>
          <a:xfrm>
            <a:off x="1069975" y="6208836"/>
            <a:ext cx="2997200" cy="461665"/>
          </a:xfrm>
          <a:prstGeom prst="rect">
            <a:avLst/>
          </a:prstGeom>
          <a:noFill/>
        </p:spPr>
        <p:txBody>
          <a:bodyPr wrap="square" rtlCol="0">
            <a:spAutoFit/>
          </a:bodyPr>
          <a:lstStyle/>
          <a:p>
            <a:r>
              <a:rPr lang="es-ES_tradnl" sz="800" dirty="0">
                <a:solidFill>
                  <a:srgbClr val="002060"/>
                </a:solidFill>
              </a:rPr>
              <a:t>Otros estudios con </a:t>
            </a:r>
            <a:r>
              <a:rPr lang="es-ES_tradnl" sz="800" dirty="0" err="1">
                <a:solidFill>
                  <a:srgbClr val="002060"/>
                </a:solidFill>
              </a:rPr>
              <a:t>Crestor</a:t>
            </a:r>
            <a:r>
              <a:rPr lang="es-ES_tradnl" sz="800" dirty="0">
                <a:solidFill>
                  <a:srgbClr val="002060"/>
                </a:solidFill>
              </a:rPr>
              <a:t>: HOPE-3, SPACE-ROCKET… Expert </a:t>
            </a:r>
            <a:r>
              <a:rPr lang="es-ES_tradnl" sz="800" dirty="0" err="1">
                <a:solidFill>
                  <a:srgbClr val="002060"/>
                </a:solidFill>
              </a:rPr>
              <a:t>Rev</a:t>
            </a:r>
            <a:r>
              <a:rPr lang="es-ES_tradnl" sz="800" dirty="0">
                <a:solidFill>
                  <a:srgbClr val="002060"/>
                </a:solidFill>
              </a:rPr>
              <a:t> </a:t>
            </a:r>
            <a:r>
              <a:rPr lang="es-ES_tradnl" sz="800" dirty="0" err="1">
                <a:solidFill>
                  <a:srgbClr val="002060"/>
                </a:solidFill>
              </a:rPr>
              <a:t>Cardiovasc</a:t>
            </a:r>
            <a:r>
              <a:rPr lang="es-ES_tradnl" sz="800" dirty="0">
                <a:solidFill>
                  <a:srgbClr val="002060"/>
                </a:solidFill>
              </a:rPr>
              <a:t> </a:t>
            </a:r>
            <a:r>
              <a:rPr lang="es-ES_tradnl" sz="800" dirty="0" err="1">
                <a:solidFill>
                  <a:srgbClr val="002060"/>
                </a:solidFill>
              </a:rPr>
              <a:t>Ther</a:t>
            </a:r>
            <a:r>
              <a:rPr lang="es-ES_tradnl" sz="800" dirty="0">
                <a:solidFill>
                  <a:srgbClr val="002060"/>
                </a:solidFill>
              </a:rPr>
              <a:t>. 2007 Mar;5(2):177-93. doi:10.1586/14779072.5.2177.</a:t>
            </a:r>
            <a:endParaRPr lang="es-ES" sz="800" dirty="0">
              <a:solidFill>
                <a:srgbClr val="002060"/>
              </a:solidFill>
            </a:endParaRPr>
          </a:p>
        </p:txBody>
      </p:sp>
      <p:pic>
        <p:nvPicPr>
          <p:cNvPr id="36" name="Picture 2">
            <a:extLst>
              <a:ext uri="{FF2B5EF4-FFF2-40B4-BE49-F238E27FC236}">
                <a16:creationId xmlns:a16="http://schemas.microsoft.com/office/drawing/2014/main" id="{F999CC66-D1FA-2748-C697-62A10D6FE9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70535" y="2195603"/>
            <a:ext cx="6924609" cy="3908111"/>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upo 32">
            <a:extLst>
              <a:ext uri="{FF2B5EF4-FFF2-40B4-BE49-F238E27FC236}">
                <a16:creationId xmlns:a16="http://schemas.microsoft.com/office/drawing/2014/main" id="{FECADE8C-B2CD-E234-71ED-6C052D559418}"/>
              </a:ext>
            </a:extLst>
          </p:cNvPr>
          <p:cNvGrpSpPr/>
          <p:nvPr/>
        </p:nvGrpSpPr>
        <p:grpSpPr>
          <a:xfrm>
            <a:off x="0" y="1"/>
            <a:ext cx="3435350" cy="654050"/>
            <a:chOff x="1207919" y="3436464"/>
            <a:chExt cx="3435350" cy="654050"/>
          </a:xfrm>
        </p:grpSpPr>
        <p:sp>
          <p:nvSpPr>
            <p:cNvPr id="34" name="Rectángulo: una sola esquina redondeada 33">
              <a:extLst>
                <a:ext uri="{FF2B5EF4-FFF2-40B4-BE49-F238E27FC236}">
                  <a16:creationId xmlns:a16="http://schemas.microsoft.com/office/drawing/2014/main" id="{A47869D6-6865-F70D-DFAF-5455991764FE}"/>
                </a:ext>
              </a:extLst>
            </p:cNvPr>
            <p:cNvSpPr/>
            <p:nvPr/>
          </p:nvSpPr>
          <p:spPr>
            <a:xfrm rot="10800000" flipH="1">
              <a:off x="1207919" y="3436464"/>
              <a:ext cx="3435350" cy="654050"/>
            </a:xfrm>
            <a:prstGeom prst="round1Rect">
              <a:avLst>
                <a:gd name="adj" fmla="val 50000"/>
              </a:avLst>
            </a:prstGeom>
          </p:spPr>
          <p:style>
            <a:lnRef idx="2">
              <a:schemeClr val="accent1">
                <a:shade val="15000"/>
              </a:schemeClr>
            </a:lnRef>
            <a:fillRef idx="1">
              <a:schemeClr val="accent1"/>
            </a:fillRef>
            <a:effectRef idx="0">
              <a:schemeClr val="accent1"/>
            </a:effectRef>
            <a:fontRef idx="minor">
              <a:schemeClr val="lt1"/>
            </a:fontRef>
          </p:style>
          <p:txBody>
            <a:bodyPr anchor="ctr">
              <a:normAutofit/>
            </a:bodyPr>
            <a:lstStyle/>
            <a:p>
              <a:pPr defTabSz="1219139">
                <a:lnSpc>
                  <a:spcPct val="90000"/>
                </a:lnSpc>
                <a:spcBef>
                  <a:spcPts val="1333"/>
                </a:spcBef>
                <a:defRPr/>
              </a:pPr>
              <a:endParaRPr lang="es-ES" sz="2933" b="1" dirty="0">
                <a:solidFill>
                  <a:srgbClr val="00F0BE"/>
                </a:solidFill>
                <a:latin typeface="Arial" pitchFamily="34" charset="0"/>
                <a:cs typeface="Arial" pitchFamily="34" charset="0"/>
              </a:endParaRPr>
            </a:p>
          </p:txBody>
        </p:sp>
        <p:sp>
          <p:nvSpPr>
            <p:cNvPr id="35" name="CuadroTexto 34">
              <a:extLst>
                <a:ext uri="{FF2B5EF4-FFF2-40B4-BE49-F238E27FC236}">
                  <a16:creationId xmlns:a16="http://schemas.microsoft.com/office/drawing/2014/main" id="{D63F167E-B9FD-EF14-7D09-03CDE0BA0A9A}"/>
                </a:ext>
              </a:extLst>
            </p:cNvPr>
            <p:cNvSpPr txBox="1"/>
            <p:nvPr/>
          </p:nvSpPr>
          <p:spPr>
            <a:xfrm>
              <a:off x="1293813" y="3510354"/>
              <a:ext cx="2998787" cy="498534"/>
            </a:xfrm>
            <a:prstGeom prst="rect">
              <a:avLst/>
            </a:prstGeom>
            <a:noFill/>
          </p:spPr>
          <p:txBody>
            <a:bodyPr wrap="square">
              <a:spAutoFit/>
            </a:bodyPr>
            <a:lstStyle/>
            <a:p>
              <a:pPr marL="0" marR="0" lvl="0" indent="0" algn="l" defTabSz="1219139" rtl="0" eaLnBrk="1" fontAlgn="auto" latinLnBrk="0" hangingPunct="1">
                <a:lnSpc>
                  <a:spcPct val="90000"/>
                </a:lnSpc>
                <a:spcBef>
                  <a:spcPts val="1333"/>
                </a:spcBef>
                <a:spcAft>
                  <a:spcPts val="0"/>
                </a:spcAft>
                <a:buClrTx/>
                <a:buSzTx/>
                <a:buFontTx/>
                <a:buNone/>
                <a:tabLst/>
                <a:defRPr/>
              </a:pPr>
              <a:r>
                <a:rPr kumimoji="0" lang="es-ES" sz="2933" b="1" i="0" u="none" strike="noStrike" kern="1200" cap="none" spc="0" normalizeH="0" baseline="0" noProof="0" dirty="0">
                  <a:ln>
                    <a:noFill/>
                  </a:ln>
                  <a:solidFill>
                    <a:srgbClr val="00F0BE"/>
                  </a:solidFill>
                  <a:effectLst/>
                  <a:uLnTx/>
                  <a:uFillTx/>
                  <a:latin typeface="Arial" pitchFamily="34" charset="0"/>
                  <a:ea typeface="+mn-ea"/>
                  <a:cs typeface="Arial" pitchFamily="34" charset="0"/>
                </a:rPr>
                <a:t>Valor de marca</a:t>
              </a:r>
            </a:p>
          </p:txBody>
        </p:sp>
      </p:grpSp>
    </p:spTree>
    <p:extLst>
      <p:ext uri="{BB962C8B-B14F-4D97-AF65-F5344CB8AC3E}">
        <p14:creationId xmlns:p14="http://schemas.microsoft.com/office/powerpoint/2010/main" val="298035820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osición de imagen 1">
            <a:extLst>
              <a:ext uri="{FF2B5EF4-FFF2-40B4-BE49-F238E27FC236}">
                <a16:creationId xmlns:a16="http://schemas.microsoft.com/office/drawing/2014/main" id="{F669BA7D-3169-F007-9F09-ABC2970B5D30}"/>
              </a:ext>
            </a:extLst>
          </p:cNvPr>
          <p:cNvSpPr>
            <a:spLocks noGrp="1"/>
          </p:cNvSpPr>
          <p:nvPr>
            <p:ph type="pic" sz="quarter" idx="15"/>
          </p:nvPr>
        </p:nvSpPr>
        <p:spPr>
          <a:xfrm>
            <a:off x="-3375" y="0"/>
            <a:ext cx="12195375" cy="6858000"/>
          </a:xfrm>
        </p:spPr>
        <p:txBody>
          <a:bodyPr/>
          <a:lstStyle/>
          <a:p>
            <a:pPr marL="0" indent="0">
              <a:buNone/>
            </a:pPr>
            <a:endParaRPr lang="en-GB" dirty="0"/>
          </a:p>
        </p:txBody>
      </p:sp>
      <p:sp>
        <p:nvSpPr>
          <p:cNvPr id="3" name="Título 2">
            <a:extLst>
              <a:ext uri="{FF2B5EF4-FFF2-40B4-BE49-F238E27FC236}">
                <a16:creationId xmlns:a16="http://schemas.microsoft.com/office/drawing/2014/main" id="{EB9CF09D-A693-D10C-AA23-CA81BC1D5A4F}"/>
              </a:ext>
            </a:extLst>
          </p:cNvPr>
          <p:cNvSpPr>
            <a:spLocks noGrp="1"/>
          </p:cNvSpPr>
          <p:nvPr>
            <p:ph type="title"/>
          </p:nvPr>
        </p:nvSpPr>
        <p:spPr>
          <a:xfrm>
            <a:off x="3585817" y="2102494"/>
            <a:ext cx="4389648" cy="2904732"/>
          </a:xfrm>
        </p:spPr>
        <p:txBody>
          <a:bodyPr/>
          <a:lstStyle/>
          <a:p>
            <a:r>
              <a:rPr lang="es-ES"/>
              <a:t>¡Muchas gracias por su atención!</a:t>
            </a:r>
            <a:endParaRPr lang="en-GB"/>
          </a:p>
        </p:txBody>
      </p:sp>
      <p:sp>
        <p:nvSpPr>
          <p:cNvPr id="4" name="Marcador de texto 3">
            <a:extLst>
              <a:ext uri="{FF2B5EF4-FFF2-40B4-BE49-F238E27FC236}">
                <a16:creationId xmlns:a16="http://schemas.microsoft.com/office/drawing/2014/main" id="{A1FCB68D-4758-C116-DC07-04A77633A6B3}"/>
              </a:ext>
            </a:extLst>
          </p:cNvPr>
          <p:cNvSpPr>
            <a:spLocks noGrp="1"/>
          </p:cNvSpPr>
          <p:nvPr>
            <p:ph type="body" sz="quarter" idx="20"/>
          </p:nvPr>
        </p:nvSpPr>
        <p:spPr/>
        <p:txBody>
          <a:bodyPr/>
          <a:lstStyle/>
          <a:p>
            <a:endParaRPr lang="en-GB"/>
          </a:p>
        </p:txBody>
      </p:sp>
      <p:sp>
        <p:nvSpPr>
          <p:cNvPr id="5" name="Marcador de texto 4">
            <a:extLst>
              <a:ext uri="{FF2B5EF4-FFF2-40B4-BE49-F238E27FC236}">
                <a16:creationId xmlns:a16="http://schemas.microsoft.com/office/drawing/2014/main" id="{EE660685-09D4-59E4-B5EB-636F9464D0A0}"/>
              </a:ext>
            </a:extLst>
          </p:cNvPr>
          <p:cNvSpPr>
            <a:spLocks noGrp="1"/>
          </p:cNvSpPr>
          <p:nvPr>
            <p:ph type="body" sz="quarter" idx="22"/>
          </p:nvPr>
        </p:nvSpPr>
        <p:spPr/>
        <p:txBody>
          <a:bodyPr/>
          <a:lstStyle/>
          <a:p>
            <a:endParaRPr lang="en-GB"/>
          </a:p>
        </p:txBody>
      </p:sp>
      <p:sp>
        <p:nvSpPr>
          <p:cNvPr id="7" name="Marcador de número de diapositiva 6">
            <a:extLst>
              <a:ext uri="{FF2B5EF4-FFF2-40B4-BE49-F238E27FC236}">
                <a16:creationId xmlns:a16="http://schemas.microsoft.com/office/drawing/2014/main" id="{191FBA75-74F4-BA1E-AF0E-44A6E3078E59}"/>
              </a:ext>
            </a:extLst>
          </p:cNvPr>
          <p:cNvSpPr>
            <a:spLocks noGrp="1"/>
          </p:cNvSpPr>
          <p:nvPr>
            <p:ph type="sldNum" sz="quarter" idx="4"/>
          </p:nvPr>
        </p:nvSpPr>
        <p:spPr/>
        <p:txBody>
          <a:bodyPr/>
          <a:lstStyle/>
          <a:p>
            <a:fld id="{96F64DD7-E411-6141-89FE-121B5323FD5F}" type="slidenum">
              <a:rPr lang="en-US" smtClean="0"/>
              <a:pPr/>
              <a:t>48</a:t>
            </a:fld>
            <a:endParaRPr lang="en-US"/>
          </a:p>
        </p:txBody>
      </p:sp>
      <p:sp>
        <p:nvSpPr>
          <p:cNvPr id="6" name="CuadroTexto 5">
            <a:extLst>
              <a:ext uri="{FF2B5EF4-FFF2-40B4-BE49-F238E27FC236}">
                <a16:creationId xmlns:a16="http://schemas.microsoft.com/office/drawing/2014/main" id="{7BFDECD9-DD01-8930-4FA0-4066AAA3D4C0}"/>
              </a:ext>
            </a:extLst>
          </p:cNvPr>
          <p:cNvSpPr txBox="1"/>
          <p:nvPr/>
        </p:nvSpPr>
        <p:spPr>
          <a:xfrm rot="16200000">
            <a:off x="10633273" y="3376069"/>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26648625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D1BFF9BF-4486-7BA0-9917-4F5000537946}"/>
              </a:ext>
            </a:extLst>
          </p:cNvPr>
          <p:cNvSpPr>
            <a:spLocks noGrp="1"/>
          </p:cNvSpPr>
          <p:nvPr>
            <p:ph type="body" sz="quarter" idx="22"/>
          </p:nvPr>
        </p:nvSpPr>
        <p:spPr/>
        <p:txBody>
          <a:bodyPr/>
          <a:lstStyle/>
          <a:p>
            <a:endParaRPr lang="es-ES"/>
          </a:p>
        </p:txBody>
      </p:sp>
      <p:sp>
        <p:nvSpPr>
          <p:cNvPr id="3" name="Marcador de texto 2">
            <a:extLst>
              <a:ext uri="{FF2B5EF4-FFF2-40B4-BE49-F238E27FC236}">
                <a16:creationId xmlns:a16="http://schemas.microsoft.com/office/drawing/2014/main" id="{08BFA3FB-4D29-0467-E5B2-560C0097B599}"/>
              </a:ext>
            </a:extLst>
          </p:cNvPr>
          <p:cNvSpPr>
            <a:spLocks noGrp="1"/>
          </p:cNvSpPr>
          <p:nvPr>
            <p:ph type="body" sz="quarter" idx="19"/>
          </p:nvPr>
        </p:nvSpPr>
        <p:spPr/>
        <p:txBody>
          <a:bodyPr/>
          <a:lstStyle/>
          <a:p>
            <a:endParaRPr lang="es-ES" dirty="0"/>
          </a:p>
        </p:txBody>
      </p:sp>
      <p:sp>
        <p:nvSpPr>
          <p:cNvPr id="4" name="Título 3">
            <a:extLst>
              <a:ext uri="{FF2B5EF4-FFF2-40B4-BE49-F238E27FC236}">
                <a16:creationId xmlns:a16="http://schemas.microsoft.com/office/drawing/2014/main" id="{1651F9F4-57AA-6BF3-6E84-1A3B562385AE}"/>
              </a:ext>
            </a:extLst>
          </p:cNvPr>
          <p:cNvSpPr>
            <a:spLocks noGrp="1"/>
          </p:cNvSpPr>
          <p:nvPr>
            <p:ph type="title"/>
          </p:nvPr>
        </p:nvSpPr>
        <p:spPr>
          <a:xfrm>
            <a:off x="467510" y="1959866"/>
            <a:ext cx="5327649" cy="1469134"/>
          </a:xfrm>
        </p:spPr>
        <p:txBody>
          <a:bodyPr/>
          <a:lstStyle/>
          <a:p>
            <a:pPr algn="ctr"/>
            <a:r>
              <a:rPr lang="es-ES_tradnl" sz="4400" dirty="0"/>
              <a:t>Guías para el manejo de los síndromes coronarios crónicos</a:t>
            </a:r>
            <a:endParaRPr lang="es-ES" sz="4400" dirty="0"/>
          </a:p>
        </p:txBody>
      </p:sp>
      <p:sp>
        <p:nvSpPr>
          <p:cNvPr id="6" name="Marcador de número de diapositiva 5">
            <a:extLst>
              <a:ext uri="{FF2B5EF4-FFF2-40B4-BE49-F238E27FC236}">
                <a16:creationId xmlns:a16="http://schemas.microsoft.com/office/drawing/2014/main" id="{026CE2B7-A668-73D9-8099-F09EEB1723A1}"/>
              </a:ext>
            </a:extLst>
          </p:cNvPr>
          <p:cNvSpPr>
            <a:spLocks noGrp="1"/>
          </p:cNvSpPr>
          <p:nvPr>
            <p:ph type="sldNum" sz="quarter" idx="4"/>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a:ln>
                  <a:noFill/>
                </a:ln>
                <a:solidFill>
                  <a:srgbClr val="00F0BE"/>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a:t>
            </a:fld>
            <a:endParaRPr kumimoji="0" lang="en-US" sz="933" b="0" i="0" u="none" strike="noStrike" kern="1200" cap="none" spc="0" normalizeH="0" baseline="0" noProof="0">
              <a:ln>
                <a:noFill/>
              </a:ln>
              <a:solidFill>
                <a:srgbClr val="00F0BE"/>
              </a:solidFill>
              <a:effectLst/>
              <a:uLnTx/>
              <a:uFillTx/>
              <a:latin typeface="Arial"/>
              <a:ea typeface="+mn-ea"/>
              <a:cs typeface="+mn-cs"/>
            </a:endParaRPr>
          </a:p>
        </p:txBody>
      </p:sp>
      <p:pic>
        <p:nvPicPr>
          <p:cNvPr id="8" name="Imagen 7">
            <a:extLst>
              <a:ext uri="{FF2B5EF4-FFF2-40B4-BE49-F238E27FC236}">
                <a16:creationId xmlns:a16="http://schemas.microsoft.com/office/drawing/2014/main" id="{FF68B543-BDCD-9A3D-B20F-43620CB43A19}"/>
              </a:ext>
            </a:extLst>
          </p:cNvPr>
          <p:cNvPicPr>
            <a:picLocks noChangeAspect="1"/>
          </p:cNvPicPr>
          <p:nvPr/>
        </p:nvPicPr>
        <p:blipFill>
          <a:blip r:embed="rId3"/>
          <a:stretch>
            <a:fillRect/>
          </a:stretch>
        </p:blipFill>
        <p:spPr>
          <a:xfrm>
            <a:off x="6400298" y="918924"/>
            <a:ext cx="5791702" cy="4518504"/>
          </a:xfrm>
          <a:prstGeom prst="rect">
            <a:avLst/>
          </a:prstGeom>
        </p:spPr>
      </p:pic>
      <p:sp>
        <p:nvSpPr>
          <p:cNvPr id="5" name="CuadroTexto 4">
            <a:extLst>
              <a:ext uri="{FF2B5EF4-FFF2-40B4-BE49-F238E27FC236}">
                <a16:creationId xmlns:a16="http://schemas.microsoft.com/office/drawing/2014/main" id="{8AAFEEE0-60F5-1209-90DA-AB6919CB6527}"/>
              </a:ext>
            </a:extLst>
          </p:cNvPr>
          <p:cNvSpPr txBox="1"/>
          <p:nvPr/>
        </p:nvSpPr>
        <p:spPr>
          <a:xfrm>
            <a:off x="2001417" y="6356351"/>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14775570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15A50D-6ACE-9A37-BA9A-ABFAE54D96B9}"/>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736790EB-1BBE-7E27-7B6F-5B226F449505}"/>
              </a:ext>
            </a:extLst>
          </p:cNvPr>
          <p:cNvSpPr>
            <a:spLocks noGrp="1"/>
          </p:cNvSpPr>
          <p:nvPr>
            <p:ph type="body" sz="quarter" idx="24"/>
          </p:nvPr>
        </p:nvSpPr>
        <p:spPr/>
        <p:txBody>
          <a:bodyPr/>
          <a:lstStyle/>
          <a:p>
            <a:endParaRPr lang="es-ES" dirty="0"/>
          </a:p>
        </p:txBody>
      </p:sp>
      <p:sp>
        <p:nvSpPr>
          <p:cNvPr id="6" name="Marcador de número de diapositiva 5">
            <a:extLst>
              <a:ext uri="{FF2B5EF4-FFF2-40B4-BE49-F238E27FC236}">
                <a16:creationId xmlns:a16="http://schemas.microsoft.com/office/drawing/2014/main" id="{E80673FA-2C51-D31E-EE33-9D82E13323A5}"/>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sp>
        <p:nvSpPr>
          <p:cNvPr id="12" name="6 CuadroTexto">
            <a:extLst>
              <a:ext uri="{FF2B5EF4-FFF2-40B4-BE49-F238E27FC236}">
                <a16:creationId xmlns:a16="http://schemas.microsoft.com/office/drawing/2014/main" id="{FFA7349B-2604-79B8-0768-EA74E3D98AB2}"/>
              </a:ext>
            </a:extLst>
          </p:cNvPr>
          <p:cNvSpPr txBox="1"/>
          <p:nvPr/>
        </p:nvSpPr>
        <p:spPr>
          <a:xfrm>
            <a:off x="6850515" y="3616694"/>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2" name="Imagen 1">
            <a:extLst>
              <a:ext uri="{FF2B5EF4-FFF2-40B4-BE49-F238E27FC236}">
                <a16:creationId xmlns:a16="http://schemas.microsoft.com/office/drawing/2014/main" id="{45EEC565-AA59-087F-5419-68C430B20A1D}"/>
              </a:ext>
            </a:extLst>
          </p:cNvPr>
          <p:cNvPicPr>
            <a:picLocks noChangeAspect="1"/>
          </p:cNvPicPr>
          <p:nvPr/>
        </p:nvPicPr>
        <p:blipFill>
          <a:blip r:embed="rId3"/>
          <a:stretch>
            <a:fillRect/>
          </a:stretch>
        </p:blipFill>
        <p:spPr>
          <a:xfrm>
            <a:off x="10623775" y="231972"/>
            <a:ext cx="1329043" cy="457240"/>
          </a:xfrm>
          <a:prstGeom prst="rect">
            <a:avLst/>
          </a:prstGeom>
        </p:spPr>
      </p:pic>
      <p:grpSp>
        <p:nvGrpSpPr>
          <p:cNvPr id="14" name="Grupo 13">
            <a:extLst>
              <a:ext uri="{FF2B5EF4-FFF2-40B4-BE49-F238E27FC236}">
                <a16:creationId xmlns:a16="http://schemas.microsoft.com/office/drawing/2014/main" id="{E21940A0-867A-EA6B-44F6-B73812ADEA01}"/>
              </a:ext>
            </a:extLst>
          </p:cNvPr>
          <p:cNvGrpSpPr/>
          <p:nvPr/>
        </p:nvGrpSpPr>
        <p:grpSpPr>
          <a:xfrm>
            <a:off x="7505864" y="1533890"/>
            <a:ext cx="4393012" cy="2235622"/>
            <a:chOff x="7559806" y="1193378"/>
            <a:chExt cx="4393012" cy="2235622"/>
          </a:xfrm>
        </p:grpSpPr>
        <p:pic>
          <p:nvPicPr>
            <p:cNvPr id="10" name="Picture 2" descr="New - Free signs icons">
              <a:extLst>
                <a:ext uri="{FF2B5EF4-FFF2-40B4-BE49-F238E27FC236}">
                  <a16:creationId xmlns:a16="http://schemas.microsoft.com/office/drawing/2014/main" id="{5682F01E-B40B-3C22-685D-53ADD821FC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59806" y="1193378"/>
              <a:ext cx="893270" cy="893270"/>
            </a:xfrm>
            <a:prstGeom prst="rect">
              <a:avLst/>
            </a:prstGeom>
            <a:noFill/>
            <a:extLst>
              <a:ext uri="{909E8E84-426E-40DD-AFC4-6F175D3DCCD1}">
                <a14:hiddenFill xmlns:a14="http://schemas.microsoft.com/office/drawing/2010/main">
                  <a:solidFill>
                    <a:srgbClr val="FFFFFF"/>
                  </a:solidFill>
                </a14:hiddenFill>
              </a:ext>
            </a:extLst>
          </p:spPr>
        </p:pic>
        <p:pic>
          <p:nvPicPr>
            <p:cNvPr id="13" name="Imagen 12">
              <a:extLst>
                <a:ext uri="{FF2B5EF4-FFF2-40B4-BE49-F238E27FC236}">
                  <a16:creationId xmlns:a16="http://schemas.microsoft.com/office/drawing/2014/main" id="{0A776605-0FA7-7FBB-0C40-57BC61FD5D8B}"/>
                </a:ext>
              </a:extLst>
            </p:cNvPr>
            <p:cNvPicPr>
              <a:picLocks noChangeAspect="1"/>
            </p:cNvPicPr>
            <p:nvPr/>
          </p:nvPicPr>
          <p:blipFill>
            <a:blip r:embed="rId5"/>
            <a:stretch>
              <a:fillRect/>
            </a:stretch>
          </p:blipFill>
          <p:spPr>
            <a:xfrm>
              <a:off x="8504632" y="1524156"/>
              <a:ext cx="3448186" cy="1904844"/>
            </a:xfrm>
            <a:prstGeom prst="rect">
              <a:avLst/>
            </a:prstGeom>
          </p:spPr>
        </p:pic>
      </p:grpSp>
      <p:sp>
        <p:nvSpPr>
          <p:cNvPr id="11" name="Título 3">
            <a:extLst>
              <a:ext uri="{FF2B5EF4-FFF2-40B4-BE49-F238E27FC236}">
                <a16:creationId xmlns:a16="http://schemas.microsoft.com/office/drawing/2014/main" id="{02DD7F49-7126-C031-0095-EE1D7F1FA75E}"/>
              </a:ext>
            </a:extLst>
          </p:cNvPr>
          <p:cNvSpPr txBox="1">
            <a:spLocks/>
          </p:cNvSpPr>
          <p:nvPr/>
        </p:nvSpPr>
        <p:spPr>
          <a:xfrm>
            <a:off x="1150578" y="243970"/>
            <a:ext cx="9373755" cy="841613"/>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_tradnl" sz="2800" dirty="0"/>
              <a:t>Definiciones y diferencias entre síndrome coronario agudo (SCA) y síndrome coronario crónico (SCC)</a:t>
            </a:r>
            <a:endParaRPr lang="es-ES" sz="2800" dirty="0"/>
          </a:p>
        </p:txBody>
      </p:sp>
      <p:pic>
        <p:nvPicPr>
          <p:cNvPr id="1026" name="Picture 2" descr="Angina | Heart Disease. Causes &amp; Symptoms - Heart Foundation">
            <a:extLst>
              <a:ext uri="{FF2B5EF4-FFF2-40B4-BE49-F238E27FC236}">
                <a16:creationId xmlns:a16="http://schemas.microsoft.com/office/drawing/2014/main" id="{BA6DCF23-1DBE-0F67-7D01-845248E92D0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30864" y="3048574"/>
            <a:ext cx="5222363" cy="2857308"/>
          </a:xfrm>
          <a:prstGeom prst="rect">
            <a:avLst/>
          </a:prstGeom>
          <a:noFill/>
          <a:extLst>
            <a:ext uri="{909E8E84-426E-40DD-AFC4-6F175D3DCCD1}">
              <a14:hiddenFill xmlns:a14="http://schemas.microsoft.com/office/drawing/2010/main">
                <a:solidFill>
                  <a:srgbClr val="FFFFFF"/>
                </a:solidFill>
              </a14:hiddenFill>
            </a:ext>
          </a:extLst>
        </p:spPr>
      </p:pic>
      <p:sp>
        <p:nvSpPr>
          <p:cNvPr id="3" name="Cerrar llave 2">
            <a:extLst>
              <a:ext uri="{FF2B5EF4-FFF2-40B4-BE49-F238E27FC236}">
                <a16:creationId xmlns:a16="http://schemas.microsoft.com/office/drawing/2014/main" id="{B999198C-1F01-B96F-D9EA-F37D39F83251}"/>
              </a:ext>
            </a:extLst>
          </p:cNvPr>
          <p:cNvSpPr/>
          <p:nvPr/>
        </p:nvSpPr>
        <p:spPr>
          <a:xfrm>
            <a:off x="6679854" y="3222004"/>
            <a:ext cx="267855" cy="1551709"/>
          </a:xfrm>
          <a:prstGeom prst="rightBrace">
            <a:avLst/>
          </a:prstGeom>
          <a:ln w="28575">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7" name="Cerrar llave 6">
            <a:extLst>
              <a:ext uri="{FF2B5EF4-FFF2-40B4-BE49-F238E27FC236}">
                <a16:creationId xmlns:a16="http://schemas.microsoft.com/office/drawing/2014/main" id="{41AB364E-2C21-E4B0-7E58-B4C0FF4747FD}"/>
              </a:ext>
            </a:extLst>
          </p:cNvPr>
          <p:cNvSpPr/>
          <p:nvPr/>
        </p:nvSpPr>
        <p:spPr>
          <a:xfrm>
            <a:off x="6716586" y="5084429"/>
            <a:ext cx="231123" cy="757382"/>
          </a:xfrm>
          <a:prstGeom prst="rightBrace">
            <a:avLst/>
          </a:prstGeom>
          <a:ln w="28575">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8" name="CuadroTexto 7">
            <a:extLst>
              <a:ext uri="{FF2B5EF4-FFF2-40B4-BE49-F238E27FC236}">
                <a16:creationId xmlns:a16="http://schemas.microsoft.com/office/drawing/2014/main" id="{DE4589B1-6AB2-0E3F-0CC4-FB33EF78D713}"/>
              </a:ext>
            </a:extLst>
          </p:cNvPr>
          <p:cNvSpPr txBox="1"/>
          <p:nvPr/>
        </p:nvSpPr>
        <p:spPr>
          <a:xfrm>
            <a:off x="7056319" y="3746191"/>
            <a:ext cx="931770" cy="461665"/>
          </a:xfrm>
          <a:prstGeom prst="rect">
            <a:avLst/>
          </a:prstGeom>
          <a:noFill/>
          <a:ln w="19050">
            <a:noFill/>
          </a:ln>
        </p:spPr>
        <p:txBody>
          <a:bodyPr wrap="square" rtlCol="0">
            <a:spAutoFit/>
          </a:bodyPr>
          <a:lstStyle/>
          <a:p>
            <a:pPr algn="just"/>
            <a:r>
              <a:rPr lang="es-ES" sz="2400" b="1" dirty="0">
                <a:solidFill>
                  <a:schemeClr val="accent1"/>
                </a:solidFill>
              </a:rPr>
              <a:t>SCC</a:t>
            </a:r>
          </a:p>
        </p:txBody>
      </p:sp>
      <p:sp>
        <p:nvSpPr>
          <p:cNvPr id="9" name="CuadroTexto 8">
            <a:extLst>
              <a:ext uri="{FF2B5EF4-FFF2-40B4-BE49-F238E27FC236}">
                <a16:creationId xmlns:a16="http://schemas.microsoft.com/office/drawing/2014/main" id="{342EF6F4-0A42-A8F9-CBAC-A78177F7BEE2}"/>
              </a:ext>
            </a:extLst>
          </p:cNvPr>
          <p:cNvSpPr txBox="1"/>
          <p:nvPr/>
        </p:nvSpPr>
        <p:spPr>
          <a:xfrm>
            <a:off x="7056319" y="5187844"/>
            <a:ext cx="931770" cy="461665"/>
          </a:xfrm>
          <a:prstGeom prst="rect">
            <a:avLst/>
          </a:prstGeom>
          <a:noFill/>
          <a:ln w="19050">
            <a:noFill/>
          </a:ln>
        </p:spPr>
        <p:txBody>
          <a:bodyPr wrap="square" rtlCol="0">
            <a:spAutoFit/>
          </a:bodyPr>
          <a:lstStyle/>
          <a:p>
            <a:pPr algn="just"/>
            <a:r>
              <a:rPr lang="es-ES" sz="2400" b="1" dirty="0">
                <a:solidFill>
                  <a:schemeClr val="accent1"/>
                </a:solidFill>
              </a:rPr>
              <a:t>SCA</a:t>
            </a:r>
          </a:p>
        </p:txBody>
      </p:sp>
      <p:sp>
        <p:nvSpPr>
          <p:cNvPr id="21" name="Arco 20">
            <a:extLst>
              <a:ext uri="{FF2B5EF4-FFF2-40B4-BE49-F238E27FC236}">
                <a16:creationId xmlns:a16="http://schemas.microsoft.com/office/drawing/2014/main" id="{5F699AE6-3F31-0ED1-78B7-05458D0F7B0A}"/>
              </a:ext>
            </a:extLst>
          </p:cNvPr>
          <p:cNvSpPr/>
          <p:nvPr/>
        </p:nvSpPr>
        <p:spPr>
          <a:xfrm>
            <a:off x="7375694" y="4008351"/>
            <a:ext cx="1155156" cy="1410325"/>
          </a:xfrm>
          <a:prstGeom prst="arc">
            <a:avLst>
              <a:gd name="adj1" fmla="val 16200000"/>
              <a:gd name="adj2" fmla="val 5165974"/>
            </a:avLst>
          </a:prstGeom>
          <a:ln w="38100">
            <a:solidFill>
              <a:schemeClr val="accent5"/>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22" name="CuadroTexto 21">
            <a:extLst>
              <a:ext uri="{FF2B5EF4-FFF2-40B4-BE49-F238E27FC236}">
                <a16:creationId xmlns:a16="http://schemas.microsoft.com/office/drawing/2014/main" id="{DEB8AA5C-48AD-B522-4CFC-F3482077BD31}"/>
              </a:ext>
            </a:extLst>
          </p:cNvPr>
          <p:cNvSpPr txBox="1"/>
          <p:nvPr/>
        </p:nvSpPr>
        <p:spPr>
          <a:xfrm>
            <a:off x="8693063" y="4386849"/>
            <a:ext cx="2814689" cy="646331"/>
          </a:xfrm>
          <a:prstGeom prst="rect">
            <a:avLst/>
          </a:prstGeom>
          <a:noFill/>
          <a:ln w="19050">
            <a:solidFill>
              <a:schemeClr val="accent4"/>
            </a:solidFill>
          </a:ln>
        </p:spPr>
        <p:txBody>
          <a:bodyPr wrap="square" rtlCol="0">
            <a:spAutoFit/>
          </a:bodyPr>
          <a:lstStyle/>
          <a:p>
            <a:pPr algn="just"/>
            <a:r>
              <a:rPr lang="es-ES" sz="1200" dirty="0">
                <a:solidFill>
                  <a:schemeClr val="accent1"/>
                </a:solidFill>
              </a:rPr>
              <a:t>Un SCC puede evolucionarse hacía un SCA y al revés; son patologías interrelacionadas</a:t>
            </a:r>
            <a:r>
              <a:rPr lang="es-ES" sz="1200" baseline="30000" dirty="0">
                <a:solidFill>
                  <a:schemeClr val="accent1"/>
                </a:solidFill>
              </a:rPr>
              <a:t>1</a:t>
            </a:r>
            <a:r>
              <a:rPr lang="es-ES" sz="1200" dirty="0">
                <a:solidFill>
                  <a:schemeClr val="accent1"/>
                </a:solidFill>
              </a:rPr>
              <a:t>.</a:t>
            </a:r>
            <a:endParaRPr lang="es-ES" sz="1200" dirty="0">
              <a:solidFill>
                <a:srgbClr val="002855"/>
              </a:solidFill>
            </a:endParaRPr>
          </a:p>
        </p:txBody>
      </p:sp>
      <p:sp>
        <p:nvSpPr>
          <p:cNvPr id="24" name="CuadroTexto 23">
            <a:extLst>
              <a:ext uri="{FF2B5EF4-FFF2-40B4-BE49-F238E27FC236}">
                <a16:creationId xmlns:a16="http://schemas.microsoft.com/office/drawing/2014/main" id="{92FB9E3F-B4A8-7176-26C9-0ED0891739BF}"/>
              </a:ext>
            </a:extLst>
          </p:cNvPr>
          <p:cNvSpPr txBox="1"/>
          <p:nvPr/>
        </p:nvSpPr>
        <p:spPr>
          <a:xfrm>
            <a:off x="1270458" y="5875133"/>
            <a:ext cx="6105236" cy="200055"/>
          </a:xfrm>
          <a:prstGeom prst="rect">
            <a:avLst/>
          </a:prstGeom>
          <a:noFill/>
        </p:spPr>
        <p:txBody>
          <a:bodyPr wrap="square">
            <a:spAutoFit/>
          </a:bodyPr>
          <a:lstStyle/>
          <a:p>
            <a:r>
              <a:rPr lang="es-ES" sz="700" dirty="0">
                <a:solidFill>
                  <a:schemeClr val="accent1"/>
                </a:solidFill>
              </a:rPr>
              <a:t>https://www.heartfoundation.org.nz/your-heart/heart-conditions/angina</a:t>
            </a:r>
          </a:p>
        </p:txBody>
      </p:sp>
      <p:sp>
        <p:nvSpPr>
          <p:cNvPr id="25" name="CuadroTexto 24">
            <a:extLst>
              <a:ext uri="{FF2B5EF4-FFF2-40B4-BE49-F238E27FC236}">
                <a16:creationId xmlns:a16="http://schemas.microsoft.com/office/drawing/2014/main" id="{31D8B728-75C0-2DEB-3673-12ADA183441B}"/>
              </a:ext>
            </a:extLst>
          </p:cNvPr>
          <p:cNvSpPr txBox="1"/>
          <p:nvPr/>
        </p:nvSpPr>
        <p:spPr>
          <a:xfrm>
            <a:off x="1370034" y="1818327"/>
            <a:ext cx="5156210" cy="954107"/>
          </a:xfrm>
          <a:prstGeom prst="rect">
            <a:avLst/>
          </a:prstGeom>
          <a:noFill/>
          <a:ln w="19050">
            <a:solidFill>
              <a:schemeClr val="accent4"/>
            </a:solidFill>
          </a:ln>
        </p:spPr>
        <p:txBody>
          <a:bodyPr wrap="square" rtlCol="0">
            <a:spAutoFit/>
          </a:bodyPr>
          <a:lstStyle/>
          <a:p>
            <a:pPr algn="just"/>
            <a:r>
              <a:rPr lang="es-ES" sz="1400" dirty="0">
                <a:solidFill>
                  <a:schemeClr val="accent1"/>
                </a:solidFill>
              </a:rPr>
              <a:t>Ambas enfermedades están asociados a una reducción en el flujo sanguíneo hacía el tejido cardíaco. La diferencia principal yace en el porcentaje de reducción del flujo y en la agudeza y severidad de los eventos</a:t>
            </a:r>
            <a:r>
              <a:rPr lang="es-ES" sz="1400" baseline="30000" dirty="0">
                <a:solidFill>
                  <a:schemeClr val="accent1"/>
                </a:solidFill>
              </a:rPr>
              <a:t>1</a:t>
            </a:r>
            <a:r>
              <a:rPr lang="es-ES" sz="1400" dirty="0">
                <a:solidFill>
                  <a:schemeClr val="accent1"/>
                </a:solidFill>
              </a:rPr>
              <a:t>. </a:t>
            </a:r>
            <a:endParaRPr lang="es-ES" sz="1400" dirty="0">
              <a:solidFill>
                <a:srgbClr val="002855"/>
              </a:solidFill>
            </a:endParaRPr>
          </a:p>
        </p:txBody>
      </p:sp>
      <p:sp>
        <p:nvSpPr>
          <p:cNvPr id="19" name="CuadroTexto 18">
            <a:extLst>
              <a:ext uri="{FF2B5EF4-FFF2-40B4-BE49-F238E27FC236}">
                <a16:creationId xmlns:a16="http://schemas.microsoft.com/office/drawing/2014/main" id="{EB1300D1-7747-58C5-5B27-3C0C0065A39C}"/>
              </a:ext>
            </a:extLst>
          </p:cNvPr>
          <p:cNvSpPr txBox="1"/>
          <p:nvPr/>
        </p:nvSpPr>
        <p:spPr>
          <a:xfrm>
            <a:off x="8450690" y="1323854"/>
            <a:ext cx="3568315" cy="523220"/>
          </a:xfrm>
          <a:prstGeom prst="rect">
            <a:avLst/>
          </a:prstGeom>
          <a:noFill/>
        </p:spPr>
        <p:txBody>
          <a:bodyPr wrap="square">
            <a:spAutoFit/>
          </a:bodyPr>
          <a:lstStyle/>
          <a:p>
            <a:r>
              <a:rPr lang="es-ES" sz="1400" dirty="0">
                <a:solidFill>
                  <a:schemeClr val="accent1"/>
                </a:solidFill>
              </a:rPr>
              <a:t>Guía ESC 2024 para el manejo de los síndromes coronarios crónicos</a:t>
            </a:r>
            <a:r>
              <a:rPr lang="es-ES" sz="1400" baseline="30000" dirty="0">
                <a:solidFill>
                  <a:schemeClr val="accent1"/>
                </a:solidFill>
              </a:rPr>
              <a:t>1</a:t>
            </a:r>
            <a:r>
              <a:rPr lang="es-ES" sz="1400" dirty="0">
                <a:solidFill>
                  <a:schemeClr val="accent1"/>
                </a:solidFill>
              </a:rPr>
              <a:t> </a:t>
            </a:r>
          </a:p>
        </p:txBody>
      </p:sp>
      <p:sp>
        <p:nvSpPr>
          <p:cNvPr id="15" name="CuadroTexto 14">
            <a:extLst>
              <a:ext uri="{FF2B5EF4-FFF2-40B4-BE49-F238E27FC236}">
                <a16:creationId xmlns:a16="http://schemas.microsoft.com/office/drawing/2014/main" id="{4A1F95BB-8F63-B739-8A40-DED52C5515BA}"/>
              </a:ext>
            </a:extLst>
          </p:cNvPr>
          <p:cNvSpPr txBox="1"/>
          <p:nvPr/>
        </p:nvSpPr>
        <p:spPr>
          <a:xfrm>
            <a:off x="2978013" y="6458146"/>
            <a:ext cx="7323025" cy="200055"/>
          </a:xfrm>
          <a:prstGeom prst="rect">
            <a:avLst/>
          </a:prstGeom>
          <a:noFill/>
        </p:spPr>
        <p:txBody>
          <a:bodyPr wrap="square" rtlCol="0">
            <a:spAutoFit/>
          </a:bodyPr>
          <a:lstStyle>
            <a:defPPr>
              <a:defRPr lang="es-ES"/>
            </a:defPPr>
            <a:lvl1pPr>
              <a:defRPr sz="700" b="0" i="1">
                <a:solidFill>
                  <a:schemeClr val="accent1"/>
                </a:solidFill>
                <a:effectLst/>
              </a:defRPr>
            </a:lvl1pPr>
          </a:lstStyle>
          <a:p>
            <a:r>
              <a:rPr lang="en-US" dirty="0"/>
              <a:t>1. </a:t>
            </a:r>
            <a:r>
              <a:rPr lang="en-US" dirty="0" err="1"/>
              <a:t>Vrints</a:t>
            </a:r>
            <a:r>
              <a:rPr lang="en-US" dirty="0"/>
              <a:t> C, et al. 2024 ESC Guidelines for the management of chronic coronary syndromes. </a:t>
            </a:r>
            <a:r>
              <a:rPr lang="en-US" dirty="0" err="1"/>
              <a:t>Eur</a:t>
            </a:r>
            <a:r>
              <a:rPr lang="en-US" dirty="0"/>
              <a:t> Heart J. 2024 Sep 29;45(36):3415-3537. </a:t>
            </a:r>
            <a:r>
              <a:rPr lang="en-US" dirty="0" err="1"/>
              <a:t>doi</a:t>
            </a:r>
            <a:r>
              <a:rPr lang="en-US" dirty="0"/>
              <a:t>: 10.1093/</a:t>
            </a:r>
            <a:r>
              <a:rPr lang="en-US" dirty="0" err="1"/>
              <a:t>eurheartj</a:t>
            </a:r>
            <a:r>
              <a:rPr lang="en-US" dirty="0"/>
              <a:t>/ehae177.</a:t>
            </a:r>
          </a:p>
        </p:txBody>
      </p:sp>
      <p:sp>
        <p:nvSpPr>
          <p:cNvPr id="16" name="CuadroTexto 15">
            <a:extLst>
              <a:ext uri="{FF2B5EF4-FFF2-40B4-BE49-F238E27FC236}">
                <a16:creationId xmlns:a16="http://schemas.microsoft.com/office/drawing/2014/main" id="{BCADB471-6432-BEDE-5FD5-C059365E5BD9}"/>
              </a:ext>
            </a:extLst>
          </p:cNvPr>
          <p:cNvSpPr txBox="1"/>
          <p:nvPr/>
        </p:nvSpPr>
        <p:spPr>
          <a:xfrm>
            <a:off x="3530090" y="6297018"/>
            <a:ext cx="6218871" cy="246221"/>
          </a:xfrm>
          <a:prstGeom prst="rect">
            <a:avLst/>
          </a:prstGeom>
          <a:noFill/>
        </p:spPr>
        <p:txBody>
          <a:bodyPr wrap="square">
            <a:spAutoFit/>
          </a:bodyPr>
          <a:lstStyle/>
          <a:p>
            <a:pPr algn="ctr"/>
            <a:r>
              <a:rPr lang="es-ES" sz="1000" dirty="0">
                <a:solidFill>
                  <a:schemeClr val="accent1"/>
                </a:solidFill>
              </a:rPr>
              <a:t>Guía ESC 2024 para el manejo de los síndromes coronarios crónicos </a:t>
            </a:r>
          </a:p>
        </p:txBody>
      </p:sp>
      <p:sp>
        <p:nvSpPr>
          <p:cNvPr id="5" name="CuadroTexto 4">
            <a:extLst>
              <a:ext uri="{FF2B5EF4-FFF2-40B4-BE49-F238E27FC236}">
                <a16:creationId xmlns:a16="http://schemas.microsoft.com/office/drawing/2014/main" id="{544AC8E8-6511-7C3E-87CB-2FD1BACD17DB}"/>
              </a:ext>
            </a:extLst>
          </p:cNvPr>
          <p:cNvSpPr txBox="1"/>
          <p:nvPr/>
        </p:nvSpPr>
        <p:spPr>
          <a:xfrm rot="16200000">
            <a:off x="10714849" y="3376130"/>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19196698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C450A4-DDBD-53A3-EBC3-97BC7DA7B44E}"/>
            </a:ext>
          </a:extLst>
        </p:cNvPr>
        <p:cNvGrpSpPr/>
        <p:nvPr/>
      </p:nvGrpSpPr>
      <p:grpSpPr>
        <a:xfrm>
          <a:off x="0" y="0"/>
          <a:ext cx="0" cy="0"/>
          <a:chOff x="0" y="0"/>
          <a:chExt cx="0" cy="0"/>
        </a:xfrm>
      </p:grpSpPr>
      <p:pic>
        <p:nvPicPr>
          <p:cNvPr id="12" name="Imagen 11">
            <a:extLst>
              <a:ext uri="{FF2B5EF4-FFF2-40B4-BE49-F238E27FC236}">
                <a16:creationId xmlns:a16="http://schemas.microsoft.com/office/drawing/2014/main" id="{0D5604FA-1C16-ADF2-F0DB-5B5A5027661C}"/>
              </a:ext>
            </a:extLst>
          </p:cNvPr>
          <p:cNvPicPr>
            <a:picLocks noChangeAspect="1"/>
          </p:cNvPicPr>
          <p:nvPr/>
        </p:nvPicPr>
        <p:blipFill>
          <a:blip r:embed="rId3"/>
          <a:stretch>
            <a:fillRect/>
          </a:stretch>
        </p:blipFill>
        <p:spPr>
          <a:xfrm>
            <a:off x="921907" y="1503756"/>
            <a:ext cx="6082561" cy="4070637"/>
          </a:xfrm>
          <a:prstGeom prst="rect">
            <a:avLst/>
          </a:prstGeom>
          <a:ln>
            <a:solidFill>
              <a:srgbClr val="FF0000"/>
            </a:solidFill>
          </a:ln>
        </p:spPr>
      </p:pic>
      <p:sp>
        <p:nvSpPr>
          <p:cNvPr id="4" name="Marcador de texto 3">
            <a:extLst>
              <a:ext uri="{FF2B5EF4-FFF2-40B4-BE49-F238E27FC236}">
                <a16:creationId xmlns:a16="http://schemas.microsoft.com/office/drawing/2014/main" id="{346790D7-3053-503D-6939-6A3C14F9C303}"/>
              </a:ext>
            </a:extLst>
          </p:cNvPr>
          <p:cNvSpPr>
            <a:spLocks noGrp="1"/>
          </p:cNvSpPr>
          <p:nvPr>
            <p:ph type="body" sz="quarter" idx="24"/>
          </p:nvPr>
        </p:nvSpPr>
        <p:spPr/>
        <p:txBody>
          <a:bodyPr/>
          <a:lstStyle/>
          <a:p>
            <a:endParaRPr lang="es-ES" dirty="0"/>
          </a:p>
        </p:txBody>
      </p:sp>
      <p:pic>
        <p:nvPicPr>
          <p:cNvPr id="2" name="Imagen 1">
            <a:extLst>
              <a:ext uri="{FF2B5EF4-FFF2-40B4-BE49-F238E27FC236}">
                <a16:creationId xmlns:a16="http://schemas.microsoft.com/office/drawing/2014/main" id="{D08C239F-4E68-3A36-B858-174C142BB7AB}"/>
              </a:ext>
            </a:extLst>
          </p:cNvPr>
          <p:cNvPicPr>
            <a:picLocks noChangeAspect="1"/>
          </p:cNvPicPr>
          <p:nvPr/>
        </p:nvPicPr>
        <p:blipFill>
          <a:blip r:embed="rId4"/>
          <a:stretch>
            <a:fillRect/>
          </a:stretch>
        </p:blipFill>
        <p:spPr>
          <a:xfrm>
            <a:off x="10623775" y="231972"/>
            <a:ext cx="1329043" cy="457240"/>
          </a:xfrm>
          <a:prstGeom prst="rect">
            <a:avLst/>
          </a:prstGeom>
        </p:spPr>
      </p:pic>
      <p:sp>
        <p:nvSpPr>
          <p:cNvPr id="9" name="Título 3">
            <a:extLst>
              <a:ext uri="{FF2B5EF4-FFF2-40B4-BE49-F238E27FC236}">
                <a16:creationId xmlns:a16="http://schemas.microsoft.com/office/drawing/2014/main" id="{F3F51E2E-527C-D9DD-0460-485703C8926B}"/>
              </a:ext>
            </a:extLst>
          </p:cNvPr>
          <p:cNvSpPr txBox="1">
            <a:spLocks/>
          </p:cNvSpPr>
          <p:nvPr/>
        </p:nvSpPr>
        <p:spPr>
          <a:xfrm>
            <a:off x="1140921" y="323267"/>
            <a:ext cx="8038248" cy="580337"/>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_tradnl" sz="2800" dirty="0"/>
              <a:t>Mecanismos fisiopatológicos en el SCC </a:t>
            </a:r>
            <a:endParaRPr lang="es-ES" sz="2800" dirty="0"/>
          </a:p>
        </p:txBody>
      </p:sp>
      <p:sp>
        <p:nvSpPr>
          <p:cNvPr id="11" name="CuadroTexto 10">
            <a:extLst>
              <a:ext uri="{FF2B5EF4-FFF2-40B4-BE49-F238E27FC236}">
                <a16:creationId xmlns:a16="http://schemas.microsoft.com/office/drawing/2014/main" id="{2C28D585-509C-6C7B-909B-491FF79B112D}"/>
              </a:ext>
            </a:extLst>
          </p:cNvPr>
          <p:cNvSpPr txBox="1"/>
          <p:nvPr/>
        </p:nvSpPr>
        <p:spPr>
          <a:xfrm>
            <a:off x="7672398" y="3691703"/>
            <a:ext cx="4134569" cy="1169551"/>
          </a:xfrm>
          <a:prstGeom prst="rect">
            <a:avLst/>
          </a:prstGeom>
          <a:noFill/>
          <a:ln w="19050">
            <a:solidFill>
              <a:schemeClr val="accent4"/>
            </a:solidFill>
          </a:ln>
        </p:spPr>
        <p:txBody>
          <a:bodyPr wrap="square" rtlCol="0">
            <a:spAutoFit/>
          </a:bodyPr>
          <a:lstStyle/>
          <a:p>
            <a:pPr algn="just"/>
            <a:r>
              <a:rPr lang="es-ES" sz="1400" dirty="0">
                <a:solidFill>
                  <a:schemeClr val="accent1"/>
                </a:solidFill>
              </a:rPr>
              <a:t>La disfunción coronaria microvascular es una parte funcional de la enfermedad microvascular, consistente en una </a:t>
            </a:r>
            <a:r>
              <a:rPr lang="es-ES" sz="1400" b="1" dirty="0">
                <a:solidFill>
                  <a:schemeClr val="accent1"/>
                </a:solidFill>
              </a:rPr>
              <a:t>disminución en la vasodilatación y/o vasoconstricción aumentada</a:t>
            </a:r>
            <a:r>
              <a:rPr lang="es-ES" sz="1400" b="1" baseline="30000" dirty="0">
                <a:solidFill>
                  <a:schemeClr val="accent1"/>
                </a:solidFill>
              </a:rPr>
              <a:t>1</a:t>
            </a:r>
            <a:r>
              <a:rPr lang="es-ES" sz="1400" dirty="0">
                <a:solidFill>
                  <a:schemeClr val="accent1"/>
                </a:solidFill>
              </a:rPr>
              <a:t>. </a:t>
            </a:r>
          </a:p>
        </p:txBody>
      </p:sp>
      <p:sp>
        <p:nvSpPr>
          <p:cNvPr id="3" name="CuadroTexto 2">
            <a:extLst>
              <a:ext uri="{FF2B5EF4-FFF2-40B4-BE49-F238E27FC236}">
                <a16:creationId xmlns:a16="http://schemas.microsoft.com/office/drawing/2014/main" id="{B7BC7847-9E53-3860-782F-BF8CCFAF4630}"/>
              </a:ext>
            </a:extLst>
          </p:cNvPr>
          <p:cNvSpPr txBox="1"/>
          <p:nvPr/>
        </p:nvSpPr>
        <p:spPr>
          <a:xfrm>
            <a:off x="7672398" y="2453995"/>
            <a:ext cx="4134569" cy="954107"/>
          </a:xfrm>
          <a:prstGeom prst="rect">
            <a:avLst/>
          </a:prstGeom>
          <a:noFill/>
          <a:ln w="19050">
            <a:solidFill>
              <a:schemeClr val="accent4"/>
            </a:solidFill>
          </a:ln>
        </p:spPr>
        <p:txBody>
          <a:bodyPr wrap="square" rtlCol="0">
            <a:spAutoFit/>
          </a:bodyPr>
          <a:lstStyle/>
          <a:p>
            <a:pPr algn="just"/>
            <a:r>
              <a:rPr lang="es-ES" sz="1400" dirty="0">
                <a:solidFill>
                  <a:schemeClr val="accent1"/>
                </a:solidFill>
              </a:rPr>
              <a:t>Se describen mecanismos fisiopatológicos nuevos relevantes en el SCC, con repercusiones a nivel tanto del </a:t>
            </a:r>
            <a:r>
              <a:rPr lang="es-ES" sz="1400" b="1" dirty="0">
                <a:solidFill>
                  <a:schemeClr val="accent1"/>
                </a:solidFill>
              </a:rPr>
              <a:t>epicardio como alteraciones microvasculares</a:t>
            </a:r>
            <a:r>
              <a:rPr lang="es-ES" sz="1400" b="1" baseline="30000" dirty="0">
                <a:solidFill>
                  <a:schemeClr val="accent1"/>
                </a:solidFill>
              </a:rPr>
              <a:t>1</a:t>
            </a:r>
            <a:r>
              <a:rPr lang="es-ES" sz="1400" b="1" dirty="0">
                <a:solidFill>
                  <a:schemeClr val="accent1"/>
                </a:solidFill>
              </a:rPr>
              <a:t>.</a:t>
            </a:r>
          </a:p>
        </p:txBody>
      </p:sp>
      <p:sp>
        <p:nvSpPr>
          <p:cNvPr id="7" name="Rectángulo 6">
            <a:extLst>
              <a:ext uri="{FF2B5EF4-FFF2-40B4-BE49-F238E27FC236}">
                <a16:creationId xmlns:a16="http://schemas.microsoft.com/office/drawing/2014/main" id="{D240D66B-8CEE-EFBB-A00C-F10BB47AD8E0}"/>
              </a:ext>
            </a:extLst>
          </p:cNvPr>
          <p:cNvSpPr/>
          <p:nvPr/>
        </p:nvSpPr>
        <p:spPr>
          <a:xfrm>
            <a:off x="3963188" y="2657811"/>
            <a:ext cx="2998156" cy="2870200"/>
          </a:xfrm>
          <a:prstGeom prst="rect">
            <a:avLst/>
          </a:prstGeom>
          <a:noFill/>
          <a:ln w="57150">
            <a:solidFill>
              <a:schemeClr val="accent4"/>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s-ES"/>
          </a:p>
        </p:txBody>
      </p:sp>
      <p:sp>
        <p:nvSpPr>
          <p:cNvPr id="8" name="CuadroTexto 7">
            <a:extLst>
              <a:ext uri="{FF2B5EF4-FFF2-40B4-BE49-F238E27FC236}">
                <a16:creationId xmlns:a16="http://schemas.microsoft.com/office/drawing/2014/main" id="{604E1FE9-E8DA-15AE-3BCF-477530B1ABB0}"/>
              </a:ext>
            </a:extLst>
          </p:cNvPr>
          <p:cNvSpPr txBox="1"/>
          <p:nvPr/>
        </p:nvSpPr>
        <p:spPr>
          <a:xfrm>
            <a:off x="921907" y="5642550"/>
            <a:ext cx="4107293" cy="215444"/>
          </a:xfrm>
          <a:prstGeom prst="rect">
            <a:avLst/>
          </a:prstGeom>
          <a:noFill/>
        </p:spPr>
        <p:txBody>
          <a:bodyPr wrap="square">
            <a:spAutoFit/>
          </a:bodyPr>
          <a:lstStyle/>
          <a:p>
            <a:r>
              <a:rPr lang="en-GB" sz="800" dirty="0">
                <a:solidFill>
                  <a:schemeClr val="accent1"/>
                </a:solidFill>
              </a:rPr>
              <a:t>VSMC: vascular smooth muscle cell;  LVEPD: left ventricular end-diastolic pressure.</a:t>
            </a:r>
          </a:p>
        </p:txBody>
      </p:sp>
      <p:sp>
        <p:nvSpPr>
          <p:cNvPr id="10" name="Flecha: doblada hacia arriba 9">
            <a:extLst>
              <a:ext uri="{FF2B5EF4-FFF2-40B4-BE49-F238E27FC236}">
                <a16:creationId xmlns:a16="http://schemas.microsoft.com/office/drawing/2014/main" id="{6104CF0E-1CA5-42E8-3829-BD6B5E1BB014}"/>
              </a:ext>
            </a:extLst>
          </p:cNvPr>
          <p:cNvSpPr/>
          <p:nvPr/>
        </p:nvSpPr>
        <p:spPr>
          <a:xfrm rot="5400000">
            <a:off x="7097877" y="3117182"/>
            <a:ext cx="457920" cy="691122"/>
          </a:xfrm>
          <a:prstGeom prst="bentUpArrow">
            <a:avLst>
              <a:gd name="adj1" fmla="val 30026"/>
              <a:gd name="adj2" fmla="val 25000"/>
              <a:gd name="adj3" fmla="val 35051"/>
            </a:avLst>
          </a:prstGeom>
          <a:solidFill>
            <a:schemeClr val="accent4"/>
          </a:solidFill>
          <a:ln w="3810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CuadroTexto 13">
            <a:extLst>
              <a:ext uri="{FF2B5EF4-FFF2-40B4-BE49-F238E27FC236}">
                <a16:creationId xmlns:a16="http://schemas.microsoft.com/office/drawing/2014/main" id="{F0A8B9FD-80D9-C014-BA3F-28F09040AD0D}"/>
              </a:ext>
            </a:extLst>
          </p:cNvPr>
          <p:cNvSpPr txBox="1"/>
          <p:nvPr/>
        </p:nvSpPr>
        <p:spPr>
          <a:xfrm>
            <a:off x="2996301" y="6361409"/>
            <a:ext cx="7323025" cy="200055"/>
          </a:xfrm>
          <a:prstGeom prst="rect">
            <a:avLst/>
          </a:prstGeom>
          <a:noFill/>
        </p:spPr>
        <p:txBody>
          <a:bodyPr wrap="square" rtlCol="0">
            <a:spAutoFit/>
          </a:bodyPr>
          <a:lstStyle>
            <a:defPPr>
              <a:defRPr lang="es-ES"/>
            </a:defPPr>
            <a:lvl1pPr>
              <a:defRPr sz="700" b="0" i="1">
                <a:solidFill>
                  <a:schemeClr val="accent1"/>
                </a:solidFill>
                <a:effectLst/>
              </a:defRPr>
            </a:lvl1pPr>
          </a:lstStyle>
          <a:p>
            <a:r>
              <a:rPr lang="en-US" dirty="0"/>
              <a:t>1. </a:t>
            </a:r>
            <a:r>
              <a:rPr lang="en-US" dirty="0" err="1"/>
              <a:t>Vrints</a:t>
            </a:r>
            <a:r>
              <a:rPr lang="en-US" dirty="0"/>
              <a:t> C, et al. 2024 ESC Guidelines for the management of chronic coronary syndromes. </a:t>
            </a:r>
            <a:r>
              <a:rPr lang="en-US" dirty="0" err="1"/>
              <a:t>Eur</a:t>
            </a:r>
            <a:r>
              <a:rPr lang="en-US" dirty="0"/>
              <a:t> Heart J. 2024 Sep 29;45(36):3415-3537. </a:t>
            </a:r>
            <a:r>
              <a:rPr lang="en-US" dirty="0" err="1"/>
              <a:t>doi</a:t>
            </a:r>
            <a:r>
              <a:rPr lang="en-US" dirty="0"/>
              <a:t>: 10.1093/</a:t>
            </a:r>
            <a:r>
              <a:rPr lang="en-US" dirty="0" err="1"/>
              <a:t>eurheartj</a:t>
            </a:r>
            <a:r>
              <a:rPr lang="en-US" dirty="0"/>
              <a:t>/ehae177.</a:t>
            </a:r>
          </a:p>
        </p:txBody>
      </p:sp>
      <p:sp>
        <p:nvSpPr>
          <p:cNvPr id="15" name="CuadroTexto 14">
            <a:extLst>
              <a:ext uri="{FF2B5EF4-FFF2-40B4-BE49-F238E27FC236}">
                <a16:creationId xmlns:a16="http://schemas.microsoft.com/office/drawing/2014/main" id="{6FF914F6-1E22-12A3-8EC6-C94B267A566A}"/>
              </a:ext>
            </a:extLst>
          </p:cNvPr>
          <p:cNvSpPr txBox="1"/>
          <p:nvPr/>
        </p:nvSpPr>
        <p:spPr>
          <a:xfrm>
            <a:off x="3548378" y="6200281"/>
            <a:ext cx="6218871" cy="246221"/>
          </a:xfrm>
          <a:prstGeom prst="rect">
            <a:avLst/>
          </a:prstGeom>
          <a:noFill/>
        </p:spPr>
        <p:txBody>
          <a:bodyPr wrap="square">
            <a:spAutoFit/>
          </a:bodyPr>
          <a:lstStyle/>
          <a:p>
            <a:pPr algn="ctr"/>
            <a:r>
              <a:rPr lang="es-ES" sz="1000" dirty="0">
                <a:solidFill>
                  <a:schemeClr val="accent1"/>
                </a:solidFill>
              </a:rPr>
              <a:t>Guía ESC 2024 para el manejo de los síndromes coronarios crónicos </a:t>
            </a:r>
          </a:p>
        </p:txBody>
      </p:sp>
      <p:sp>
        <p:nvSpPr>
          <p:cNvPr id="16" name="CuadroTexto 15">
            <a:extLst>
              <a:ext uri="{FF2B5EF4-FFF2-40B4-BE49-F238E27FC236}">
                <a16:creationId xmlns:a16="http://schemas.microsoft.com/office/drawing/2014/main" id="{CE3E0EB3-E5B7-A987-B677-A3FB73668BDD}"/>
              </a:ext>
            </a:extLst>
          </p:cNvPr>
          <p:cNvSpPr txBox="1"/>
          <p:nvPr/>
        </p:nvSpPr>
        <p:spPr>
          <a:xfrm>
            <a:off x="5029200" y="5642550"/>
            <a:ext cx="2058207" cy="200055"/>
          </a:xfrm>
          <a:prstGeom prst="rect">
            <a:avLst/>
          </a:prstGeom>
          <a:noFill/>
        </p:spPr>
        <p:txBody>
          <a:bodyPr wrap="square" rtlCol="0">
            <a:spAutoFit/>
          </a:bodyPr>
          <a:lstStyle>
            <a:defPPr>
              <a:defRPr lang="es-ES"/>
            </a:defPPr>
            <a:lvl1pPr>
              <a:defRPr sz="700" b="0" i="1">
                <a:solidFill>
                  <a:schemeClr val="accent1"/>
                </a:solidFill>
                <a:effectLst/>
              </a:defRPr>
            </a:lvl1pPr>
          </a:lstStyle>
          <a:p>
            <a:pPr algn="ctr"/>
            <a:r>
              <a:rPr lang="en-US" b="1" dirty="0" err="1"/>
              <a:t>Eur</a:t>
            </a:r>
            <a:r>
              <a:rPr lang="en-US" b="1" dirty="0"/>
              <a:t> Heart J. 2024 Sep 29;45(36):3415-3537</a:t>
            </a:r>
          </a:p>
        </p:txBody>
      </p:sp>
      <p:sp>
        <p:nvSpPr>
          <p:cNvPr id="5" name="CuadroTexto 4">
            <a:extLst>
              <a:ext uri="{FF2B5EF4-FFF2-40B4-BE49-F238E27FC236}">
                <a16:creationId xmlns:a16="http://schemas.microsoft.com/office/drawing/2014/main" id="{F14BDF3E-0FA8-F5A8-70C6-FF722E42F9BC}"/>
              </a:ext>
            </a:extLst>
          </p:cNvPr>
          <p:cNvSpPr txBox="1"/>
          <p:nvPr/>
        </p:nvSpPr>
        <p:spPr>
          <a:xfrm rot="16200000">
            <a:off x="10735523" y="3387903"/>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28070632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2A71DE-EFD3-283E-6657-34AD098CCFDD}"/>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A0C0866D-2FD4-7562-48D2-FCA7C26FEBF0}"/>
              </a:ext>
            </a:extLst>
          </p:cNvPr>
          <p:cNvSpPr>
            <a:spLocks noGrp="1"/>
          </p:cNvSpPr>
          <p:nvPr>
            <p:ph type="body" sz="quarter" idx="24"/>
          </p:nvPr>
        </p:nvSpPr>
        <p:spPr/>
        <p:txBody>
          <a:bodyPr/>
          <a:lstStyle/>
          <a:p>
            <a:endParaRPr lang="es-ES" dirty="0"/>
          </a:p>
        </p:txBody>
      </p:sp>
      <p:sp>
        <p:nvSpPr>
          <p:cNvPr id="6" name="Marcador de número de diapositiva 5">
            <a:extLst>
              <a:ext uri="{FF2B5EF4-FFF2-40B4-BE49-F238E27FC236}">
                <a16:creationId xmlns:a16="http://schemas.microsoft.com/office/drawing/2014/main" id="{8A840047-7983-837E-E45C-649903F39517}"/>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sp>
        <p:nvSpPr>
          <p:cNvPr id="12" name="6 CuadroTexto">
            <a:extLst>
              <a:ext uri="{FF2B5EF4-FFF2-40B4-BE49-F238E27FC236}">
                <a16:creationId xmlns:a16="http://schemas.microsoft.com/office/drawing/2014/main" id="{E028AA8E-3B34-A1FB-A2B5-166152389EB3}"/>
              </a:ext>
            </a:extLst>
          </p:cNvPr>
          <p:cNvSpPr txBox="1"/>
          <p:nvPr/>
        </p:nvSpPr>
        <p:spPr>
          <a:xfrm>
            <a:off x="6885497" y="3562763"/>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2" name="Imagen 1">
            <a:extLst>
              <a:ext uri="{FF2B5EF4-FFF2-40B4-BE49-F238E27FC236}">
                <a16:creationId xmlns:a16="http://schemas.microsoft.com/office/drawing/2014/main" id="{95037765-7263-F92F-3D98-13CDB8920D73}"/>
              </a:ext>
            </a:extLst>
          </p:cNvPr>
          <p:cNvPicPr>
            <a:picLocks noChangeAspect="1"/>
          </p:cNvPicPr>
          <p:nvPr/>
        </p:nvPicPr>
        <p:blipFill>
          <a:blip r:embed="rId3"/>
          <a:stretch>
            <a:fillRect/>
          </a:stretch>
        </p:blipFill>
        <p:spPr>
          <a:xfrm>
            <a:off x="10623775" y="231972"/>
            <a:ext cx="1329043" cy="457240"/>
          </a:xfrm>
          <a:prstGeom prst="rect">
            <a:avLst/>
          </a:prstGeom>
        </p:spPr>
      </p:pic>
      <p:sp>
        <p:nvSpPr>
          <p:cNvPr id="9" name="Título 3">
            <a:extLst>
              <a:ext uri="{FF2B5EF4-FFF2-40B4-BE49-F238E27FC236}">
                <a16:creationId xmlns:a16="http://schemas.microsoft.com/office/drawing/2014/main" id="{64205982-BD14-4D6D-E3FF-4EAA350C4C6E}"/>
              </a:ext>
            </a:extLst>
          </p:cNvPr>
          <p:cNvSpPr txBox="1">
            <a:spLocks/>
          </p:cNvSpPr>
          <p:nvPr/>
        </p:nvSpPr>
        <p:spPr>
          <a:xfrm>
            <a:off x="1137226" y="386132"/>
            <a:ext cx="9486549" cy="716481"/>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_tradnl" sz="2800" dirty="0"/>
              <a:t>Presentaciones clínicas del SCC</a:t>
            </a:r>
            <a:endParaRPr lang="es-ES" sz="2800" dirty="0"/>
          </a:p>
        </p:txBody>
      </p:sp>
      <p:pic>
        <p:nvPicPr>
          <p:cNvPr id="16" name="Imagen 15">
            <a:extLst>
              <a:ext uri="{FF2B5EF4-FFF2-40B4-BE49-F238E27FC236}">
                <a16:creationId xmlns:a16="http://schemas.microsoft.com/office/drawing/2014/main" id="{932ECEA0-9EFA-A8C0-88F9-9AEB4BCCFBEA}"/>
              </a:ext>
            </a:extLst>
          </p:cNvPr>
          <p:cNvPicPr>
            <a:picLocks noChangeAspect="1"/>
          </p:cNvPicPr>
          <p:nvPr/>
        </p:nvPicPr>
        <p:blipFill>
          <a:blip r:embed="rId4"/>
          <a:stretch>
            <a:fillRect/>
          </a:stretch>
        </p:blipFill>
        <p:spPr>
          <a:xfrm>
            <a:off x="1279546" y="1992209"/>
            <a:ext cx="5407490" cy="3096521"/>
          </a:xfrm>
          <a:prstGeom prst="rect">
            <a:avLst/>
          </a:prstGeom>
        </p:spPr>
      </p:pic>
      <p:sp>
        <p:nvSpPr>
          <p:cNvPr id="3" name="Rectángulo 2">
            <a:extLst>
              <a:ext uri="{FF2B5EF4-FFF2-40B4-BE49-F238E27FC236}">
                <a16:creationId xmlns:a16="http://schemas.microsoft.com/office/drawing/2014/main" id="{C60F5D00-17B8-9389-6383-AB97E5A46514}"/>
              </a:ext>
            </a:extLst>
          </p:cNvPr>
          <p:cNvSpPr/>
          <p:nvPr/>
        </p:nvSpPr>
        <p:spPr>
          <a:xfrm>
            <a:off x="1159198" y="1721451"/>
            <a:ext cx="5574426" cy="3663783"/>
          </a:xfrm>
          <a:prstGeom prst="rect">
            <a:avLst/>
          </a:prstGeom>
          <a:no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n>
                <a:solidFill>
                  <a:srgbClr val="C00000"/>
                </a:solidFill>
              </a:ln>
            </a:endParaRPr>
          </a:p>
        </p:txBody>
      </p:sp>
      <p:sp>
        <p:nvSpPr>
          <p:cNvPr id="21" name="CuadroTexto 20">
            <a:extLst>
              <a:ext uri="{FF2B5EF4-FFF2-40B4-BE49-F238E27FC236}">
                <a16:creationId xmlns:a16="http://schemas.microsoft.com/office/drawing/2014/main" id="{91D19883-1BCD-9A07-45D3-A89D897EAAA8}"/>
              </a:ext>
            </a:extLst>
          </p:cNvPr>
          <p:cNvSpPr txBox="1"/>
          <p:nvPr/>
        </p:nvSpPr>
        <p:spPr>
          <a:xfrm>
            <a:off x="1137225" y="5406482"/>
            <a:ext cx="3723288" cy="830997"/>
          </a:xfrm>
          <a:prstGeom prst="rect">
            <a:avLst/>
          </a:prstGeom>
          <a:noFill/>
        </p:spPr>
        <p:txBody>
          <a:bodyPr wrap="square">
            <a:spAutoFit/>
          </a:bodyPr>
          <a:lstStyle/>
          <a:p>
            <a:r>
              <a:rPr lang="en-GB" sz="800" dirty="0">
                <a:solidFill>
                  <a:schemeClr val="accent1"/>
                </a:solidFill>
              </a:rPr>
              <a:t>ACS: acute coronary syndrome; ANOCA: angina with non-obstructive coronary arteries; CABG: coronary artery bypass grafting; CAD: coronary artery disease; CCS: chronic coronary syndrome; INOCA: ischaemia with non-obstructive coronary arteries; LV: left ventricular; LVEDP: left ventricular end-diastolic pressure; PCI: percutaneous coronary intervention; VSMC: vascular smooth muscle cell. </a:t>
            </a:r>
          </a:p>
        </p:txBody>
      </p:sp>
      <p:sp>
        <p:nvSpPr>
          <p:cNvPr id="25" name="Flecha: doblada hacia arriba 24">
            <a:extLst>
              <a:ext uri="{FF2B5EF4-FFF2-40B4-BE49-F238E27FC236}">
                <a16:creationId xmlns:a16="http://schemas.microsoft.com/office/drawing/2014/main" id="{F2CB501D-18AB-023D-6D45-F99CEE31C342}"/>
              </a:ext>
            </a:extLst>
          </p:cNvPr>
          <p:cNvSpPr/>
          <p:nvPr/>
        </p:nvSpPr>
        <p:spPr>
          <a:xfrm rot="5400000">
            <a:off x="6938091" y="2893915"/>
            <a:ext cx="675505" cy="1388338"/>
          </a:xfrm>
          <a:prstGeom prst="bentUpArrow">
            <a:avLst/>
          </a:prstGeom>
          <a:solidFill>
            <a:schemeClr val="accent4"/>
          </a:solidFill>
          <a:ln w="3810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CuadroTexto 25">
            <a:extLst>
              <a:ext uri="{FF2B5EF4-FFF2-40B4-BE49-F238E27FC236}">
                <a16:creationId xmlns:a16="http://schemas.microsoft.com/office/drawing/2014/main" id="{FFDACFAE-A1AA-49B2-674D-5E1A9E62C095}"/>
              </a:ext>
            </a:extLst>
          </p:cNvPr>
          <p:cNvSpPr txBox="1"/>
          <p:nvPr/>
        </p:nvSpPr>
        <p:spPr>
          <a:xfrm>
            <a:off x="8071369" y="3052564"/>
            <a:ext cx="2730522" cy="1384995"/>
          </a:xfrm>
          <a:prstGeom prst="rect">
            <a:avLst/>
          </a:prstGeom>
          <a:noFill/>
          <a:ln w="19050">
            <a:solidFill>
              <a:schemeClr val="accent4"/>
            </a:solidFill>
          </a:ln>
        </p:spPr>
        <p:txBody>
          <a:bodyPr wrap="square" rtlCol="0">
            <a:spAutoFit/>
          </a:bodyPr>
          <a:lstStyle/>
          <a:p>
            <a:pPr algn="just"/>
            <a:r>
              <a:rPr lang="es-ES" sz="1200" dirty="0">
                <a:solidFill>
                  <a:schemeClr val="accent1"/>
                </a:solidFill>
              </a:rPr>
              <a:t>Se introduce el concepto de</a:t>
            </a:r>
            <a:r>
              <a:rPr lang="es-ES" sz="1200" b="1" baseline="30000" dirty="0">
                <a:solidFill>
                  <a:schemeClr val="accent1"/>
                </a:solidFill>
              </a:rPr>
              <a:t>1</a:t>
            </a:r>
            <a:r>
              <a:rPr lang="es-ES" sz="1200" dirty="0">
                <a:solidFill>
                  <a:schemeClr val="accent1"/>
                </a:solidFill>
              </a:rPr>
              <a:t>:</a:t>
            </a:r>
          </a:p>
          <a:p>
            <a:pPr algn="just"/>
            <a:endParaRPr lang="es-ES" sz="1200" dirty="0">
              <a:solidFill>
                <a:schemeClr val="accent1"/>
              </a:solidFill>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200" b="1" dirty="0">
                <a:solidFill>
                  <a:srgbClr val="002855"/>
                </a:solidFill>
              </a:rPr>
              <a:t>ANOCA: Angina</a:t>
            </a:r>
            <a:r>
              <a:rPr lang="es-ES" sz="1200" dirty="0">
                <a:solidFill>
                  <a:srgbClr val="002855"/>
                </a:solidFill>
              </a:rPr>
              <a:t> con arterias coronarias no obstructiva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1200" dirty="0">
              <a:solidFill>
                <a:srgbClr val="002855"/>
              </a:solidFill>
            </a:endParaRPr>
          </a:p>
          <a:p>
            <a:pPr marL="171450" indent="-171450" algn="just">
              <a:buFont typeface="Arial" panose="020B0604020202020204" pitchFamily="34" charset="0"/>
              <a:buChar char="•"/>
              <a:defRPr/>
            </a:pPr>
            <a:r>
              <a:rPr lang="es-ES" sz="1200" b="1" dirty="0">
                <a:solidFill>
                  <a:srgbClr val="002855"/>
                </a:solidFill>
              </a:rPr>
              <a:t>INOCA: Isquemia </a:t>
            </a:r>
            <a:r>
              <a:rPr lang="es-ES" sz="1200" dirty="0">
                <a:solidFill>
                  <a:srgbClr val="002855"/>
                </a:solidFill>
              </a:rPr>
              <a:t>con arterias coronarias no obstructivas.</a:t>
            </a:r>
          </a:p>
        </p:txBody>
      </p:sp>
      <p:sp>
        <p:nvSpPr>
          <p:cNvPr id="17" name="Rectángulo 16">
            <a:extLst>
              <a:ext uri="{FF2B5EF4-FFF2-40B4-BE49-F238E27FC236}">
                <a16:creationId xmlns:a16="http://schemas.microsoft.com/office/drawing/2014/main" id="{25998C59-D0AC-75D9-ADCD-786648332D16}"/>
              </a:ext>
            </a:extLst>
          </p:cNvPr>
          <p:cNvSpPr/>
          <p:nvPr/>
        </p:nvSpPr>
        <p:spPr>
          <a:xfrm>
            <a:off x="1137225" y="1283173"/>
            <a:ext cx="5748271" cy="34145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s-ES" sz="1400" dirty="0">
                <a:solidFill>
                  <a:schemeClr val="bg1"/>
                </a:solidFill>
              </a:rPr>
              <a:t>Presentaciones clínicas de los mecanismos de isquemia miocárdica</a:t>
            </a:r>
            <a:r>
              <a:rPr lang="es-ES" sz="1400" b="1" baseline="30000" dirty="0">
                <a:solidFill>
                  <a:schemeClr val="bg1"/>
                </a:solidFill>
              </a:rPr>
              <a:t>1</a:t>
            </a:r>
            <a:r>
              <a:rPr lang="es-ES" sz="1400" dirty="0">
                <a:solidFill>
                  <a:schemeClr val="bg1"/>
                </a:solidFill>
              </a:rPr>
              <a:t>:</a:t>
            </a:r>
            <a:endParaRPr lang="es-ES" sz="1400" dirty="0"/>
          </a:p>
        </p:txBody>
      </p:sp>
      <p:sp>
        <p:nvSpPr>
          <p:cNvPr id="11" name="CuadroTexto 10">
            <a:extLst>
              <a:ext uri="{FF2B5EF4-FFF2-40B4-BE49-F238E27FC236}">
                <a16:creationId xmlns:a16="http://schemas.microsoft.com/office/drawing/2014/main" id="{AF2F900E-D4E8-8866-B959-C804ED02BA01}"/>
              </a:ext>
            </a:extLst>
          </p:cNvPr>
          <p:cNvSpPr txBox="1"/>
          <p:nvPr/>
        </p:nvSpPr>
        <p:spPr>
          <a:xfrm>
            <a:off x="7418004" y="1020063"/>
            <a:ext cx="4217270" cy="1754326"/>
          </a:xfrm>
          <a:prstGeom prst="rect">
            <a:avLst/>
          </a:prstGeom>
          <a:noFill/>
        </p:spPr>
        <p:txBody>
          <a:bodyPr wrap="square" rtlCol="0">
            <a:spAutoFit/>
          </a:bodyPr>
          <a:lstStyle/>
          <a:p>
            <a:pPr algn="just">
              <a:lnSpc>
                <a:spcPct val="150000"/>
              </a:lnSpc>
            </a:pPr>
            <a:r>
              <a:rPr lang="es-ES" sz="1200" b="1" dirty="0">
                <a:solidFill>
                  <a:schemeClr val="accent1"/>
                </a:solidFill>
              </a:rPr>
              <a:t>Principales síntomas SCC</a:t>
            </a:r>
            <a:r>
              <a:rPr lang="es-ES" sz="1200" b="1" baseline="30000" dirty="0">
                <a:solidFill>
                  <a:schemeClr val="accent1"/>
                </a:solidFill>
              </a:rPr>
              <a:t>1</a:t>
            </a:r>
            <a:r>
              <a:rPr lang="es-ES" sz="1200" b="1" dirty="0">
                <a:solidFill>
                  <a:schemeClr val="accent1"/>
                </a:solidFill>
              </a:rPr>
              <a:t>:</a:t>
            </a:r>
          </a:p>
          <a:p>
            <a:pPr marL="628650" lvl="1" indent="-171450" algn="just">
              <a:lnSpc>
                <a:spcPct val="150000"/>
              </a:lnSpc>
              <a:buFont typeface="Courier New" panose="02070309020205020404" pitchFamily="49" charset="0"/>
              <a:buChar char="o"/>
            </a:pPr>
            <a:r>
              <a:rPr lang="es-ES" sz="1200" dirty="0">
                <a:solidFill>
                  <a:schemeClr val="accent1"/>
                </a:solidFill>
              </a:rPr>
              <a:t>Angina.</a:t>
            </a:r>
          </a:p>
          <a:p>
            <a:pPr algn="just"/>
            <a:endParaRPr lang="es-ES" sz="1200" dirty="0">
              <a:solidFill>
                <a:schemeClr val="accent1"/>
              </a:solidFill>
            </a:endParaRPr>
          </a:p>
          <a:p>
            <a:pPr marL="171450" indent="-171450" algn="just">
              <a:buFont typeface="Arial" panose="020B0604020202020204" pitchFamily="34" charset="0"/>
              <a:buChar char="•"/>
            </a:pPr>
            <a:r>
              <a:rPr lang="es-ES" sz="1200" dirty="0">
                <a:solidFill>
                  <a:schemeClr val="accent1"/>
                </a:solidFill>
              </a:rPr>
              <a:t>El término ‘</a:t>
            </a:r>
            <a:r>
              <a:rPr lang="es-ES" sz="1200" b="1" dirty="0">
                <a:solidFill>
                  <a:schemeClr val="accent1"/>
                </a:solidFill>
              </a:rPr>
              <a:t>angina típica’ </a:t>
            </a:r>
            <a:r>
              <a:rPr lang="es-ES" sz="1200" b="1" i="1" dirty="0">
                <a:solidFill>
                  <a:schemeClr val="accent1"/>
                </a:solidFill>
              </a:rPr>
              <a:t>vs.</a:t>
            </a:r>
            <a:r>
              <a:rPr lang="es-ES" sz="1200" b="1" dirty="0">
                <a:solidFill>
                  <a:schemeClr val="accent1"/>
                </a:solidFill>
              </a:rPr>
              <a:t> ‘angina atípica’ </a:t>
            </a:r>
            <a:r>
              <a:rPr lang="es-ES" sz="1200" dirty="0">
                <a:solidFill>
                  <a:schemeClr val="accent1"/>
                </a:solidFill>
              </a:rPr>
              <a:t>ha quedado en desuso en la terminología actual del SCC</a:t>
            </a:r>
            <a:r>
              <a:rPr lang="es-ES" sz="1200" b="1" baseline="30000" dirty="0">
                <a:solidFill>
                  <a:schemeClr val="accent1"/>
                </a:solidFill>
              </a:rPr>
              <a:t>1</a:t>
            </a:r>
            <a:r>
              <a:rPr lang="es-ES" sz="1200" dirty="0">
                <a:solidFill>
                  <a:schemeClr val="accent1"/>
                </a:solidFill>
              </a:rPr>
              <a:t>.</a:t>
            </a:r>
          </a:p>
          <a:p>
            <a:pPr marL="171450" indent="-171450" algn="just">
              <a:buFont typeface="Arial" panose="020B0604020202020204" pitchFamily="34" charset="0"/>
              <a:buChar char="•"/>
            </a:pPr>
            <a:endParaRPr lang="es-ES" sz="1200" dirty="0">
              <a:solidFill>
                <a:schemeClr val="accent1"/>
              </a:solidFill>
            </a:endParaRPr>
          </a:p>
          <a:p>
            <a:pPr marL="171450" indent="-171450" algn="just">
              <a:buFont typeface="Arial" panose="020B0604020202020204" pitchFamily="34" charset="0"/>
              <a:buChar char="•"/>
            </a:pPr>
            <a:r>
              <a:rPr lang="es-ES" sz="1200" dirty="0">
                <a:solidFill>
                  <a:schemeClr val="accent1"/>
                </a:solidFill>
              </a:rPr>
              <a:t>Debe ser reemplazada por una descripción detallada de sintomatología, </a:t>
            </a:r>
            <a:r>
              <a:rPr lang="es-ES" sz="1200" b="1" dirty="0">
                <a:solidFill>
                  <a:schemeClr val="accent1"/>
                </a:solidFill>
              </a:rPr>
              <a:t>incluyendo ‘equivalentes anginosos’</a:t>
            </a:r>
            <a:r>
              <a:rPr lang="es-ES" sz="1200" b="1" baseline="30000" dirty="0">
                <a:solidFill>
                  <a:schemeClr val="accent1"/>
                </a:solidFill>
              </a:rPr>
              <a:t> 1</a:t>
            </a:r>
            <a:r>
              <a:rPr lang="es-ES" sz="1200" b="1" dirty="0">
                <a:solidFill>
                  <a:schemeClr val="accent1"/>
                </a:solidFill>
              </a:rPr>
              <a:t>.</a:t>
            </a:r>
          </a:p>
        </p:txBody>
      </p:sp>
      <p:sp>
        <p:nvSpPr>
          <p:cNvPr id="14" name="Signo de multiplicación 13">
            <a:extLst>
              <a:ext uri="{FF2B5EF4-FFF2-40B4-BE49-F238E27FC236}">
                <a16:creationId xmlns:a16="http://schemas.microsoft.com/office/drawing/2014/main" id="{88F3BE92-C62C-6AD1-595C-F2B18362C6F3}"/>
              </a:ext>
            </a:extLst>
          </p:cNvPr>
          <p:cNvSpPr/>
          <p:nvPr/>
        </p:nvSpPr>
        <p:spPr>
          <a:xfrm>
            <a:off x="7176218" y="1726007"/>
            <a:ext cx="483571" cy="443115"/>
          </a:xfrm>
          <a:prstGeom prst="mathMultiply">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8" name="Gráfico 17" descr="Marca de verificación con relleno sólido">
            <a:extLst>
              <a:ext uri="{FF2B5EF4-FFF2-40B4-BE49-F238E27FC236}">
                <a16:creationId xmlns:a16="http://schemas.microsoft.com/office/drawing/2014/main" id="{A27CDA88-ECD4-F27F-090E-1E2806422E3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89704" y="2330968"/>
            <a:ext cx="384076" cy="384076"/>
          </a:xfrm>
          <a:prstGeom prst="rect">
            <a:avLst/>
          </a:prstGeom>
        </p:spPr>
      </p:pic>
      <p:sp>
        <p:nvSpPr>
          <p:cNvPr id="19" name="CuadroTexto 18">
            <a:extLst>
              <a:ext uri="{FF2B5EF4-FFF2-40B4-BE49-F238E27FC236}">
                <a16:creationId xmlns:a16="http://schemas.microsoft.com/office/drawing/2014/main" id="{0922BD57-C908-928B-5B5B-85523FB36FBD}"/>
              </a:ext>
            </a:extLst>
          </p:cNvPr>
          <p:cNvSpPr txBox="1"/>
          <p:nvPr/>
        </p:nvSpPr>
        <p:spPr>
          <a:xfrm>
            <a:off x="7381742" y="4735421"/>
            <a:ext cx="4346100" cy="1015663"/>
          </a:xfrm>
          <a:prstGeom prst="rect">
            <a:avLst/>
          </a:prstGeom>
          <a:noFill/>
        </p:spPr>
        <p:txBody>
          <a:bodyPr wrap="square" rtlCol="0">
            <a:spAutoFit/>
          </a:bodyPr>
          <a:lstStyle/>
          <a:p>
            <a:pPr marL="171450" indent="-171450" algn="just">
              <a:buFont typeface="Arial" panose="020B0604020202020204" pitchFamily="34" charset="0"/>
              <a:buChar char="•"/>
            </a:pPr>
            <a:r>
              <a:rPr lang="es-ES" sz="1200" b="1" dirty="0">
                <a:solidFill>
                  <a:schemeClr val="accent1"/>
                </a:solidFill>
              </a:rPr>
              <a:t>ANOCA/INOCA </a:t>
            </a:r>
            <a:r>
              <a:rPr lang="es-ES" sz="1200" dirty="0">
                <a:solidFill>
                  <a:schemeClr val="accent1"/>
                </a:solidFill>
              </a:rPr>
              <a:t>raramente se diagnostican de manera correcta, y no se prescribe un tratamiento individualizado</a:t>
            </a:r>
            <a:r>
              <a:rPr lang="es-ES" sz="1200" b="1" baseline="30000" dirty="0">
                <a:solidFill>
                  <a:schemeClr val="accent1"/>
                </a:solidFill>
              </a:rPr>
              <a:t>1</a:t>
            </a:r>
            <a:r>
              <a:rPr lang="es-ES" sz="1200" dirty="0">
                <a:solidFill>
                  <a:schemeClr val="accent1"/>
                </a:solidFill>
              </a:rPr>
              <a:t>.</a:t>
            </a:r>
          </a:p>
          <a:p>
            <a:pPr marL="171450" indent="-171450" algn="just">
              <a:buFont typeface="Arial" panose="020B0604020202020204" pitchFamily="34" charset="0"/>
              <a:buChar char="•"/>
            </a:pPr>
            <a:endParaRPr lang="es-ES" sz="1200" dirty="0">
              <a:solidFill>
                <a:schemeClr val="accent1"/>
              </a:solidFill>
            </a:endParaRPr>
          </a:p>
          <a:p>
            <a:pPr marL="171450" indent="-171450" algn="just">
              <a:buFont typeface="Arial" panose="020B0604020202020204" pitchFamily="34" charset="0"/>
              <a:buChar char="•"/>
            </a:pPr>
            <a:r>
              <a:rPr lang="es-ES" sz="1200" dirty="0">
                <a:solidFill>
                  <a:schemeClr val="accent1"/>
                </a:solidFill>
              </a:rPr>
              <a:t>Los pacientes suelen experimentar anginas recurrentes, con grandes repercusiones en su calidad de vida</a:t>
            </a:r>
            <a:r>
              <a:rPr lang="es-ES" sz="1200" b="1" baseline="30000" dirty="0">
                <a:solidFill>
                  <a:schemeClr val="accent1"/>
                </a:solidFill>
              </a:rPr>
              <a:t>1</a:t>
            </a:r>
            <a:r>
              <a:rPr lang="es-ES" sz="1200" dirty="0">
                <a:solidFill>
                  <a:schemeClr val="accent1"/>
                </a:solidFill>
              </a:rPr>
              <a:t>. </a:t>
            </a:r>
          </a:p>
        </p:txBody>
      </p:sp>
      <p:sp>
        <p:nvSpPr>
          <p:cNvPr id="20" name="CuadroTexto 19">
            <a:extLst>
              <a:ext uri="{FF2B5EF4-FFF2-40B4-BE49-F238E27FC236}">
                <a16:creationId xmlns:a16="http://schemas.microsoft.com/office/drawing/2014/main" id="{2A8AB612-4E81-797B-433B-C4F355CB4620}"/>
              </a:ext>
            </a:extLst>
          </p:cNvPr>
          <p:cNvSpPr txBox="1"/>
          <p:nvPr/>
        </p:nvSpPr>
        <p:spPr>
          <a:xfrm>
            <a:off x="8612322" y="1290838"/>
            <a:ext cx="2213729" cy="335156"/>
          </a:xfrm>
          <a:prstGeom prst="rect">
            <a:avLst/>
          </a:prstGeom>
          <a:noFill/>
        </p:spPr>
        <p:txBody>
          <a:bodyPr wrap="square" rtlCol="0">
            <a:spAutoFit/>
          </a:bodyPr>
          <a:lstStyle/>
          <a:p>
            <a:pPr marL="628650" lvl="1" indent="-171450" algn="just">
              <a:lnSpc>
                <a:spcPct val="150000"/>
              </a:lnSpc>
              <a:buFont typeface="Courier New" panose="02070309020205020404" pitchFamily="49" charset="0"/>
              <a:buChar char="o"/>
            </a:pPr>
            <a:r>
              <a:rPr lang="es-ES" sz="1200" dirty="0" err="1">
                <a:solidFill>
                  <a:schemeClr val="accent1"/>
                </a:solidFill>
              </a:rPr>
              <a:t>Dísnea</a:t>
            </a:r>
            <a:r>
              <a:rPr lang="es-ES" sz="1200" dirty="0">
                <a:solidFill>
                  <a:schemeClr val="accent1"/>
                </a:solidFill>
              </a:rPr>
              <a:t> de esfuerzo.</a:t>
            </a:r>
          </a:p>
        </p:txBody>
      </p:sp>
      <p:sp>
        <p:nvSpPr>
          <p:cNvPr id="5" name="CuadroTexto 4">
            <a:extLst>
              <a:ext uri="{FF2B5EF4-FFF2-40B4-BE49-F238E27FC236}">
                <a16:creationId xmlns:a16="http://schemas.microsoft.com/office/drawing/2014/main" id="{C86247C0-F3F8-3F15-4A04-C6868CE25195}"/>
              </a:ext>
            </a:extLst>
          </p:cNvPr>
          <p:cNvSpPr txBox="1"/>
          <p:nvPr/>
        </p:nvSpPr>
        <p:spPr>
          <a:xfrm>
            <a:off x="2978013" y="6458146"/>
            <a:ext cx="7323025" cy="200055"/>
          </a:xfrm>
          <a:prstGeom prst="rect">
            <a:avLst/>
          </a:prstGeom>
          <a:noFill/>
        </p:spPr>
        <p:txBody>
          <a:bodyPr wrap="square" rtlCol="0">
            <a:spAutoFit/>
          </a:bodyPr>
          <a:lstStyle>
            <a:defPPr>
              <a:defRPr lang="es-ES"/>
            </a:defPPr>
            <a:lvl1pPr>
              <a:defRPr sz="700" b="0" i="1">
                <a:solidFill>
                  <a:schemeClr val="accent1"/>
                </a:solidFill>
                <a:effectLst/>
              </a:defRPr>
            </a:lvl1pPr>
          </a:lstStyle>
          <a:p>
            <a:r>
              <a:rPr lang="en-US" dirty="0"/>
              <a:t>1. </a:t>
            </a:r>
            <a:r>
              <a:rPr lang="en-US" dirty="0" err="1"/>
              <a:t>Vrints</a:t>
            </a:r>
            <a:r>
              <a:rPr lang="en-US" dirty="0"/>
              <a:t> C, et al. 2024 ESC Guidelines for the management of chronic coronary syndromes. </a:t>
            </a:r>
            <a:r>
              <a:rPr lang="en-US" dirty="0" err="1"/>
              <a:t>Eur</a:t>
            </a:r>
            <a:r>
              <a:rPr lang="en-US" dirty="0"/>
              <a:t> Heart J. 2024 Sep 29;45(36):3415-3537. </a:t>
            </a:r>
            <a:r>
              <a:rPr lang="en-US" dirty="0" err="1"/>
              <a:t>doi</a:t>
            </a:r>
            <a:r>
              <a:rPr lang="en-US" dirty="0"/>
              <a:t>: 10.1093/</a:t>
            </a:r>
            <a:r>
              <a:rPr lang="en-US" dirty="0" err="1"/>
              <a:t>eurheartj</a:t>
            </a:r>
            <a:r>
              <a:rPr lang="en-US" dirty="0"/>
              <a:t>/ehae177.</a:t>
            </a:r>
          </a:p>
        </p:txBody>
      </p:sp>
      <p:sp>
        <p:nvSpPr>
          <p:cNvPr id="8" name="CuadroTexto 7">
            <a:extLst>
              <a:ext uri="{FF2B5EF4-FFF2-40B4-BE49-F238E27FC236}">
                <a16:creationId xmlns:a16="http://schemas.microsoft.com/office/drawing/2014/main" id="{DFAA9086-449D-DD8F-C2E1-D901FDE2C5BC}"/>
              </a:ext>
            </a:extLst>
          </p:cNvPr>
          <p:cNvSpPr txBox="1"/>
          <p:nvPr/>
        </p:nvSpPr>
        <p:spPr>
          <a:xfrm>
            <a:off x="3530090" y="6297018"/>
            <a:ext cx="6218871" cy="246221"/>
          </a:xfrm>
          <a:prstGeom prst="rect">
            <a:avLst/>
          </a:prstGeom>
          <a:noFill/>
        </p:spPr>
        <p:txBody>
          <a:bodyPr wrap="square">
            <a:spAutoFit/>
          </a:bodyPr>
          <a:lstStyle/>
          <a:p>
            <a:pPr algn="ctr"/>
            <a:r>
              <a:rPr lang="es-ES" sz="1000" dirty="0">
                <a:solidFill>
                  <a:schemeClr val="accent1"/>
                </a:solidFill>
              </a:rPr>
              <a:t>Guía ESC 2024 para el manejo de los síndromes coronarios crónicos </a:t>
            </a:r>
          </a:p>
        </p:txBody>
      </p:sp>
      <p:sp>
        <p:nvSpPr>
          <p:cNvPr id="15" name="CuadroTexto 14">
            <a:extLst>
              <a:ext uri="{FF2B5EF4-FFF2-40B4-BE49-F238E27FC236}">
                <a16:creationId xmlns:a16="http://schemas.microsoft.com/office/drawing/2014/main" id="{E0A1E5B0-23CF-8281-0DAD-40C3A61C47E0}"/>
              </a:ext>
            </a:extLst>
          </p:cNvPr>
          <p:cNvSpPr txBox="1"/>
          <p:nvPr/>
        </p:nvSpPr>
        <p:spPr>
          <a:xfrm>
            <a:off x="4836721" y="5434609"/>
            <a:ext cx="2024983" cy="200055"/>
          </a:xfrm>
          <a:prstGeom prst="rect">
            <a:avLst/>
          </a:prstGeom>
          <a:noFill/>
        </p:spPr>
        <p:txBody>
          <a:bodyPr wrap="square" rtlCol="0">
            <a:spAutoFit/>
          </a:bodyPr>
          <a:lstStyle>
            <a:defPPr>
              <a:defRPr lang="es-ES"/>
            </a:defPPr>
            <a:lvl1pPr>
              <a:defRPr sz="700" b="0" i="1">
                <a:solidFill>
                  <a:schemeClr val="accent1"/>
                </a:solidFill>
                <a:effectLst/>
              </a:defRPr>
            </a:lvl1pPr>
          </a:lstStyle>
          <a:p>
            <a:r>
              <a:rPr lang="en-US" b="1" dirty="0" err="1"/>
              <a:t>Eur</a:t>
            </a:r>
            <a:r>
              <a:rPr lang="en-US" b="1" dirty="0"/>
              <a:t> Heart J. 2024 Sep 29;45(36):3415-3537</a:t>
            </a:r>
            <a:endParaRPr lang="es-ES" b="1" dirty="0"/>
          </a:p>
        </p:txBody>
      </p:sp>
      <p:sp>
        <p:nvSpPr>
          <p:cNvPr id="7" name="CuadroTexto 6">
            <a:extLst>
              <a:ext uri="{FF2B5EF4-FFF2-40B4-BE49-F238E27FC236}">
                <a16:creationId xmlns:a16="http://schemas.microsoft.com/office/drawing/2014/main" id="{0505D679-703E-8A89-23A6-5C433777D8A7}"/>
              </a:ext>
            </a:extLst>
          </p:cNvPr>
          <p:cNvSpPr txBox="1"/>
          <p:nvPr/>
        </p:nvSpPr>
        <p:spPr>
          <a:xfrm rot="16200000">
            <a:off x="10633273" y="3376069"/>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19662622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DC55C2-56D6-64C4-B154-09D53AD91BFA}"/>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5943A1AC-9B8F-4CF8-9DA8-A8CDA060B0D1}"/>
              </a:ext>
            </a:extLst>
          </p:cNvPr>
          <p:cNvSpPr>
            <a:spLocks noGrp="1"/>
          </p:cNvSpPr>
          <p:nvPr>
            <p:ph type="body" sz="quarter" idx="24"/>
          </p:nvPr>
        </p:nvSpPr>
        <p:spPr/>
        <p:txBody>
          <a:bodyPr/>
          <a:lstStyle/>
          <a:p>
            <a:endParaRPr lang="es-ES" dirty="0"/>
          </a:p>
        </p:txBody>
      </p:sp>
      <p:sp>
        <p:nvSpPr>
          <p:cNvPr id="6" name="Marcador de número de diapositiva 5">
            <a:extLst>
              <a:ext uri="{FF2B5EF4-FFF2-40B4-BE49-F238E27FC236}">
                <a16:creationId xmlns:a16="http://schemas.microsoft.com/office/drawing/2014/main" id="{E9931BCC-1D96-0FB4-4EAE-4716C6BB9B6B}"/>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F64DD7-E411-6141-89FE-121B5323FD5F}" type="slidenum">
              <a:rPr kumimoji="0" lang="en-US" sz="933" b="0" i="0" u="none" strike="noStrike" kern="1200" cap="none" spc="0" normalizeH="0" baseline="0" noProof="0" smtClean="0">
                <a:ln>
                  <a:noFill/>
                </a:ln>
                <a:solidFill>
                  <a:srgbClr val="002855"/>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933" b="0" i="0" u="none" strike="noStrike" kern="1200" cap="none" spc="0" normalizeH="0" baseline="0" noProof="0">
              <a:ln>
                <a:noFill/>
              </a:ln>
              <a:solidFill>
                <a:srgbClr val="002855"/>
              </a:solidFill>
              <a:effectLst/>
              <a:uLnTx/>
              <a:uFillTx/>
              <a:latin typeface="Arial"/>
              <a:ea typeface="+mn-ea"/>
              <a:cs typeface="+mn-cs"/>
            </a:endParaRPr>
          </a:p>
        </p:txBody>
      </p:sp>
      <p:sp>
        <p:nvSpPr>
          <p:cNvPr id="12" name="6 CuadroTexto">
            <a:extLst>
              <a:ext uri="{FF2B5EF4-FFF2-40B4-BE49-F238E27FC236}">
                <a16:creationId xmlns:a16="http://schemas.microsoft.com/office/drawing/2014/main" id="{55C19966-0328-D61E-177F-2DDB6B420FC3}"/>
              </a:ext>
            </a:extLst>
          </p:cNvPr>
          <p:cNvSpPr txBox="1"/>
          <p:nvPr/>
        </p:nvSpPr>
        <p:spPr>
          <a:xfrm>
            <a:off x="6884747" y="4002370"/>
            <a:ext cx="1656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prstClr val="black"/>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2" name="Imagen 1">
            <a:extLst>
              <a:ext uri="{FF2B5EF4-FFF2-40B4-BE49-F238E27FC236}">
                <a16:creationId xmlns:a16="http://schemas.microsoft.com/office/drawing/2014/main" id="{9D0D52AB-59A9-511A-E6B6-E12F777C42CD}"/>
              </a:ext>
            </a:extLst>
          </p:cNvPr>
          <p:cNvPicPr>
            <a:picLocks noChangeAspect="1"/>
          </p:cNvPicPr>
          <p:nvPr/>
        </p:nvPicPr>
        <p:blipFill>
          <a:blip r:embed="rId3"/>
          <a:stretch>
            <a:fillRect/>
          </a:stretch>
        </p:blipFill>
        <p:spPr>
          <a:xfrm>
            <a:off x="10623775" y="231972"/>
            <a:ext cx="1329043" cy="457240"/>
          </a:xfrm>
          <a:prstGeom prst="rect">
            <a:avLst/>
          </a:prstGeom>
        </p:spPr>
      </p:pic>
      <p:sp>
        <p:nvSpPr>
          <p:cNvPr id="9" name="Título 3">
            <a:extLst>
              <a:ext uri="{FF2B5EF4-FFF2-40B4-BE49-F238E27FC236}">
                <a16:creationId xmlns:a16="http://schemas.microsoft.com/office/drawing/2014/main" id="{93984522-D7F1-848C-EF7F-7A8D032FFDF1}"/>
              </a:ext>
            </a:extLst>
          </p:cNvPr>
          <p:cNvSpPr txBox="1">
            <a:spLocks/>
          </p:cNvSpPr>
          <p:nvPr/>
        </p:nvSpPr>
        <p:spPr>
          <a:xfrm>
            <a:off x="1035431" y="234937"/>
            <a:ext cx="9269517" cy="1469134"/>
          </a:xfrm>
          <a:prstGeom prst="rect">
            <a:avLst/>
          </a:prstGeom>
        </p:spPr>
        <p:txBody>
          <a:bodyPr lIns="0" tIns="0" rIns="0" bIns="0"/>
          <a:lstStyle>
            <a:lvl1pPr marL="0" marR="0" indent="0" algn="l" defTabSz="914377" rtl="0" eaLnBrk="1" fontAlgn="auto" latinLnBrk="0" hangingPunct="1">
              <a:lnSpc>
                <a:spcPct val="90000"/>
              </a:lnSpc>
              <a:spcBef>
                <a:spcPct val="0"/>
              </a:spcBef>
              <a:spcAft>
                <a:spcPts val="0"/>
              </a:spcAft>
              <a:buClrTx/>
              <a:buSzTx/>
              <a:buFontTx/>
              <a:buNone/>
              <a:tabLst/>
              <a:defRPr sz="5067" kern="1200" baseline="0">
                <a:solidFill>
                  <a:schemeClr val="accent1"/>
                </a:solidFill>
                <a:latin typeface="+mj-lt"/>
                <a:ea typeface="+mj-ea"/>
                <a:cs typeface="+mj-cs"/>
              </a:defRPr>
            </a:lvl1pPr>
          </a:lstStyle>
          <a:p>
            <a:r>
              <a:rPr lang="es-ES" sz="2800" dirty="0"/>
              <a:t>Prevalencia de las características del SCC</a:t>
            </a:r>
          </a:p>
        </p:txBody>
      </p:sp>
      <p:pic>
        <p:nvPicPr>
          <p:cNvPr id="11" name="Imagen 10">
            <a:extLst>
              <a:ext uri="{FF2B5EF4-FFF2-40B4-BE49-F238E27FC236}">
                <a16:creationId xmlns:a16="http://schemas.microsoft.com/office/drawing/2014/main" id="{2D313CF9-2E54-3235-C4E4-D7AA45303F09}"/>
              </a:ext>
            </a:extLst>
          </p:cNvPr>
          <p:cNvPicPr>
            <a:picLocks noChangeAspect="1"/>
          </p:cNvPicPr>
          <p:nvPr/>
        </p:nvPicPr>
        <p:blipFill>
          <a:blip r:embed="rId4"/>
          <a:stretch>
            <a:fillRect/>
          </a:stretch>
        </p:blipFill>
        <p:spPr>
          <a:xfrm>
            <a:off x="5895914" y="1206753"/>
            <a:ext cx="6134956" cy="4667901"/>
          </a:xfrm>
          <a:prstGeom prst="rect">
            <a:avLst/>
          </a:prstGeom>
        </p:spPr>
      </p:pic>
      <p:sp>
        <p:nvSpPr>
          <p:cNvPr id="13" name="CuadroTexto 12">
            <a:extLst>
              <a:ext uri="{FF2B5EF4-FFF2-40B4-BE49-F238E27FC236}">
                <a16:creationId xmlns:a16="http://schemas.microsoft.com/office/drawing/2014/main" id="{653BDDEF-0244-BA76-FE92-C5D0CFD1DF8C}"/>
              </a:ext>
            </a:extLst>
          </p:cNvPr>
          <p:cNvSpPr txBox="1"/>
          <p:nvPr/>
        </p:nvSpPr>
        <p:spPr>
          <a:xfrm>
            <a:off x="1197577" y="1951722"/>
            <a:ext cx="4338816" cy="2308324"/>
          </a:xfrm>
          <a:prstGeom prst="rect">
            <a:avLst/>
          </a:prstGeom>
          <a:noFill/>
          <a:ln w="19050">
            <a:solidFill>
              <a:schemeClr val="accent4"/>
            </a:solidFill>
          </a:ln>
        </p:spPr>
        <p:txBody>
          <a:bodyPr wrap="square">
            <a:spAutoFit/>
          </a:bodyPr>
          <a:lstStyle/>
          <a:p>
            <a:pPr marL="171450" indent="-171450" algn="just">
              <a:buFont typeface="Arial" panose="020B0604020202020204" pitchFamily="34" charset="0"/>
              <a:buChar char="•"/>
              <a:defRPr/>
            </a:pPr>
            <a:r>
              <a:rPr lang="es-ES" sz="1200" dirty="0">
                <a:solidFill>
                  <a:srgbClr val="002855"/>
                </a:solidFill>
                <a:latin typeface="Arial"/>
              </a:rPr>
              <a:t>Los síntomas no deben ser clasificados como no cardiacos en su origen, particularmente debido a que las mujeres tienen una prevalencia superior de ANOCA/INOCA</a:t>
            </a:r>
            <a:r>
              <a:rPr lang="es-ES" sz="1200" b="1" baseline="30000" dirty="0">
                <a:solidFill>
                  <a:schemeClr val="accent1"/>
                </a:solidFill>
              </a:rPr>
              <a:t>1</a:t>
            </a:r>
            <a:r>
              <a:rPr lang="es-ES" sz="1200" dirty="0">
                <a:solidFill>
                  <a:srgbClr val="002855"/>
                </a:solidFill>
                <a:latin typeface="Arial"/>
              </a:rPr>
              <a:t>.</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1200" dirty="0">
              <a:solidFill>
                <a:srgbClr val="002855"/>
              </a:solidFill>
              <a:latin typeface="Arial"/>
            </a:endParaRPr>
          </a:p>
          <a:p>
            <a:pPr marL="171450" indent="-171450" algn="just">
              <a:buFont typeface="Arial" panose="020B0604020202020204" pitchFamily="34" charset="0"/>
              <a:buChar char="•"/>
              <a:defRPr/>
            </a:pPr>
            <a:r>
              <a:rPr lang="es-ES" sz="1200" dirty="0">
                <a:solidFill>
                  <a:srgbClr val="002855"/>
                </a:solidFill>
                <a:latin typeface="Arial"/>
              </a:rPr>
              <a:t>ANOCA/INOCA se asocia con una gran variedad de presentaciones clínicas y el impacto de los síntomas es variable en el tiempo</a:t>
            </a:r>
            <a:r>
              <a:rPr lang="es-ES" sz="1200" b="1" baseline="30000" dirty="0">
                <a:solidFill>
                  <a:schemeClr val="accent1"/>
                </a:solidFill>
              </a:rPr>
              <a:t>1</a:t>
            </a:r>
            <a:r>
              <a:rPr lang="es-ES" sz="1200" dirty="0">
                <a:solidFill>
                  <a:srgbClr val="002855"/>
                </a:solidFill>
                <a:latin typeface="Arial"/>
              </a:rPr>
              <a:t>. </a:t>
            </a:r>
            <a:endParaRPr lang="es-ES" sz="1200" dirty="0">
              <a:solidFill>
                <a:srgbClr val="FF0000"/>
              </a:solidFill>
              <a:latin typeface="Arial"/>
            </a:endParaRPr>
          </a:p>
          <a:p>
            <a:pPr marL="171450" indent="-171450" algn="just">
              <a:buFont typeface="Arial" panose="020B0604020202020204" pitchFamily="34" charset="0"/>
              <a:buChar char="•"/>
              <a:defRPr/>
            </a:pPr>
            <a:endParaRPr lang="es-ES" sz="1200" dirty="0">
              <a:solidFill>
                <a:srgbClr val="002855"/>
              </a:solidFill>
              <a:latin typeface="Arial"/>
            </a:endParaRPr>
          </a:p>
          <a:p>
            <a:pPr marL="171450" indent="-171450" algn="just">
              <a:buFont typeface="Arial" panose="020B0604020202020204" pitchFamily="34" charset="0"/>
              <a:buChar char="•"/>
              <a:defRPr/>
            </a:pPr>
            <a:r>
              <a:rPr lang="es-ES" sz="1200" dirty="0">
                <a:solidFill>
                  <a:srgbClr val="002855"/>
                </a:solidFill>
                <a:latin typeface="Arial"/>
              </a:rPr>
              <a:t>La ausencia de arterias coronarias </a:t>
            </a:r>
            <a:r>
              <a:rPr lang="es-ES" sz="1200" dirty="0" err="1">
                <a:solidFill>
                  <a:srgbClr val="002855"/>
                </a:solidFill>
                <a:latin typeface="Arial"/>
              </a:rPr>
              <a:t>epicárdicas</a:t>
            </a:r>
            <a:r>
              <a:rPr lang="es-ES" sz="1200" dirty="0">
                <a:solidFill>
                  <a:srgbClr val="002855"/>
                </a:solidFill>
                <a:latin typeface="Arial"/>
              </a:rPr>
              <a:t> obstructivas en pacientes con angina/isquemia documentada requiere investigar en los </a:t>
            </a:r>
            <a:r>
              <a:rPr lang="es-ES" sz="1200" dirty="0" err="1">
                <a:solidFill>
                  <a:srgbClr val="002855"/>
                </a:solidFill>
                <a:latin typeface="Arial"/>
              </a:rPr>
              <a:t>endotipos</a:t>
            </a:r>
            <a:r>
              <a:rPr lang="es-ES" sz="1200" dirty="0">
                <a:solidFill>
                  <a:srgbClr val="002855"/>
                </a:solidFill>
                <a:latin typeface="Arial"/>
              </a:rPr>
              <a:t> ANOCA/INOCA</a:t>
            </a:r>
            <a:r>
              <a:rPr lang="es-ES" sz="1200" b="1" baseline="30000" dirty="0">
                <a:solidFill>
                  <a:schemeClr val="accent1"/>
                </a:solidFill>
              </a:rPr>
              <a:t>1</a:t>
            </a:r>
            <a:r>
              <a:rPr lang="es-ES" sz="1200" dirty="0">
                <a:solidFill>
                  <a:srgbClr val="002855"/>
                </a:solidFill>
                <a:latin typeface="Arial"/>
              </a:rPr>
              <a:t>.</a:t>
            </a:r>
            <a:endParaRPr lang="es-ES" sz="1800" dirty="0">
              <a:solidFill>
                <a:schemeClr val="accent1"/>
              </a:solidFill>
            </a:endParaRPr>
          </a:p>
        </p:txBody>
      </p:sp>
      <p:sp>
        <p:nvSpPr>
          <p:cNvPr id="15" name="CuadroTexto 14">
            <a:extLst>
              <a:ext uri="{FF2B5EF4-FFF2-40B4-BE49-F238E27FC236}">
                <a16:creationId xmlns:a16="http://schemas.microsoft.com/office/drawing/2014/main" id="{AA8656B1-F77C-CF2E-A4F2-CCA137B2C4F8}"/>
              </a:ext>
            </a:extLst>
          </p:cNvPr>
          <p:cNvSpPr txBox="1"/>
          <p:nvPr/>
        </p:nvSpPr>
        <p:spPr>
          <a:xfrm>
            <a:off x="6126646" y="772047"/>
            <a:ext cx="5541098" cy="461665"/>
          </a:xfrm>
          <a:prstGeom prst="rect">
            <a:avLst/>
          </a:prstGeom>
          <a:noFill/>
        </p:spPr>
        <p:txBody>
          <a:bodyPr wrap="square">
            <a:spAutoFit/>
          </a:bodyPr>
          <a:lstStyle/>
          <a:p>
            <a:pPr algn="ctr"/>
            <a:r>
              <a:rPr lang="es-ES" sz="1200" b="1" dirty="0">
                <a:solidFill>
                  <a:schemeClr val="accent1"/>
                </a:solidFill>
              </a:rPr>
              <a:t>Prevalencia de características de la enfermedad en pacientes con ANOCA/INOCA remitidos para pruebas coronarias invasivas</a:t>
            </a:r>
            <a:r>
              <a:rPr lang="es-ES" sz="1200" b="1" baseline="30000" dirty="0">
                <a:solidFill>
                  <a:schemeClr val="accent1"/>
                </a:solidFill>
              </a:rPr>
              <a:t>1</a:t>
            </a:r>
            <a:endParaRPr lang="en-GB" sz="1200" b="1" dirty="0">
              <a:solidFill>
                <a:schemeClr val="accent1"/>
              </a:solidFill>
            </a:endParaRPr>
          </a:p>
        </p:txBody>
      </p:sp>
      <p:sp>
        <p:nvSpPr>
          <p:cNvPr id="16" name="Rectángulo 15">
            <a:extLst>
              <a:ext uri="{FF2B5EF4-FFF2-40B4-BE49-F238E27FC236}">
                <a16:creationId xmlns:a16="http://schemas.microsoft.com/office/drawing/2014/main" id="{013E8A4A-9882-AA1B-24C7-5D533F0E4C51}"/>
              </a:ext>
            </a:extLst>
          </p:cNvPr>
          <p:cNvSpPr/>
          <p:nvPr/>
        </p:nvSpPr>
        <p:spPr>
          <a:xfrm>
            <a:off x="6884747" y="2558693"/>
            <a:ext cx="1532789" cy="460974"/>
          </a:xfrm>
          <a:prstGeom prst="rect">
            <a:avLst/>
          </a:prstGeom>
          <a:solidFill>
            <a:srgbClr val="FF0000"/>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1200" b="1"/>
              <a:t>Men: 30-50%</a:t>
            </a:r>
          </a:p>
          <a:p>
            <a:pPr algn="ctr"/>
            <a:r>
              <a:rPr lang="es-ES" sz="1200" b="1"/>
              <a:t>Women: 50-70%</a:t>
            </a:r>
            <a:endParaRPr lang="en-GB" sz="1200" b="1"/>
          </a:p>
        </p:txBody>
      </p:sp>
      <p:pic>
        <p:nvPicPr>
          <p:cNvPr id="18" name="Imagen 17">
            <a:extLst>
              <a:ext uri="{FF2B5EF4-FFF2-40B4-BE49-F238E27FC236}">
                <a16:creationId xmlns:a16="http://schemas.microsoft.com/office/drawing/2014/main" id="{37334C02-EFB0-C2BA-A887-A417EAA9C42D}"/>
              </a:ext>
            </a:extLst>
          </p:cNvPr>
          <p:cNvPicPr>
            <a:picLocks noChangeAspect="1"/>
          </p:cNvPicPr>
          <p:nvPr/>
        </p:nvPicPr>
        <p:blipFill>
          <a:blip r:embed="rId5"/>
          <a:srcRect l="2371" t="5526" r="6045" b="11300"/>
          <a:stretch/>
        </p:blipFill>
        <p:spPr>
          <a:xfrm>
            <a:off x="2784008" y="4688643"/>
            <a:ext cx="2595282" cy="1223683"/>
          </a:xfrm>
          <a:prstGeom prst="rect">
            <a:avLst/>
          </a:prstGeom>
        </p:spPr>
      </p:pic>
      <p:sp>
        <p:nvSpPr>
          <p:cNvPr id="19" name="Rectángulo 18">
            <a:extLst>
              <a:ext uri="{FF2B5EF4-FFF2-40B4-BE49-F238E27FC236}">
                <a16:creationId xmlns:a16="http://schemas.microsoft.com/office/drawing/2014/main" id="{CF189E6C-C925-1157-93C8-917540C2DA22}"/>
              </a:ext>
            </a:extLst>
          </p:cNvPr>
          <p:cNvSpPr/>
          <p:nvPr/>
        </p:nvSpPr>
        <p:spPr>
          <a:xfrm>
            <a:off x="2647600" y="4670715"/>
            <a:ext cx="2781788" cy="1223683"/>
          </a:xfrm>
          <a:prstGeom prst="rect">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21" name="Conector recto de flecha 20">
            <a:extLst>
              <a:ext uri="{FF2B5EF4-FFF2-40B4-BE49-F238E27FC236}">
                <a16:creationId xmlns:a16="http://schemas.microsoft.com/office/drawing/2014/main" id="{93026F0B-75BA-F380-2C9C-50DD56111302}"/>
              </a:ext>
            </a:extLst>
          </p:cNvPr>
          <p:cNvCxnSpPr>
            <a:cxnSpLocks/>
            <a:stCxn id="19" idx="3"/>
          </p:cNvCxnSpPr>
          <p:nvPr/>
        </p:nvCxnSpPr>
        <p:spPr>
          <a:xfrm flipV="1">
            <a:off x="5429388" y="2981783"/>
            <a:ext cx="2887951" cy="2300774"/>
          </a:xfrm>
          <a:prstGeom prst="straightConnector1">
            <a:avLst/>
          </a:prstGeom>
          <a:ln w="190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7" name="CuadroTexto 6">
            <a:extLst>
              <a:ext uri="{FF2B5EF4-FFF2-40B4-BE49-F238E27FC236}">
                <a16:creationId xmlns:a16="http://schemas.microsoft.com/office/drawing/2014/main" id="{7683BC78-C30D-3D1D-F552-E276DAABCF86}"/>
              </a:ext>
            </a:extLst>
          </p:cNvPr>
          <p:cNvSpPr txBox="1"/>
          <p:nvPr/>
        </p:nvSpPr>
        <p:spPr>
          <a:xfrm>
            <a:off x="6022559" y="5757154"/>
            <a:ext cx="4338816" cy="338554"/>
          </a:xfrm>
          <a:prstGeom prst="rect">
            <a:avLst/>
          </a:prstGeom>
          <a:noFill/>
        </p:spPr>
        <p:txBody>
          <a:bodyPr wrap="square">
            <a:spAutoFit/>
          </a:bodyPr>
          <a:lstStyle/>
          <a:p>
            <a:r>
              <a:rPr lang="en-GB" sz="800" dirty="0">
                <a:solidFill>
                  <a:schemeClr val="accent1"/>
                </a:solidFill>
              </a:rPr>
              <a:t>Ach: acetylcholine; ANOCA: angina with non-obstructive coronary arteries; CFR: coronary flow reserve; </a:t>
            </a:r>
            <a:r>
              <a:rPr lang="en-GB" sz="800" dirty="0" err="1">
                <a:solidFill>
                  <a:schemeClr val="accent1"/>
                </a:solidFill>
              </a:rPr>
              <a:t>i.c.</a:t>
            </a:r>
            <a:r>
              <a:rPr lang="en-GB" sz="800" dirty="0">
                <a:solidFill>
                  <a:schemeClr val="accent1"/>
                </a:solidFill>
              </a:rPr>
              <a:t>: intracoronary; INOCA: ischaemia with non-obstructive coronary arteries.</a:t>
            </a:r>
          </a:p>
        </p:txBody>
      </p:sp>
      <p:sp>
        <p:nvSpPr>
          <p:cNvPr id="3" name="CuadroTexto 2">
            <a:extLst>
              <a:ext uri="{FF2B5EF4-FFF2-40B4-BE49-F238E27FC236}">
                <a16:creationId xmlns:a16="http://schemas.microsoft.com/office/drawing/2014/main" id="{F43635B1-DE9C-496E-F2A5-33215A78F4B9}"/>
              </a:ext>
            </a:extLst>
          </p:cNvPr>
          <p:cNvSpPr txBox="1"/>
          <p:nvPr/>
        </p:nvSpPr>
        <p:spPr>
          <a:xfrm>
            <a:off x="1197577" y="928640"/>
            <a:ext cx="3534004" cy="830997"/>
          </a:xfrm>
          <a:prstGeom prst="rect">
            <a:avLst/>
          </a:prstGeom>
          <a:noFill/>
          <a:ln w="19050">
            <a:solidFill>
              <a:schemeClr val="accent4"/>
            </a:solidFill>
          </a:ln>
        </p:spPr>
        <p:txBody>
          <a:bodyPr wrap="square" rtlCol="0">
            <a:spAutoFit/>
          </a:bodyPr>
          <a:lstStyle/>
          <a:p>
            <a:pPr marL="171450" indent="-171450" algn="just">
              <a:buFont typeface="Arial" panose="020B0604020202020204" pitchFamily="34" charset="0"/>
              <a:buChar char="•"/>
              <a:defRPr/>
            </a:pPr>
            <a:r>
              <a:rPr lang="es-ES" sz="1200" dirty="0">
                <a:solidFill>
                  <a:srgbClr val="002855"/>
                </a:solidFill>
              </a:rPr>
              <a:t>Más del 50% de los pacientes con SCC pertenecen a ANOCA/INOCA, causadas por un </a:t>
            </a:r>
            <a:r>
              <a:rPr lang="es-ES" sz="1200" b="1" dirty="0">
                <a:solidFill>
                  <a:srgbClr val="002855"/>
                </a:solidFill>
              </a:rPr>
              <a:t>espasmo coronario o disfunción de la microcirculación</a:t>
            </a:r>
            <a:r>
              <a:rPr lang="es-ES" sz="1200" b="1" baseline="30000" dirty="0">
                <a:solidFill>
                  <a:schemeClr val="accent1"/>
                </a:solidFill>
              </a:rPr>
              <a:t>1</a:t>
            </a:r>
            <a:r>
              <a:rPr lang="es-ES" sz="1200" b="1" dirty="0">
                <a:solidFill>
                  <a:srgbClr val="002855"/>
                </a:solidFill>
              </a:rPr>
              <a:t>. </a:t>
            </a:r>
            <a:r>
              <a:rPr lang="es-ES" sz="1200" b="1" dirty="0">
                <a:solidFill>
                  <a:schemeClr val="accent1"/>
                </a:solidFill>
              </a:rPr>
              <a:t> </a:t>
            </a:r>
          </a:p>
        </p:txBody>
      </p:sp>
      <p:pic>
        <p:nvPicPr>
          <p:cNvPr id="5" name="Gráfico 4" descr="Usuario contorno">
            <a:extLst>
              <a:ext uri="{FF2B5EF4-FFF2-40B4-BE49-F238E27FC236}">
                <a16:creationId xmlns:a16="http://schemas.microsoft.com/office/drawing/2014/main" id="{2DD28ADB-60F2-045D-BC06-A77E006BF00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90999" y="1057913"/>
            <a:ext cx="504673" cy="504673"/>
          </a:xfrm>
          <a:prstGeom prst="rect">
            <a:avLst/>
          </a:prstGeom>
        </p:spPr>
      </p:pic>
      <p:pic>
        <p:nvPicPr>
          <p:cNvPr id="10" name="Gráfico 9" descr="Usuario contorno">
            <a:extLst>
              <a:ext uri="{FF2B5EF4-FFF2-40B4-BE49-F238E27FC236}">
                <a16:creationId xmlns:a16="http://schemas.microsoft.com/office/drawing/2014/main" id="{5CA21649-ACF7-ACA2-C459-E82AF1B08B7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798070" y="1057913"/>
            <a:ext cx="504673" cy="504673"/>
          </a:xfrm>
          <a:prstGeom prst="rect">
            <a:avLst/>
          </a:prstGeom>
        </p:spPr>
      </p:pic>
      <p:sp>
        <p:nvSpPr>
          <p:cNvPr id="8" name="CuadroTexto 7">
            <a:extLst>
              <a:ext uri="{FF2B5EF4-FFF2-40B4-BE49-F238E27FC236}">
                <a16:creationId xmlns:a16="http://schemas.microsoft.com/office/drawing/2014/main" id="{D42FE862-0D57-C79A-C511-00F029A03386}"/>
              </a:ext>
            </a:extLst>
          </p:cNvPr>
          <p:cNvSpPr txBox="1"/>
          <p:nvPr/>
        </p:nvSpPr>
        <p:spPr>
          <a:xfrm>
            <a:off x="2978013" y="6458146"/>
            <a:ext cx="7323025" cy="200055"/>
          </a:xfrm>
          <a:prstGeom prst="rect">
            <a:avLst/>
          </a:prstGeom>
          <a:noFill/>
        </p:spPr>
        <p:txBody>
          <a:bodyPr wrap="square" rtlCol="0">
            <a:spAutoFit/>
          </a:bodyPr>
          <a:lstStyle>
            <a:defPPr>
              <a:defRPr lang="es-ES"/>
            </a:defPPr>
            <a:lvl1pPr>
              <a:defRPr sz="700" b="0" i="1">
                <a:solidFill>
                  <a:schemeClr val="accent1"/>
                </a:solidFill>
                <a:effectLst/>
              </a:defRPr>
            </a:lvl1pPr>
          </a:lstStyle>
          <a:p>
            <a:r>
              <a:rPr lang="en-US" dirty="0"/>
              <a:t>1. </a:t>
            </a:r>
            <a:r>
              <a:rPr lang="en-US" dirty="0" err="1"/>
              <a:t>Vrints</a:t>
            </a:r>
            <a:r>
              <a:rPr lang="en-US" dirty="0"/>
              <a:t> C, et al. 2024 ESC Guidelines for the management of chronic coronary syndromes. </a:t>
            </a:r>
            <a:r>
              <a:rPr lang="en-US" dirty="0" err="1"/>
              <a:t>Eur</a:t>
            </a:r>
            <a:r>
              <a:rPr lang="en-US" dirty="0"/>
              <a:t> Heart J. 2024 Sep 29;45(36):3415-3537. </a:t>
            </a:r>
            <a:r>
              <a:rPr lang="en-US" dirty="0" err="1"/>
              <a:t>doi</a:t>
            </a:r>
            <a:r>
              <a:rPr lang="en-US" dirty="0"/>
              <a:t>: 10.1093/</a:t>
            </a:r>
            <a:r>
              <a:rPr lang="en-US" dirty="0" err="1"/>
              <a:t>eurheartj</a:t>
            </a:r>
            <a:r>
              <a:rPr lang="en-US" dirty="0"/>
              <a:t>/ehae177.</a:t>
            </a:r>
          </a:p>
        </p:txBody>
      </p:sp>
      <p:sp>
        <p:nvSpPr>
          <p:cNvPr id="20" name="CuadroTexto 19">
            <a:extLst>
              <a:ext uri="{FF2B5EF4-FFF2-40B4-BE49-F238E27FC236}">
                <a16:creationId xmlns:a16="http://schemas.microsoft.com/office/drawing/2014/main" id="{858C1FE0-34E7-6FA8-20C0-8D33C0D6FD82}"/>
              </a:ext>
            </a:extLst>
          </p:cNvPr>
          <p:cNvSpPr txBox="1"/>
          <p:nvPr/>
        </p:nvSpPr>
        <p:spPr>
          <a:xfrm>
            <a:off x="3530090" y="6297018"/>
            <a:ext cx="6218871" cy="246221"/>
          </a:xfrm>
          <a:prstGeom prst="rect">
            <a:avLst/>
          </a:prstGeom>
          <a:noFill/>
        </p:spPr>
        <p:txBody>
          <a:bodyPr wrap="square">
            <a:spAutoFit/>
          </a:bodyPr>
          <a:lstStyle/>
          <a:p>
            <a:pPr algn="ctr"/>
            <a:r>
              <a:rPr lang="es-ES" sz="1000" dirty="0">
                <a:solidFill>
                  <a:schemeClr val="accent1"/>
                </a:solidFill>
              </a:rPr>
              <a:t>Guía ESC 2024 para el manejo de los síndromes coronarios crónicos </a:t>
            </a:r>
          </a:p>
        </p:txBody>
      </p:sp>
      <p:sp>
        <p:nvSpPr>
          <p:cNvPr id="22" name="CuadroTexto 21">
            <a:extLst>
              <a:ext uri="{FF2B5EF4-FFF2-40B4-BE49-F238E27FC236}">
                <a16:creationId xmlns:a16="http://schemas.microsoft.com/office/drawing/2014/main" id="{422B7FD4-CC61-C760-F849-393B714F13B7}"/>
              </a:ext>
            </a:extLst>
          </p:cNvPr>
          <p:cNvSpPr txBox="1"/>
          <p:nvPr/>
        </p:nvSpPr>
        <p:spPr>
          <a:xfrm>
            <a:off x="10356505" y="5794371"/>
            <a:ext cx="1311240" cy="307777"/>
          </a:xfrm>
          <a:prstGeom prst="rect">
            <a:avLst/>
          </a:prstGeom>
          <a:noFill/>
        </p:spPr>
        <p:txBody>
          <a:bodyPr wrap="square" rtlCol="0">
            <a:spAutoFit/>
          </a:bodyPr>
          <a:lstStyle>
            <a:defPPr>
              <a:defRPr lang="es-ES"/>
            </a:defPPr>
            <a:lvl1pPr>
              <a:defRPr sz="700" b="0" i="1">
                <a:solidFill>
                  <a:schemeClr val="accent1"/>
                </a:solidFill>
                <a:effectLst/>
              </a:defRPr>
            </a:lvl1pPr>
          </a:lstStyle>
          <a:p>
            <a:pPr algn="ctr"/>
            <a:r>
              <a:rPr lang="en-US" b="1" dirty="0" err="1"/>
              <a:t>Eur</a:t>
            </a:r>
            <a:r>
              <a:rPr lang="en-US" b="1" dirty="0"/>
              <a:t> Heart J. 2024 Sep 29;45(36):3415-3537</a:t>
            </a:r>
            <a:endParaRPr lang="es-ES" b="1" dirty="0"/>
          </a:p>
        </p:txBody>
      </p:sp>
      <p:sp>
        <p:nvSpPr>
          <p:cNvPr id="23" name="CuadroTexto 22">
            <a:extLst>
              <a:ext uri="{FF2B5EF4-FFF2-40B4-BE49-F238E27FC236}">
                <a16:creationId xmlns:a16="http://schemas.microsoft.com/office/drawing/2014/main" id="{1D224656-950D-ABBD-D4CB-09EF7501F153}"/>
              </a:ext>
            </a:extLst>
          </p:cNvPr>
          <p:cNvSpPr txBox="1"/>
          <p:nvPr/>
        </p:nvSpPr>
        <p:spPr>
          <a:xfrm>
            <a:off x="4017951" y="4662666"/>
            <a:ext cx="1311240" cy="200055"/>
          </a:xfrm>
          <a:prstGeom prst="rect">
            <a:avLst/>
          </a:prstGeom>
          <a:noFill/>
        </p:spPr>
        <p:txBody>
          <a:bodyPr wrap="square" rtlCol="0">
            <a:spAutoFit/>
          </a:bodyPr>
          <a:lstStyle>
            <a:defPPr>
              <a:defRPr lang="es-ES"/>
            </a:defPPr>
            <a:lvl1pPr>
              <a:defRPr sz="700" b="0" i="1">
                <a:solidFill>
                  <a:schemeClr val="accent1"/>
                </a:solidFill>
                <a:effectLst/>
              </a:defRPr>
            </a:lvl1pPr>
          </a:lstStyle>
          <a:p>
            <a:pPr algn="ctr"/>
            <a:r>
              <a:rPr lang="en-US" b="1" dirty="0"/>
              <a:t>1</a:t>
            </a:r>
            <a:endParaRPr lang="es-ES" b="1" dirty="0"/>
          </a:p>
        </p:txBody>
      </p:sp>
      <p:sp>
        <p:nvSpPr>
          <p:cNvPr id="14" name="CuadroTexto 13">
            <a:extLst>
              <a:ext uri="{FF2B5EF4-FFF2-40B4-BE49-F238E27FC236}">
                <a16:creationId xmlns:a16="http://schemas.microsoft.com/office/drawing/2014/main" id="{F8E9A5B1-7466-EE8F-693A-18BB7ED7AE58}"/>
              </a:ext>
            </a:extLst>
          </p:cNvPr>
          <p:cNvSpPr txBox="1"/>
          <p:nvPr/>
        </p:nvSpPr>
        <p:spPr>
          <a:xfrm rot="16200000">
            <a:off x="10633273" y="3376069"/>
            <a:ext cx="2471166" cy="324000"/>
          </a:xfrm>
          <a:prstGeom prst="rect">
            <a:avLst/>
          </a:prstGeom>
          <a:noFill/>
        </p:spPr>
        <p:txBody>
          <a:bodyPr wrap="square">
            <a:spAutoFit/>
          </a:bodyPr>
          <a:lstStyle/>
          <a:p>
            <a:pPr algn="ctr"/>
            <a:r>
              <a:rPr lang="es-ES" sz="1400" dirty="0">
                <a:solidFill>
                  <a:schemeClr val="bg2">
                    <a:lumMod val="85000"/>
                  </a:schemeClr>
                </a:solidFill>
              </a:rPr>
              <a:t>MA-ES-CRAT-2500005</a:t>
            </a:r>
          </a:p>
        </p:txBody>
      </p:sp>
    </p:spTree>
    <p:extLst>
      <p:ext uri="{BB962C8B-B14F-4D97-AF65-F5344CB8AC3E}">
        <p14:creationId xmlns:p14="http://schemas.microsoft.com/office/powerpoint/2010/main" val="5026953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CmVjdrrSGu2ERapmnkXfQ"/>
</p:tagLst>
</file>

<file path=ppt/theme/theme1.xml><?xml version="1.0" encoding="utf-8"?>
<a:theme xmlns:a="http://schemas.openxmlformats.org/drawingml/2006/main" name="Tema1">
  <a:themeElements>
    <a:clrScheme name="ALM_AW_PPT COLORS">
      <a:dk1>
        <a:srgbClr val="6F6F6F"/>
      </a:dk1>
      <a:lt1>
        <a:srgbClr val="FFFFFF"/>
      </a:lt1>
      <a:dk2>
        <a:srgbClr val="FFFFFF"/>
      </a:dk2>
      <a:lt2>
        <a:srgbClr val="FFFFFF"/>
      </a:lt2>
      <a:accent1>
        <a:srgbClr val="002855"/>
      </a:accent1>
      <a:accent2>
        <a:srgbClr val="00F0BE"/>
      </a:accent2>
      <a:accent3>
        <a:srgbClr val="00596E"/>
      </a:accent3>
      <a:accent4>
        <a:srgbClr val="008C93"/>
      </a:accent4>
      <a:accent5>
        <a:srgbClr val="00BEA0"/>
      </a:accent5>
      <a:accent6>
        <a:srgbClr val="8700D3"/>
      </a:accent6>
      <a:hlink>
        <a:srgbClr val="8700D3"/>
      </a:hlink>
      <a:folHlink>
        <a:srgbClr val="8700D3"/>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a1" id="{4619596D-86AE-4C4A-956C-F8F3849881EF}" vid="{52E38F20-82B1-4119-95CF-72A403C84815}"/>
    </a:ext>
  </a:extLst>
</a:theme>
</file>

<file path=ppt/theme/theme2.xml><?xml version="1.0" encoding="utf-8"?>
<a:theme xmlns:a="http://schemas.openxmlformats.org/drawingml/2006/main" name="Office Theme">
  <a:themeElements>
    <a:clrScheme name="ALM_AW_PPT COLORS">
      <a:dk1>
        <a:srgbClr val="6F6F6F"/>
      </a:dk1>
      <a:lt1>
        <a:srgbClr val="FFFFFF"/>
      </a:lt1>
      <a:dk2>
        <a:srgbClr val="FFFFFF"/>
      </a:dk2>
      <a:lt2>
        <a:srgbClr val="FFFFFF"/>
      </a:lt2>
      <a:accent1>
        <a:srgbClr val="002855"/>
      </a:accent1>
      <a:accent2>
        <a:srgbClr val="00F0BE"/>
      </a:accent2>
      <a:accent3>
        <a:srgbClr val="00596E"/>
      </a:accent3>
      <a:accent4>
        <a:srgbClr val="008C93"/>
      </a:accent4>
      <a:accent5>
        <a:srgbClr val="00BEA0"/>
      </a:accent5>
      <a:accent6>
        <a:srgbClr val="8700D3"/>
      </a:accent6>
      <a:hlink>
        <a:srgbClr val="8700D3"/>
      </a:hlink>
      <a:folHlink>
        <a:srgbClr val="8700D3"/>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0</TotalTime>
  <Words>14680</Words>
  <Application>Microsoft Office PowerPoint</Application>
  <PresentationFormat>Panorámica</PresentationFormat>
  <Paragraphs>1023</Paragraphs>
  <Slides>48</Slides>
  <Notes>42</Notes>
  <HiddenSlides>0</HiddenSlides>
  <MMClips>0</MMClips>
  <ScaleCrop>false</ScaleCrop>
  <HeadingPairs>
    <vt:vector size="8" baseType="variant">
      <vt:variant>
        <vt:lpstr>Fuentes usadas</vt:lpstr>
      </vt:variant>
      <vt:variant>
        <vt:i4>12</vt:i4>
      </vt:variant>
      <vt:variant>
        <vt:lpstr>Tema</vt:lpstr>
      </vt:variant>
      <vt:variant>
        <vt:i4>2</vt:i4>
      </vt:variant>
      <vt:variant>
        <vt:lpstr>Servidores OLE incrustados</vt:lpstr>
      </vt:variant>
      <vt:variant>
        <vt:i4>1</vt:i4>
      </vt:variant>
      <vt:variant>
        <vt:lpstr>Títulos de diapositiva</vt:lpstr>
      </vt:variant>
      <vt:variant>
        <vt:i4>48</vt:i4>
      </vt:variant>
    </vt:vector>
  </HeadingPairs>
  <TitlesOfParts>
    <vt:vector size="63" baseType="lpstr">
      <vt:lpstr>Aptos</vt:lpstr>
      <vt:lpstr>Arial</vt:lpstr>
      <vt:lpstr>Arial Black</vt:lpstr>
      <vt:lpstr>Calibri</vt:lpstr>
      <vt:lpstr>Courier New</vt:lpstr>
      <vt:lpstr>Fira Sans Extra Condensed</vt:lpstr>
      <vt:lpstr>Gill Sans Nova</vt:lpstr>
      <vt:lpstr>Montserrat</vt:lpstr>
      <vt:lpstr>Montserrat Light</vt:lpstr>
      <vt:lpstr>STIX General</vt:lpstr>
      <vt:lpstr>Times New Roman</vt:lpstr>
      <vt:lpstr>Wingdings</vt:lpstr>
      <vt:lpstr>Tema1</vt:lpstr>
      <vt:lpstr>Office Theme</vt:lpstr>
      <vt:lpstr>think-cell Slide</vt:lpstr>
      <vt:lpstr>Presentación de PowerPoint</vt:lpstr>
      <vt:lpstr>Conflicto de interés:</vt:lpstr>
      <vt:lpstr>Presentación de PowerPoint</vt:lpstr>
      <vt:lpstr>Presentación de PowerPoint</vt:lpstr>
      <vt:lpstr>Guías para el manejo de los síndromes coronarios crónico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Muchas gracias por su atención!</vt:lpstr>
    </vt:vector>
  </TitlesOfParts>
  <Company>Almira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carena Fernandez-Andrade Marin</dc:creator>
  <cp:lastModifiedBy>Eva Parisi Tria</cp:lastModifiedBy>
  <cp:revision>13</cp:revision>
  <dcterms:created xsi:type="dcterms:W3CDTF">2024-10-07T14:05:32Z</dcterms:created>
  <dcterms:modified xsi:type="dcterms:W3CDTF">2026-01-08T10:51: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b6e20c6-cf94-42a2-9862-6e25337ae690_Enabled">
    <vt:lpwstr>true</vt:lpwstr>
  </property>
  <property fmtid="{D5CDD505-2E9C-101B-9397-08002B2CF9AE}" pid="3" name="MSIP_Label_6b6e20c6-cf94-42a2-9862-6e25337ae690_SetDate">
    <vt:lpwstr>2025-08-29T10:01:20Z</vt:lpwstr>
  </property>
  <property fmtid="{D5CDD505-2E9C-101B-9397-08002B2CF9AE}" pid="4" name="MSIP_Label_6b6e20c6-cf94-42a2-9862-6e25337ae690_Method">
    <vt:lpwstr>Privileged</vt:lpwstr>
  </property>
  <property fmtid="{D5CDD505-2E9C-101B-9397-08002B2CF9AE}" pid="5" name="MSIP_Label_6b6e20c6-cf94-42a2-9862-6e25337ae690_Name">
    <vt:lpwstr>Public</vt:lpwstr>
  </property>
  <property fmtid="{D5CDD505-2E9C-101B-9397-08002B2CF9AE}" pid="6" name="MSIP_Label_6b6e20c6-cf94-42a2-9862-6e25337ae690_SiteId">
    <vt:lpwstr>342ace0e-1054-45ce-9b30-900fc0440b9d</vt:lpwstr>
  </property>
  <property fmtid="{D5CDD505-2E9C-101B-9397-08002B2CF9AE}" pid="7" name="MSIP_Label_6b6e20c6-cf94-42a2-9862-6e25337ae690_ActionId">
    <vt:lpwstr>c7fad491-3cd3-43d6-8d63-f22111ed4651</vt:lpwstr>
  </property>
  <property fmtid="{D5CDD505-2E9C-101B-9397-08002B2CF9AE}" pid="8" name="MSIP_Label_6b6e20c6-cf94-42a2-9862-6e25337ae690_ContentBits">
    <vt:lpwstr>0</vt:lpwstr>
  </property>
  <property fmtid="{D5CDD505-2E9C-101B-9397-08002B2CF9AE}" pid="9" name="MSIP_Label_6b6e20c6-cf94-42a2-9862-6e25337ae690_Tag">
    <vt:lpwstr>10, 0, 1, 1</vt:lpwstr>
  </property>
</Properties>
</file>